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Default Extension="xlsx" ContentType="application/vnd.openxmlformats-officedocument.spreadsheetml.sheet"/>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heme/theme2.xml" ContentType="application/vnd.openxmlformats-officedocument.theme+xml"/>
  <Override PartName="/ppt/theme/themeOverride1.xml" ContentType="application/vnd.openxmlformats-officedocument.themeOverride+xml"/>
  <Override PartName="/ppt/notesSlides/notesSlide1.xml" ContentType="application/vnd.openxmlformats-officedocument.presentationml.notesSlide+xml"/>
  <Override PartName="/ppt/theme/themeOverride2.xml" ContentType="application/vnd.openxmlformats-officedocument.themeOverr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tags/tag5.xml" ContentType="application/vnd.openxmlformats-officedocument.presentationml.tags+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tags/tag6.xml" ContentType="application/vnd.openxmlformats-officedocument.presentationml.tags+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8.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19.xml" ContentType="application/vnd.openxmlformats-officedocument.presentationml.notesSlide+xml"/>
  <Override PartName="/ppt/notesSlides/notesSlide2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1"/>
  </p:sldMasterIdLst>
  <p:notesMasterIdLst>
    <p:notesMasterId r:id="rId37"/>
  </p:notesMasterIdLst>
  <p:sldIdLst>
    <p:sldId id="256" r:id="rId2"/>
    <p:sldId id="258" r:id="rId3"/>
    <p:sldId id="270" r:id="rId4"/>
    <p:sldId id="325" r:id="rId5"/>
    <p:sldId id="327" r:id="rId6"/>
    <p:sldId id="329" r:id="rId7"/>
    <p:sldId id="289" r:id="rId8"/>
    <p:sldId id="292" r:id="rId9"/>
    <p:sldId id="285" r:id="rId10"/>
    <p:sldId id="272" r:id="rId11"/>
    <p:sldId id="307" r:id="rId12"/>
    <p:sldId id="323" r:id="rId13"/>
    <p:sldId id="284" r:id="rId14"/>
    <p:sldId id="299" r:id="rId15"/>
    <p:sldId id="300" r:id="rId16"/>
    <p:sldId id="301" r:id="rId17"/>
    <p:sldId id="302" r:id="rId18"/>
    <p:sldId id="282" r:id="rId19"/>
    <p:sldId id="271" r:id="rId20"/>
    <p:sldId id="304" r:id="rId21"/>
    <p:sldId id="310" r:id="rId22"/>
    <p:sldId id="287" r:id="rId23"/>
    <p:sldId id="303" r:id="rId24"/>
    <p:sldId id="326" r:id="rId25"/>
    <p:sldId id="278" r:id="rId26"/>
    <p:sldId id="276" r:id="rId27"/>
    <p:sldId id="319" r:id="rId28"/>
    <p:sldId id="313" r:id="rId29"/>
    <p:sldId id="314" r:id="rId30"/>
    <p:sldId id="315" r:id="rId31"/>
    <p:sldId id="316" r:id="rId32"/>
    <p:sldId id="317" r:id="rId33"/>
    <p:sldId id="290" r:id="rId34"/>
    <p:sldId id="291" r:id="rId35"/>
    <p:sldId id="286" r:id="rId36"/>
  </p:sldIdLst>
  <p:sldSz cx="12192000" cy="6858000"/>
  <p:notesSz cx="6858000" cy="9144000"/>
  <p:custDataLst>
    <p:tags r:id="rId38"/>
  </p:custDataLst>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B535"/>
    <a:srgbClr val="CC4A4A"/>
    <a:srgbClr val="EAECEF"/>
    <a:srgbClr val="F68A00"/>
    <a:srgbClr val="FEF3D2"/>
  </p:clrMru>
  <p:extLst>
    <p:ext uri="{E76CE94A-603C-4142-B9EB-6D1370010A27}">
      <p14:discardImageEditData xmlns:p14="http://schemas.microsoft.com/office/powerpoint/2010/main" val="1"/>
    </p:ext>
    <p:ext uri="{D31A062A-798A-4329-ABDD-BBA856620510}">
      <p14:defaultImageDpi xmlns:p14="http://schemas.microsoft.com/office/powerpoint/2010/main" val="96"/>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5" autoAdjust="0"/>
    <p:restoredTop sz="93963" autoAdjust="0"/>
  </p:normalViewPr>
  <p:slideViewPr>
    <p:cSldViewPr snapToGrid="0">
      <p:cViewPr varScale="1">
        <p:scale>
          <a:sx n="69" d="100"/>
          <a:sy n="69" d="100"/>
        </p:scale>
        <p:origin x="564" y="40"/>
      </p:cViewPr>
      <p:guideLst>
        <p:guide orient="horz" pos="2160"/>
        <p:guide pos="3840"/>
      </p:guideLst>
    </p:cSldViewPr>
  </p:slideViewPr>
  <p:notesTextViewPr>
    <p:cViewPr>
      <p:scale>
        <a:sx n="3" d="2"/>
        <a:sy n="3" d="2"/>
      </p:scale>
      <p:origin x="0" y="0"/>
    </p:cViewPr>
  </p:notesTextViewPr>
  <p:sorterViewPr>
    <p:cViewPr>
      <p:scale>
        <a:sx n="125" d="100"/>
        <a:sy n="125" d="100"/>
      </p:scale>
      <p:origin x="0" y="0"/>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presProps" Target="presProps.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tableStyles" Target="tableStyles.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notesMaster" Target="notesMasters/notesMaster1.xml"/><Relationship Id="rId40" Type="http://schemas.openxmlformats.org/officeDocument/2006/relationships/viewProps" Target="view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8" Type="http://schemas.openxmlformats.org/officeDocument/2006/relationships/slide" Target="slides/slide7.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tags" Target="tags/tag1.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___.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___1.xlsx"/><Relationship Id="rId2" Type="http://schemas.microsoft.com/office/2011/relationships/chartColorStyle" Target="colors2.xml"/><Relationship Id="rId1" Type="http://schemas.microsoft.com/office/2011/relationships/chartStyle" Target="style2.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zh-CN" altLang="en-US" dirty="0"/>
              <a:t>节省率</a:t>
            </a:r>
          </a:p>
        </c:rich>
      </c:tx>
      <c:layout/>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zh-CN"/>
        </a:p>
      </c:txPr>
    </c:title>
    <c:autoTitleDeleted val="0"/>
    <c:plotArea>
      <c:layout/>
      <c:barChart>
        <c:barDir val="col"/>
        <c:grouping val="clustered"/>
        <c:varyColors val="0"/>
        <c:ser>
          <c:idx val="0"/>
          <c:order val="0"/>
          <c:tx>
            <c:strRef>
              <c:f>Sheet1!$B$1</c:f>
              <c:strCache>
                <c:ptCount val="1"/>
                <c:pt idx="0">
                  <c:v>节省人力成本</c:v>
                </c:pt>
              </c:strCache>
            </c:strRef>
          </c:tx>
          <c:spPr>
            <a:solidFill>
              <a:srgbClr val="00B0F0"/>
            </a:solidFill>
            <a:ln w="19050">
              <a:solidFill>
                <a:schemeClr val="lt1"/>
              </a:solidFill>
            </a:ln>
            <a:effectLst/>
          </c:spPr>
          <c:invertIfNegative val="0"/>
          <c:cat>
            <c:strRef>
              <c:f>Sheet1!$A$2:$A$6</c:f>
              <c:strCache>
                <c:ptCount val="5"/>
                <c:pt idx="0">
                  <c:v>发料</c:v>
                </c:pt>
                <c:pt idx="1">
                  <c:v>上料</c:v>
                </c:pt>
                <c:pt idx="2">
                  <c:v>核料</c:v>
                </c:pt>
                <c:pt idx="3">
                  <c:v>全检</c:v>
                </c:pt>
                <c:pt idx="4">
                  <c:v>换料</c:v>
                </c:pt>
              </c:strCache>
            </c:strRef>
          </c:cat>
          <c:val>
            <c:numRef>
              <c:f>Sheet1!$B$2:$B$6</c:f>
              <c:numCache>
                <c:formatCode>General</c:formatCode>
                <c:ptCount val="5"/>
                <c:pt idx="0">
                  <c:v>4</c:v>
                </c:pt>
                <c:pt idx="1">
                  <c:v>3.75</c:v>
                </c:pt>
                <c:pt idx="2">
                  <c:v>3.75</c:v>
                </c:pt>
                <c:pt idx="3">
                  <c:v>3.75</c:v>
                </c:pt>
                <c:pt idx="4">
                  <c:v>7.5</c:v>
                </c:pt>
              </c:numCache>
            </c:numRef>
          </c:val>
          <c:extLst>
            <c:ext xmlns:c16="http://schemas.microsoft.com/office/drawing/2014/chart" uri="{C3380CC4-5D6E-409C-BE32-E72D297353CC}">
              <c16:uniqueId val="{00000000-B8DE-484D-BAF6-C43ACA6F495C}"/>
            </c:ext>
          </c:extLst>
        </c:ser>
        <c:dLbls>
          <c:showLegendKey val="0"/>
          <c:showVal val="0"/>
          <c:showCatName val="0"/>
          <c:showSerName val="0"/>
          <c:showPercent val="0"/>
          <c:showBubbleSize val="0"/>
        </c:dLbls>
        <c:gapWidth val="150"/>
        <c:axId val="705682384"/>
        <c:axId val="705682944"/>
      </c:barChart>
      <c:catAx>
        <c:axId val="70568238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zh-CN"/>
          </a:p>
        </c:txPr>
        <c:crossAx val="705682944"/>
        <c:crosses val="autoZero"/>
        <c:auto val="1"/>
        <c:lblAlgn val="ctr"/>
        <c:lblOffset val="100"/>
        <c:noMultiLvlLbl val="0"/>
      </c:catAx>
      <c:valAx>
        <c:axId val="705682944"/>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zh-CN"/>
          </a:p>
        </c:txPr>
        <c:crossAx val="705682384"/>
        <c:crosses val="autoZero"/>
        <c:crossBetween val="between"/>
      </c:valAx>
      <c:dTable>
        <c:showHorzBorder val="1"/>
        <c:showVertBorder val="1"/>
        <c:showOutline val="1"/>
        <c:showKeys val="1"/>
        <c:spPr>
          <a:noFill/>
          <a:ln w="9525" cap="flat" cmpd="sng" algn="ctr">
            <a:solidFill>
              <a:schemeClr val="tx1">
                <a:lumMod val="15000"/>
                <a:lumOff val="85000"/>
              </a:schemeClr>
            </a:solidFill>
            <a:round/>
          </a:ln>
          <a:effectLst/>
        </c:spPr>
        <c:txPr>
          <a:bodyPr rot="0" spcFirstLastPara="1" vertOverflow="ellipsis" vert="horz" wrap="square" anchor="ctr" anchorCtr="1"/>
          <a:lstStyle/>
          <a:p>
            <a:pPr rtl="0">
              <a:defRPr sz="1197" b="0" i="0" u="none" strike="noStrike" kern="1200" baseline="0">
                <a:solidFill>
                  <a:schemeClr val="tx1">
                    <a:lumMod val="65000"/>
                    <a:lumOff val="35000"/>
                  </a:schemeClr>
                </a:solidFill>
                <a:latin typeface="+mn-lt"/>
                <a:ea typeface="+mn-ea"/>
                <a:cs typeface="+mn-cs"/>
              </a:defRPr>
            </a:pPr>
            <a:endParaRPr lang="zh-CN"/>
          </a:p>
        </c:txPr>
      </c:dTable>
      <c:spPr>
        <a:noFill/>
        <a:ln>
          <a:noFill/>
        </a:ln>
        <a:effectLst/>
      </c:spPr>
    </c:plotArea>
    <c:legend>
      <c:legendPos val="b"/>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zh-CN"/>
        </a:p>
      </c:txPr>
    </c:legend>
    <c:plotVisOnly val="1"/>
    <c:dispBlanksAs val="gap"/>
    <c:showDLblsOverMax val="0"/>
  </c:chart>
  <c:spPr>
    <a:noFill/>
    <a:ln>
      <a:noFill/>
    </a:ln>
    <a:effectLst/>
  </c:spPr>
  <c:txPr>
    <a:bodyPr/>
    <a:lstStyle/>
    <a:p>
      <a:pPr>
        <a:defRPr/>
      </a:pPr>
      <a:endParaRPr lang="zh-CN"/>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zh-CN" altLang="en-US" dirty="0"/>
              <a:t>耗时时间</a:t>
            </a:r>
          </a:p>
        </c:rich>
      </c:tx>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zh-CN"/>
        </a:p>
      </c:txPr>
    </c:title>
    <c:autoTitleDeleted val="0"/>
    <c:plotArea>
      <c:layout/>
      <c:barChart>
        <c:barDir val="col"/>
        <c:grouping val="clustered"/>
        <c:varyColors val="0"/>
        <c:ser>
          <c:idx val="0"/>
          <c:order val="0"/>
          <c:tx>
            <c:strRef>
              <c:f>Sheet1!$B$1</c:f>
              <c:strCache>
                <c:ptCount val="1"/>
                <c:pt idx="0">
                  <c:v>未使用</c:v>
                </c:pt>
              </c:strCache>
            </c:strRef>
          </c:tx>
          <c:spPr>
            <a:solidFill>
              <a:schemeClr val="accent1"/>
            </a:solidFill>
            <a:ln w="19050">
              <a:solidFill>
                <a:schemeClr val="lt1"/>
              </a:solidFill>
            </a:ln>
            <a:effectLst/>
          </c:spPr>
          <c:invertIfNegative val="0"/>
          <c:cat>
            <c:strRef>
              <c:f>Sheet1!$A$2:$A$6</c:f>
              <c:strCache>
                <c:ptCount val="5"/>
                <c:pt idx="0">
                  <c:v>发料</c:v>
                </c:pt>
                <c:pt idx="1">
                  <c:v>上料</c:v>
                </c:pt>
                <c:pt idx="2">
                  <c:v>核料</c:v>
                </c:pt>
                <c:pt idx="3">
                  <c:v>全检</c:v>
                </c:pt>
                <c:pt idx="4">
                  <c:v>换料</c:v>
                </c:pt>
              </c:strCache>
            </c:strRef>
          </c:cat>
          <c:val>
            <c:numRef>
              <c:f>Sheet1!$B$2:$B$6</c:f>
              <c:numCache>
                <c:formatCode>General</c:formatCode>
                <c:ptCount val="5"/>
                <c:pt idx="0">
                  <c:v>32</c:v>
                </c:pt>
                <c:pt idx="1">
                  <c:v>30</c:v>
                </c:pt>
                <c:pt idx="2">
                  <c:v>30</c:v>
                </c:pt>
                <c:pt idx="3">
                  <c:v>30</c:v>
                </c:pt>
                <c:pt idx="4">
                  <c:v>60</c:v>
                </c:pt>
              </c:numCache>
            </c:numRef>
          </c:val>
          <c:extLst>
            <c:ext xmlns:c16="http://schemas.microsoft.com/office/drawing/2014/chart" uri="{C3380CC4-5D6E-409C-BE32-E72D297353CC}">
              <c16:uniqueId val="{00000000-7428-425A-886F-A1D5DAAECCB0}"/>
            </c:ext>
          </c:extLst>
        </c:ser>
        <c:ser>
          <c:idx val="1"/>
          <c:order val="1"/>
          <c:tx>
            <c:strRef>
              <c:f>Sheet1!$C$1</c:f>
              <c:strCache>
                <c:ptCount val="1"/>
                <c:pt idx="0">
                  <c:v>使用后</c:v>
                </c:pt>
              </c:strCache>
            </c:strRef>
          </c:tx>
          <c:spPr>
            <a:solidFill>
              <a:schemeClr val="accent2"/>
            </a:solidFill>
            <a:ln w="19050">
              <a:solidFill>
                <a:schemeClr val="lt1"/>
              </a:solidFill>
            </a:ln>
            <a:effectLst/>
          </c:spPr>
          <c:invertIfNegative val="0"/>
          <c:cat>
            <c:strRef>
              <c:f>Sheet1!$A$2:$A$6</c:f>
              <c:strCache>
                <c:ptCount val="5"/>
                <c:pt idx="0">
                  <c:v>发料</c:v>
                </c:pt>
                <c:pt idx="1">
                  <c:v>上料</c:v>
                </c:pt>
                <c:pt idx="2">
                  <c:v>核料</c:v>
                </c:pt>
                <c:pt idx="3">
                  <c:v>全检</c:v>
                </c:pt>
                <c:pt idx="4">
                  <c:v>换料</c:v>
                </c:pt>
              </c:strCache>
            </c:strRef>
          </c:cat>
          <c:val>
            <c:numRef>
              <c:f>Sheet1!$C$2:$C$6</c:f>
              <c:numCache>
                <c:formatCode>General</c:formatCode>
                <c:ptCount val="5"/>
                <c:pt idx="0">
                  <c:v>8</c:v>
                </c:pt>
                <c:pt idx="1">
                  <c:v>5</c:v>
                </c:pt>
                <c:pt idx="2">
                  <c:v>7</c:v>
                </c:pt>
                <c:pt idx="3">
                  <c:v>5</c:v>
                </c:pt>
                <c:pt idx="4">
                  <c:v>14</c:v>
                </c:pt>
              </c:numCache>
            </c:numRef>
          </c:val>
          <c:extLst>
            <c:ext xmlns:c16="http://schemas.microsoft.com/office/drawing/2014/chart" uri="{C3380CC4-5D6E-409C-BE32-E72D297353CC}">
              <c16:uniqueId val="{00000001-7428-425A-886F-A1D5DAAECCB0}"/>
            </c:ext>
          </c:extLst>
        </c:ser>
        <c:dLbls>
          <c:showLegendKey val="0"/>
          <c:showVal val="0"/>
          <c:showCatName val="0"/>
          <c:showSerName val="0"/>
          <c:showPercent val="0"/>
          <c:showBubbleSize val="0"/>
        </c:dLbls>
        <c:gapWidth val="150"/>
        <c:axId val="707592064"/>
        <c:axId val="707592624"/>
      </c:barChart>
      <c:catAx>
        <c:axId val="707592064"/>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zh-CN"/>
          </a:p>
        </c:txPr>
        <c:crossAx val="707592624"/>
        <c:crosses val="autoZero"/>
        <c:auto val="1"/>
        <c:lblAlgn val="ctr"/>
        <c:lblOffset val="100"/>
        <c:noMultiLvlLbl val="0"/>
      </c:catAx>
      <c:valAx>
        <c:axId val="707592624"/>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zh-CN"/>
          </a:p>
        </c:txPr>
        <c:crossAx val="707592064"/>
        <c:crosses val="autoZero"/>
        <c:crossBetween val="between"/>
      </c:valAx>
      <c:dTable>
        <c:showHorzBorder val="1"/>
        <c:showVertBorder val="1"/>
        <c:showOutline val="1"/>
        <c:showKeys val="1"/>
        <c:spPr>
          <a:noFill/>
          <a:ln w="9525" cap="flat" cmpd="sng" algn="ctr">
            <a:solidFill>
              <a:schemeClr val="tx1">
                <a:lumMod val="15000"/>
                <a:lumOff val="85000"/>
              </a:schemeClr>
            </a:solidFill>
            <a:round/>
          </a:ln>
          <a:effectLst/>
        </c:spPr>
        <c:txPr>
          <a:bodyPr rot="0" spcFirstLastPara="1" vertOverflow="ellipsis" vert="horz" wrap="square" anchor="ctr" anchorCtr="1"/>
          <a:lstStyle/>
          <a:p>
            <a:pPr rtl="0">
              <a:defRPr sz="1197" b="0" i="0" u="none" strike="noStrike" kern="1200" baseline="0">
                <a:solidFill>
                  <a:schemeClr val="tx1">
                    <a:lumMod val="65000"/>
                    <a:lumOff val="35000"/>
                  </a:schemeClr>
                </a:solidFill>
                <a:latin typeface="+mn-lt"/>
                <a:ea typeface="+mn-ea"/>
                <a:cs typeface="+mn-cs"/>
              </a:defRPr>
            </a:pPr>
            <a:endParaRPr lang="zh-CN"/>
          </a:p>
        </c:txPr>
      </c:dTable>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zh-CN"/>
        </a:p>
      </c:txPr>
    </c:legend>
    <c:plotVisOnly val="1"/>
    <c:dispBlanksAs val="gap"/>
    <c:showDLblsOverMax val="0"/>
  </c:chart>
  <c:spPr>
    <a:noFill/>
    <a:ln>
      <a:noFill/>
    </a:ln>
    <a:effectLst/>
  </c:spPr>
  <c:txPr>
    <a:bodyPr/>
    <a:lstStyle/>
    <a:p>
      <a:pPr>
        <a:defRPr/>
      </a:pPr>
      <a:endParaRPr lang="zh-CN"/>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C57D472E-11AD-4390-89F0-3092192ACD00}" type="doc">
      <dgm:prSet loTypeId="urn:microsoft.com/office/officeart/2005/8/layout/equation2" loCatId="relationship" qsTypeId="urn:microsoft.com/office/officeart/2005/8/quickstyle/simple1" qsCatId="simple" csTypeId="urn:microsoft.com/office/officeart/2005/8/colors/accent1_2" csCatId="accent1" phldr="1"/>
      <dgm:spPr/>
      <dgm:t>
        <a:bodyPr/>
        <a:lstStyle/>
        <a:p>
          <a:endParaRPr lang="zh-CN" altLang="en-US"/>
        </a:p>
      </dgm:t>
    </dgm:pt>
    <dgm:pt modelId="{9EB86CB7-E10A-4E34-A811-9A71973CD602}">
      <dgm:prSet phldrT="[文本]"/>
      <dgm:spPr>
        <a:solidFill>
          <a:srgbClr val="00B0F0"/>
        </a:solidFill>
      </dgm:spPr>
      <dgm:t>
        <a:bodyPr/>
        <a:lstStyle/>
        <a:p>
          <a:r>
            <a:rPr lang="zh-CN" altLang="en-US" dirty="0"/>
            <a:t>接驳台</a:t>
          </a:r>
        </a:p>
      </dgm:t>
    </dgm:pt>
    <dgm:pt modelId="{25402B62-9357-427B-A4A0-9AE5D88438FB}" type="parTrans" cxnId="{4874DC61-8519-4F0B-8B50-F4E99D6AE33D}">
      <dgm:prSet/>
      <dgm:spPr/>
      <dgm:t>
        <a:bodyPr/>
        <a:lstStyle/>
        <a:p>
          <a:endParaRPr lang="zh-CN" altLang="en-US"/>
        </a:p>
      </dgm:t>
    </dgm:pt>
    <dgm:pt modelId="{A8ABF31B-2F3F-4924-B9FD-8AAEC226114D}" type="sibTrans" cxnId="{4874DC61-8519-4F0B-8B50-F4E99D6AE33D}">
      <dgm:prSet/>
      <dgm:spPr>
        <a:solidFill>
          <a:schemeClr val="tx1">
            <a:lumMod val="65000"/>
            <a:lumOff val="35000"/>
          </a:schemeClr>
        </a:solidFill>
      </dgm:spPr>
      <dgm:t>
        <a:bodyPr/>
        <a:lstStyle/>
        <a:p>
          <a:endParaRPr lang="zh-CN" altLang="en-US"/>
        </a:p>
      </dgm:t>
    </dgm:pt>
    <dgm:pt modelId="{8646E207-CCF8-41B7-9C8A-D269D0232611}">
      <dgm:prSet phldrT="[文本]"/>
      <dgm:spPr>
        <a:solidFill>
          <a:srgbClr val="FF0000"/>
        </a:solidFill>
      </dgm:spPr>
      <dgm:t>
        <a:bodyPr/>
        <a:lstStyle/>
        <a:p>
          <a:r>
            <a:rPr lang="zh-CN" altLang="en-US" dirty="0"/>
            <a:t>报警灯</a:t>
          </a:r>
        </a:p>
      </dgm:t>
    </dgm:pt>
    <dgm:pt modelId="{439D3926-6032-45B1-AF06-F63AABF2E7C0}" type="parTrans" cxnId="{AD8825EF-2F01-447D-A470-5ECCF319ACEA}">
      <dgm:prSet/>
      <dgm:spPr/>
      <dgm:t>
        <a:bodyPr/>
        <a:lstStyle/>
        <a:p>
          <a:endParaRPr lang="zh-CN" altLang="en-US"/>
        </a:p>
      </dgm:t>
    </dgm:pt>
    <dgm:pt modelId="{55256EF1-78C5-4D2D-A0BA-B9A002241D3C}" type="sibTrans" cxnId="{AD8825EF-2F01-447D-A470-5ECCF319ACEA}">
      <dgm:prSet/>
      <dgm:spPr>
        <a:solidFill>
          <a:schemeClr val="tx1">
            <a:lumMod val="65000"/>
            <a:lumOff val="35000"/>
          </a:schemeClr>
        </a:solidFill>
      </dgm:spPr>
      <dgm:t>
        <a:bodyPr/>
        <a:lstStyle/>
        <a:p>
          <a:endParaRPr lang="zh-CN" altLang="en-US"/>
        </a:p>
      </dgm:t>
    </dgm:pt>
    <dgm:pt modelId="{AC8FFE1C-2930-4D68-8BBC-EE7DAF0E613C}">
      <dgm:prSet phldrT="[文本]"/>
      <dgm:spPr/>
      <dgm:t>
        <a:bodyPr/>
        <a:lstStyle/>
        <a:p>
          <a:r>
            <a:rPr lang="zh-CN" altLang="en-US" dirty="0"/>
            <a:t>防错生产</a:t>
          </a:r>
        </a:p>
      </dgm:t>
    </dgm:pt>
    <dgm:pt modelId="{4A3F503E-0E27-420F-9644-18CFE0277F2E}" type="parTrans" cxnId="{B8EB413D-BD87-4FD6-AE9B-62ECAE4E1C99}">
      <dgm:prSet/>
      <dgm:spPr/>
      <dgm:t>
        <a:bodyPr/>
        <a:lstStyle/>
        <a:p>
          <a:endParaRPr lang="zh-CN" altLang="en-US"/>
        </a:p>
      </dgm:t>
    </dgm:pt>
    <dgm:pt modelId="{5BBBBF66-22B9-46A5-8405-A060E862626C}" type="sibTrans" cxnId="{B8EB413D-BD87-4FD6-AE9B-62ECAE4E1C99}">
      <dgm:prSet/>
      <dgm:spPr/>
      <dgm:t>
        <a:bodyPr/>
        <a:lstStyle/>
        <a:p>
          <a:endParaRPr lang="zh-CN" altLang="en-US"/>
        </a:p>
      </dgm:t>
    </dgm:pt>
    <dgm:pt modelId="{13DD8C1E-77BA-4CEA-A013-50CF85D60B44}" type="pres">
      <dgm:prSet presAssocID="{C57D472E-11AD-4390-89F0-3092192ACD00}" presName="Name0" presStyleCnt="0">
        <dgm:presLayoutVars>
          <dgm:dir/>
          <dgm:resizeHandles val="exact"/>
        </dgm:presLayoutVars>
      </dgm:prSet>
      <dgm:spPr/>
      <dgm:t>
        <a:bodyPr/>
        <a:lstStyle/>
        <a:p>
          <a:endParaRPr lang="zh-CN" altLang="en-US"/>
        </a:p>
      </dgm:t>
    </dgm:pt>
    <dgm:pt modelId="{00C2442F-C8FA-4F14-837C-05463E3B4258}" type="pres">
      <dgm:prSet presAssocID="{C57D472E-11AD-4390-89F0-3092192ACD00}" presName="vNodes" presStyleCnt="0"/>
      <dgm:spPr/>
    </dgm:pt>
    <dgm:pt modelId="{C05CC212-D3F0-4CFC-9A90-0042E1BD2FD2}" type="pres">
      <dgm:prSet presAssocID="{9EB86CB7-E10A-4E34-A811-9A71973CD602}" presName="node" presStyleLbl="node1" presStyleIdx="0" presStyleCnt="3">
        <dgm:presLayoutVars>
          <dgm:bulletEnabled val="1"/>
        </dgm:presLayoutVars>
      </dgm:prSet>
      <dgm:spPr/>
      <dgm:t>
        <a:bodyPr/>
        <a:lstStyle/>
        <a:p>
          <a:endParaRPr lang="zh-CN" altLang="en-US"/>
        </a:p>
      </dgm:t>
    </dgm:pt>
    <dgm:pt modelId="{FA3B70F5-C21F-49F8-B6A5-6926766A3138}" type="pres">
      <dgm:prSet presAssocID="{A8ABF31B-2F3F-4924-B9FD-8AAEC226114D}" presName="spacerT" presStyleCnt="0"/>
      <dgm:spPr/>
    </dgm:pt>
    <dgm:pt modelId="{735C951A-78BE-434A-AC90-307194A32B28}" type="pres">
      <dgm:prSet presAssocID="{A8ABF31B-2F3F-4924-B9FD-8AAEC226114D}" presName="sibTrans" presStyleLbl="sibTrans2D1" presStyleIdx="0" presStyleCnt="2"/>
      <dgm:spPr/>
      <dgm:t>
        <a:bodyPr/>
        <a:lstStyle/>
        <a:p>
          <a:endParaRPr lang="zh-CN" altLang="en-US"/>
        </a:p>
      </dgm:t>
    </dgm:pt>
    <dgm:pt modelId="{FC136EA8-084A-455E-87DA-53A837A2F3FE}" type="pres">
      <dgm:prSet presAssocID="{A8ABF31B-2F3F-4924-B9FD-8AAEC226114D}" presName="spacerB" presStyleCnt="0"/>
      <dgm:spPr/>
    </dgm:pt>
    <dgm:pt modelId="{6BD43DC2-83FB-4F87-A996-32E7D1A78F59}" type="pres">
      <dgm:prSet presAssocID="{8646E207-CCF8-41B7-9C8A-D269D0232611}" presName="node" presStyleLbl="node1" presStyleIdx="1" presStyleCnt="3">
        <dgm:presLayoutVars>
          <dgm:bulletEnabled val="1"/>
        </dgm:presLayoutVars>
      </dgm:prSet>
      <dgm:spPr/>
      <dgm:t>
        <a:bodyPr/>
        <a:lstStyle/>
        <a:p>
          <a:endParaRPr lang="zh-CN" altLang="en-US"/>
        </a:p>
      </dgm:t>
    </dgm:pt>
    <dgm:pt modelId="{72C76A0C-06DC-42C5-BAAB-03591DF3BF7D}" type="pres">
      <dgm:prSet presAssocID="{C57D472E-11AD-4390-89F0-3092192ACD00}" presName="sibTransLast" presStyleLbl="sibTrans2D1" presStyleIdx="1" presStyleCnt="2"/>
      <dgm:spPr/>
      <dgm:t>
        <a:bodyPr/>
        <a:lstStyle/>
        <a:p>
          <a:endParaRPr lang="zh-CN" altLang="en-US"/>
        </a:p>
      </dgm:t>
    </dgm:pt>
    <dgm:pt modelId="{854AC07B-D7EB-4D1E-9BEE-B7F1E9E39812}" type="pres">
      <dgm:prSet presAssocID="{C57D472E-11AD-4390-89F0-3092192ACD00}" presName="connectorText" presStyleLbl="sibTrans2D1" presStyleIdx="1" presStyleCnt="2"/>
      <dgm:spPr/>
      <dgm:t>
        <a:bodyPr/>
        <a:lstStyle/>
        <a:p>
          <a:endParaRPr lang="zh-CN" altLang="en-US"/>
        </a:p>
      </dgm:t>
    </dgm:pt>
    <dgm:pt modelId="{4A9D1564-9542-41D0-A8EC-5A95EBE45C79}" type="pres">
      <dgm:prSet presAssocID="{C57D472E-11AD-4390-89F0-3092192ACD00}" presName="lastNode" presStyleLbl="node1" presStyleIdx="2" presStyleCnt="3">
        <dgm:presLayoutVars>
          <dgm:bulletEnabled val="1"/>
        </dgm:presLayoutVars>
      </dgm:prSet>
      <dgm:spPr/>
      <dgm:t>
        <a:bodyPr/>
        <a:lstStyle/>
        <a:p>
          <a:endParaRPr lang="zh-CN" altLang="en-US"/>
        </a:p>
      </dgm:t>
    </dgm:pt>
  </dgm:ptLst>
  <dgm:cxnLst>
    <dgm:cxn modelId="{B8EB413D-BD87-4FD6-AE9B-62ECAE4E1C99}" srcId="{C57D472E-11AD-4390-89F0-3092192ACD00}" destId="{AC8FFE1C-2930-4D68-8BBC-EE7DAF0E613C}" srcOrd="2" destOrd="0" parTransId="{4A3F503E-0E27-420F-9644-18CFE0277F2E}" sibTransId="{5BBBBF66-22B9-46A5-8405-A060E862626C}"/>
    <dgm:cxn modelId="{2E98DFD3-B4F3-40DB-9E97-436993B7B05A}" type="presOf" srcId="{9EB86CB7-E10A-4E34-A811-9A71973CD602}" destId="{C05CC212-D3F0-4CFC-9A90-0042E1BD2FD2}" srcOrd="0" destOrd="0" presId="urn:microsoft.com/office/officeart/2005/8/layout/equation2"/>
    <dgm:cxn modelId="{8F02BBBB-DBF6-40F5-8F86-9A6615E44D23}" type="presOf" srcId="{C57D472E-11AD-4390-89F0-3092192ACD00}" destId="{13DD8C1E-77BA-4CEA-A013-50CF85D60B44}" srcOrd="0" destOrd="0" presId="urn:microsoft.com/office/officeart/2005/8/layout/equation2"/>
    <dgm:cxn modelId="{AD8825EF-2F01-447D-A470-5ECCF319ACEA}" srcId="{C57D472E-11AD-4390-89F0-3092192ACD00}" destId="{8646E207-CCF8-41B7-9C8A-D269D0232611}" srcOrd="1" destOrd="0" parTransId="{439D3926-6032-45B1-AF06-F63AABF2E7C0}" sibTransId="{55256EF1-78C5-4D2D-A0BA-B9A002241D3C}"/>
    <dgm:cxn modelId="{4874DC61-8519-4F0B-8B50-F4E99D6AE33D}" srcId="{C57D472E-11AD-4390-89F0-3092192ACD00}" destId="{9EB86CB7-E10A-4E34-A811-9A71973CD602}" srcOrd="0" destOrd="0" parTransId="{25402B62-9357-427B-A4A0-9AE5D88438FB}" sibTransId="{A8ABF31B-2F3F-4924-B9FD-8AAEC226114D}"/>
    <dgm:cxn modelId="{37339753-78A7-48F1-AB38-8DCBB5B942BB}" type="presOf" srcId="{A8ABF31B-2F3F-4924-B9FD-8AAEC226114D}" destId="{735C951A-78BE-434A-AC90-307194A32B28}" srcOrd="0" destOrd="0" presId="urn:microsoft.com/office/officeart/2005/8/layout/equation2"/>
    <dgm:cxn modelId="{4EEC995B-C2E1-42D6-BF36-669DB498088D}" type="presOf" srcId="{8646E207-CCF8-41B7-9C8A-D269D0232611}" destId="{6BD43DC2-83FB-4F87-A996-32E7D1A78F59}" srcOrd="0" destOrd="0" presId="urn:microsoft.com/office/officeart/2005/8/layout/equation2"/>
    <dgm:cxn modelId="{088826E4-621B-4BDF-9E10-70282CE06EF5}" type="presOf" srcId="{55256EF1-78C5-4D2D-A0BA-B9A002241D3C}" destId="{72C76A0C-06DC-42C5-BAAB-03591DF3BF7D}" srcOrd="0" destOrd="0" presId="urn:microsoft.com/office/officeart/2005/8/layout/equation2"/>
    <dgm:cxn modelId="{44BC2EDB-9A7E-4855-9A51-5D201592FAB9}" type="presOf" srcId="{55256EF1-78C5-4D2D-A0BA-B9A002241D3C}" destId="{854AC07B-D7EB-4D1E-9BEE-B7F1E9E39812}" srcOrd="1" destOrd="0" presId="urn:microsoft.com/office/officeart/2005/8/layout/equation2"/>
    <dgm:cxn modelId="{F8B487EF-2B07-4DE1-A4E6-4040187EEE99}" type="presOf" srcId="{AC8FFE1C-2930-4D68-8BBC-EE7DAF0E613C}" destId="{4A9D1564-9542-41D0-A8EC-5A95EBE45C79}" srcOrd="0" destOrd="0" presId="urn:microsoft.com/office/officeart/2005/8/layout/equation2"/>
    <dgm:cxn modelId="{1AC998D2-7A18-405D-9D27-7BF90CB0CE9C}" type="presParOf" srcId="{13DD8C1E-77BA-4CEA-A013-50CF85D60B44}" destId="{00C2442F-C8FA-4F14-837C-05463E3B4258}" srcOrd="0" destOrd="0" presId="urn:microsoft.com/office/officeart/2005/8/layout/equation2"/>
    <dgm:cxn modelId="{137A77EE-40D2-450A-B90B-06F49C91CDEC}" type="presParOf" srcId="{00C2442F-C8FA-4F14-837C-05463E3B4258}" destId="{C05CC212-D3F0-4CFC-9A90-0042E1BD2FD2}" srcOrd="0" destOrd="0" presId="urn:microsoft.com/office/officeart/2005/8/layout/equation2"/>
    <dgm:cxn modelId="{CC3D477D-41D9-4455-9151-835EE9275264}" type="presParOf" srcId="{00C2442F-C8FA-4F14-837C-05463E3B4258}" destId="{FA3B70F5-C21F-49F8-B6A5-6926766A3138}" srcOrd="1" destOrd="0" presId="urn:microsoft.com/office/officeart/2005/8/layout/equation2"/>
    <dgm:cxn modelId="{4712F111-4CB8-400E-BA18-4FDF45CE5F3C}" type="presParOf" srcId="{00C2442F-C8FA-4F14-837C-05463E3B4258}" destId="{735C951A-78BE-434A-AC90-307194A32B28}" srcOrd="2" destOrd="0" presId="urn:microsoft.com/office/officeart/2005/8/layout/equation2"/>
    <dgm:cxn modelId="{FEC98259-9AA4-417B-97FC-53776BBF4234}" type="presParOf" srcId="{00C2442F-C8FA-4F14-837C-05463E3B4258}" destId="{FC136EA8-084A-455E-87DA-53A837A2F3FE}" srcOrd="3" destOrd="0" presId="urn:microsoft.com/office/officeart/2005/8/layout/equation2"/>
    <dgm:cxn modelId="{5EA2903D-BEE7-4738-9890-BF9DB66D4888}" type="presParOf" srcId="{00C2442F-C8FA-4F14-837C-05463E3B4258}" destId="{6BD43DC2-83FB-4F87-A996-32E7D1A78F59}" srcOrd="4" destOrd="0" presId="urn:microsoft.com/office/officeart/2005/8/layout/equation2"/>
    <dgm:cxn modelId="{9FED0FB3-1ABD-4E27-A204-DF43C2878E40}" type="presParOf" srcId="{13DD8C1E-77BA-4CEA-A013-50CF85D60B44}" destId="{72C76A0C-06DC-42C5-BAAB-03591DF3BF7D}" srcOrd="1" destOrd="0" presId="urn:microsoft.com/office/officeart/2005/8/layout/equation2"/>
    <dgm:cxn modelId="{1D526F5C-E78B-40FE-98E4-8F3B38A09755}" type="presParOf" srcId="{72C76A0C-06DC-42C5-BAAB-03591DF3BF7D}" destId="{854AC07B-D7EB-4D1E-9BEE-B7F1E9E39812}" srcOrd="0" destOrd="0" presId="urn:microsoft.com/office/officeart/2005/8/layout/equation2"/>
    <dgm:cxn modelId="{142EC335-9D58-431A-A82D-5A6626E97B82}" type="presParOf" srcId="{13DD8C1E-77BA-4CEA-A013-50CF85D60B44}" destId="{4A9D1564-9542-41D0-A8EC-5A95EBE45C79}" srcOrd="2" destOrd="0" presId="urn:microsoft.com/office/officeart/2005/8/layout/equation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05CC212-D3F0-4CFC-9A90-0042E1BD2FD2}">
      <dsp:nvSpPr>
        <dsp:cNvPr id="0" name=""/>
        <dsp:cNvSpPr/>
      </dsp:nvSpPr>
      <dsp:spPr>
        <a:xfrm>
          <a:off x="2063200" y="1093"/>
          <a:ext cx="1527426" cy="1527426"/>
        </a:xfrm>
        <a:prstGeom prst="ellipse">
          <a:avLst/>
        </a:prstGeom>
        <a:solidFill>
          <a:srgbClr val="00B0F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3020" tIns="33020" rIns="33020" bIns="33020" numCol="1" spcCol="1270" anchor="ctr" anchorCtr="0">
          <a:noAutofit/>
        </a:bodyPr>
        <a:lstStyle/>
        <a:p>
          <a:pPr lvl="0" algn="ctr" defTabSz="1155700">
            <a:lnSpc>
              <a:spcPct val="90000"/>
            </a:lnSpc>
            <a:spcBef>
              <a:spcPct val="0"/>
            </a:spcBef>
            <a:spcAft>
              <a:spcPct val="35000"/>
            </a:spcAft>
          </a:pPr>
          <a:r>
            <a:rPr lang="zh-CN" altLang="en-US" sz="2600" kern="1200" dirty="0"/>
            <a:t>接驳台</a:t>
          </a:r>
        </a:p>
      </dsp:txBody>
      <dsp:txXfrm>
        <a:off x="2286886" y="224779"/>
        <a:ext cx="1080054" cy="1080054"/>
      </dsp:txXfrm>
    </dsp:sp>
    <dsp:sp modelId="{735C951A-78BE-434A-AC90-307194A32B28}">
      <dsp:nvSpPr>
        <dsp:cNvPr id="0" name=""/>
        <dsp:cNvSpPr/>
      </dsp:nvSpPr>
      <dsp:spPr>
        <a:xfrm>
          <a:off x="2383959" y="1652546"/>
          <a:ext cx="885907" cy="885907"/>
        </a:xfrm>
        <a:prstGeom prst="mathPlus">
          <a:avLst/>
        </a:prstGeom>
        <a:solidFill>
          <a:schemeClr val="tx1">
            <a:lumMod val="65000"/>
            <a:lumOff val="3500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666750">
            <a:lnSpc>
              <a:spcPct val="90000"/>
            </a:lnSpc>
            <a:spcBef>
              <a:spcPct val="0"/>
            </a:spcBef>
            <a:spcAft>
              <a:spcPct val="35000"/>
            </a:spcAft>
          </a:pPr>
          <a:endParaRPr lang="zh-CN" altLang="en-US" sz="1500" kern="1200"/>
        </a:p>
      </dsp:txBody>
      <dsp:txXfrm>
        <a:off x="2501386" y="1991317"/>
        <a:ext cx="651053" cy="208365"/>
      </dsp:txXfrm>
    </dsp:sp>
    <dsp:sp modelId="{6BD43DC2-83FB-4F87-A996-32E7D1A78F59}">
      <dsp:nvSpPr>
        <dsp:cNvPr id="0" name=""/>
        <dsp:cNvSpPr/>
      </dsp:nvSpPr>
      <dsp:spPr>
        <a:xfrm>
          <a:off x="2063200" y="2662480"/>
          <a:ext cx="1527426" cy="1527426"/>
        </a:xfrm>
        <a:prstGeom prst="ellipse">
          <a:avLst/>
        </a:prstGeom>
        <a:solidFill>
          <a:srgbClr val="FF000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3020" tIns="33020" rIns="33020" bIns="33020" numCol="1" spcCol="1270" anchor="ctr" anchorCtr="0">
          <a:noAutofit/>
        </a:bodyPr>
        <a:lstStyle/>
        <a:p>
          <a:pPr lvl="0" algn="ctr" defTabSz="1155700">
            <a:lnSpc>
              <a:spcPct val="90000"/>
            </a:lnSpc>
            <a:spcBef>
              <a:spcPct val="0"/>
            </a:spcBef>
            <a:spcAft>
              <a:spcPct val="35000"/>
            </a:spcAft>
          </a:pPr>
          <a:r>
            <a:rPr lang="zh-CN" altLang="en-US" sz="2600" kern="1200" dirty="0"/>
            <a:t>报警灯</a:t>
          </a:r>
        </a:p>
      </dsp:txBody>
      <dsp:txXfrm>
        <a:off x="2286886" y="2886166"/>
        <a:ext cx="1080054" cy="1080054"/>
      </dsp:txXfrm>
    </dsp:sp>
    <dsp:sp modelId="{72C76A0C-06DC-42C5-BAAB-03591DF3BF7D}">
      <dsp:nvSpPr>
        <dsp:cNvPr id="0" name=""/>
        <dsp:cNvSpPr/>
      </dsp:nvSpPr>
      <dsp:spPr>
        <a:xfrm>
          <a:off x="3819740" y="1811398"/>
          <a:ext cx="485721" cy="568202"/>
        </a:xfrm>
        <a:prstGeom prst="rightArrow">
          <a:avLst>
            <a:gd name="adj1" fmla="val 60000"/>
            <a:gd name="adj2" fmla="val 50000"/>
          </a:avLst>
        </a:prstGeom>
        <a:solidFill>
          <a:schemeClr val="tx1">
            <a:lumMod val="65000"/>
            <a:lumOff val="3500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933450">
            <a:lnSpc>
              <a:spcPct val="90000"/>
            </a:lnSpc>
            <a:spcBef>
              <a:spcPct val="0"/>
            </a:spcBef>
            <a:spcAft>
              <a:spcPct val="35000"/>
            </a:spcAft>
          </a:pPr>
          <a:endParaRPr lang="zh-CN" altLang="en-US" sz="2100" kern="1200"/>
        </a:p>
      </dsp:txBody>
      <dsp:txXfrm>
        <a:off x="3819740" y="1925038"/>
        <a:ext cx="340005" cy="340922"/>
      </dsp:txXfrm>
    </dsp:sp>
    <dsp:sp modelId="{4A9D1564-9542-41D0-A8EC-5A95EBE45C79}">
      <dsp:nvSpPr>
        <dsp:cNvPr id="0" name=""/>
        <dsp:cNvSpPr/>
      </dsp:nvSpPr>
      <dsp:spPr>
        <a:xfrm>
          <a:off x="4507082" y="568073"/>
          <a:ext cx="3054852" cy="3054852"/>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lvl="0" algn="ctr" defTabSz="2266950">
            <a:lnSpc>
              <a:spcPct val="90000"/>
            </a:lnSpc>
            <a:spcBef>
              <a:spcPct val="0"/>
            </a:spcBef>
            <a:spcAft>
              <a:spcPct val="35000"/>
            </a:spcAft>
          </a:pPr>
          <a:r>
            <a:rPr lang="zh-CN" altLang="en-US" sz="5100" kern="1200" dirty="0"/>
            <a:t>防错生产</a:t>
          </a:r>
        </a:p>
      </dsp:txBody>
      <dsp:txXfrm>
        <a:off x="4954455" y="1015446"/>
        <a:ext cx="2160106" cy="2160106"/>
      </dsp:txXfrm>
    </dsp:sp>
  </dsp:spTree>
</dsp:drawing>
</file>

<file path=ppt/diagrams/layout1.xml><?xml version="1.0" encoding="utf-8"?>
<dgm:layoutDef xmlns:dgm="http://schemas.openxmlformats.org/drawingml/2006/diagram" xmlns:a="http://schemas.openxmlformats.org/drawingml/2006/main" uniqueId="urn:microsoft.com/office/officeart/2005/8/layout/equation2">
  <dgm:title val=""/>
  <dgm:desc val=""/>
  <dgm:catLst>
    <dgm:cat type="relationship" pri="18000"/>
    <dgm:cat type="process" pri="26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param type="linDir" val="fromL"/>
          <dgm:param type="fallback" val="2D"/>
        </dgm:alg>
      </dgm:if>
      <dgm:else name="Name3">
        <dgm:alg type="lin">
          <dgm:param type="linDir" val="fromR"/>
          <dgm:param type="fallback" val="2D"/>
        </dgm:alg>
      </dgm:else>
    </dgm:choose>
    <dgm:shape xmlns:r="http://schemas.openxmlformats.org/officeDocument/2006/relationships" r:blip="">
      <dgm:adjLst/>
    </dgm:shape>
    <dgm:presOf/>
    <dgm:choose name="Name4">
      <dgm:if name="Name5" axis="ch" ptType="node" func="cnt" op="gte" val="3">
        <dgm:constrLst>
          <dgm:constr type="h" for="des" forName="node" refType="w" fact="0.5"/>
          <dgm:constr type="w" for="ch" forName="lastNode" refType="w"/>
          <dgm:constr type="w" for="des" forName="node" refType="h" refFor="des" refForName="node"/>
          <dgm:constr type="w" for="ch" forName="sibTransLast" refType="h" refFor="des" refForName="node" fact="0.6"/>
          <dgm:constr type="h" for="des" forName="sibTrans" refType="h" refFor="des" refForName="node" op="equ" fact="0.58"/>
          <dgm:constr type="w" for="des" forName="sibTrans" refType="h" refFor="des" refForName="sibTrans" op="equ"/>
          <dgm:constr type="primFontSz" for="ch" forName="lastNode" op="equ" val="65"/>
          <dgm:constr type="primFontSz" for="des" forName="node" op="equ" val="65"/>
          <dgm:constr type="primFontSz" for="des" forName="sibTrans" val="55"/>
          <dgm:constr type="primFontSz" for="des" forName="sibTrans" refType="primFontSz" refFor="des" refForName="node" op="lte" fact="0.8"/>
          <dgm:constr type="primFontSz" for="des" forName="connectorText" refType="primFontSz" refFor="des" refForName="node" op="lte" fact="0.8"/>
          <dgm:constr type="primFontSz" for="des" forName="connectorText" refType="primFontSz" refFor="des" refForName="sibTrans" op="equ"/>
          <dgm:constr type="h" for="des" forName="spacerT" refType="h" refFor="des" refForName="sibTrans" fact="0.14"/>
          <dgm:constr type="h" for="des" forName="spacerB" refType="h" refFor="des" refForName="sibTrans" fact="0.14"/>
        </dgm:constrLst>
      </dgm:if>
      <dgm:else name="Name6">
        <dgm:constrLst>
          <dgm:constr type="h" for="des" forName="node" refType="w"/>
          <dgm:constr type="w" for="ch" forName="lastNode" refType="w"/>
          <dgm:constr type="w" for="des" forName="node" refType="h" refFor="des" refForName="node"/>
          <dgm:constr type="w" for="ch" forName="sibTransLast" refType="h" refFor="des" refForName="node" fact="0.6"/>
          <dgm:constr type="h" for="des" forName="sibTrans" refType="h" refFor="des" refForName="node" op="equ" fact="0.58"/>
          <dgm:constr type="w" for="des" forName="sibTrans" refType="h" refFor="des" refForName="sibTrans" op="equ"/>
          <dgm:constr type="primFontSz" for="des" forName="node" val="65"/>
          <dgm:constr type="primFontSz" for="ch" forName="lastNode" refType="primFontSz" refFor="des" refForName="node" op="equ"/>
          <dgm:constr type="primFontSz" for="des" forName="sibTrans" val="55"/>
          <dgm:constr type="primFontSz" for="des" forName="connectorText" refType="primFontSz" refFor="des" refForName="node" op="lte" fact="0.8"/>
          <dgm:constr type="primFontSz" for="des" forName="connectorText" refType="primFontSz" refFor="des" refForName="sibTrans" op="equ"/>
          <dgm:constr type="h" for="des" forName="spacerT" refType="h" refFor="des" refForName="sibTrans" fact="0.14"/>
          <dgm:constr type="h" for="des" forName="spacerB" refType="h" refFor="des" refForName="sibTrans" fact="0.14"/>
        </dgm:constrLst>
      </dgm:else>
    </dgm:choose>
    <dgm:ruleLst/>
    <dgm:choose name="Name7">
      <dgm:if name="Name8" axis="ch" ptType="node" func="cnt" op="gte" val="1">
        <dgm:layoutNode name="vNodes">
          <dgm:alg type="lin">
            <dgm:param type="linDir" val="fromT"/>
            <dgm:param type="fallback" val="2D"/>
          </dgm:alg>
          <dgm:shape xmlns:r="http://schemas.openxmlformats.org/officeDocument/2006/relationships" r:blip="">
            <dgm:adjLst/>
          </dgm:shape>
          <dgm:presOf/>
          <dgm:constrLst/>
          <dgm:ruleLst/>
          <dgm:forEach name="Name9" axis="ch" ptType="node">
            <dgm:choose name="Name10">
              <dgm:if name="Name11" axis="self" func="revPos" op="neq" val="1">
                <dgm:layoutNode name="node">
                  <dgm:varLst>
                    <dgm:bulletEnabled val="1"/>
                  </dgm:varLst>
                  <dgm:alg type="tx">
                    <dgm:param type="txAnchorVertCh" val="mid"/>
                  </dgm:alg>
                  <dgm:shape xmlns:r="http://schemas.openxmlformats.org/officeDocument/2006/relationships" type="ellipse" r:blip="">
                    <dgm:adjLst/>
                  </dgm:shape>
                  <dgm:presOf axis="desOrSelf" ptType="node"/>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choose name="Name12">
                  <dgm:if name="Name13" axis="self" ptType="node" func="revPos" op="gt" val="2">
                    <dgm:forEach name="sibTransForEach" axis="followSib" ptType="sibTrans" cnt="1">
                      <dgm:layoutNode name="spacerT">
                        <dgm:alg type="sp"/>
                        <dgm:shape xmlns:r="http://schemas.openxmlformats.org/officeDocument/2006/relationships" r:blip="">
                          <dgm:adjLst/>
                        </dgm:shape>
                        <dgm:presOf axis="self"/>
                        <dgm:constrLst/>
                        <dgm:ruleLst/>
                      </dgm:layoutNode>
                      <dgm:layoutNode name="sibTrans">
                        <dgm:alg type="tx"/>
                        <dgm:shape xmlns:r="http://schemas.openxmlformats.org/officeDocument/2006/relationships" type="mathPlus" r:blip="">
                          <dgm:adjLst/>
                        </dgm:shape>
                        <dgm:presOf axis="self"/>
                        <dgm:constrLst>
                          <dgm:constr type="h" refType="w"/>
                          <dgm:constr type="lMarg"/>
                          <dgm:constr type="rMarg"/>
                          <dgm:constr type="tMarg"/>
                          <dgm:constr type="bMarg"/>
                        </dgm:constrLst>
                        <dgm:ruleLst>
                          <dgm:rule type="primFontSz" val="5" fact="NaN" max="NaN"/>
                        </dgm:ruleLst>
                      </dgm:layoutNode>
                      <dgm:layoutNode name="spacerB">
                        <dgm:alg type="sp"/>
                        <dgm:shape xmlns:r="http://schemas.openxmlformats.org/officeDocument/2006/relationships" r:blip="">
                          <dgm:adjLst/>
                        </dgm:shape>
                        <dgm:presOf axis="self"/>
                        <dgm:constrLst/>
                        <dgm:ruleLst/>
                      </dgm:layoutNode>
                    </dgm:forEach>
                  </dgm:if>
                  <dgm:else name="Name14"/>
                </dgm:choose>
              </dgm:if>
              <dgm:else name="Name15"/>
            </dgm:choose>
          </dgm:forEach>
        </dgm:layoutNode>
        <dgm:choose name="Name16">
          <dgm:if name="Name17" axis="ch" ptType="node" func="cnt" op="gt" val="1">
            <dgm:layoutNode name="sibTransLast">
              <dgm:alg type="conn">
                <dgm:param type="begPts" val="auto"/>
                <dgm:param type="endPts" val="auto"/>
                <dgm:param type="srcNode" val="vNodes"/>
                <dgm:param type="dstNode" val="lastNode"/>
              </dgm:alg>
              <dgm:shape xmlns:r="http://schemas.openxmlformats.org/officeDocument/2006/relationships" type="conn" r:blip="">
                <dgm:adjLst/>
              </dgm:shape>
              <dgm:presOf axis="ch" ptType="sibTrans" st="-1" cnt="1"/>
              <dgm:constrLst>
                <dgm:constr type="h" refType="w" fact="0.62"/>
                <dgm:constr type="connDist"/>
                <dgm:constr type="begPad" refType="connDist" fact="0.25"/>
                <dgm:constr type="endPad" refType="connDist" fact="0.22"/>
              </dgm:constrLst>
              <dgm:ruleLst/>
              <dgm:layoutNode name="connectorText">
                <dgm:alg type="tx">
                  <dgm:param type="autoTxRot" val="grav"/>
                </dgm:alg>
                <dgm:shape xmlns:r="http://schemas.openxmlformats.org/officeDocument/2006/relationships" type="conn" r:blip="" hideGeom="1">
                  <dgm:adjLst/>
                </dgm:shape>
                <dgm:presOf axis="ch desOrSelf" ptType="sibTrans sibTrans" st="-1 1" cnt="1 0"/>
                <dgm:constrLst>
                  <dgm:constr type="lMarg"/>
                  <dgm:constr type="rMarg"/>
                  <dgm:constr type="tMarg"/>
                  <dgm:constr type="bMarg"/>
                </dgm:constrLst>
                <dgm:ruleLst>
                  <dgm:rule type="primFontSz" val="5" fact="NaN" max="NaN"/>
                </dgm:ruleLst>
              </dgm:layoutNode>
            </dgm:layoutNode>
          </dgm:if>
          <dgm:else name="Name18"/>
        </dgm:choose>
        <dgm:layoutNode name="lastNode">
          <dgm:varLst>
            <dgm:bulletEnabled val="1"/>
          </dgm:varLst>
          <dgm:alg type="tx">
            <dgm:param type="txAnchorVertCh" val="mid"/>
          </dgm:alg>
          <dgm:shape xmlns:r="http://schemas.openxmlformats.org/officeDocument/2006/relationships" type="ellipse" r:blip="">
            <dgm:adjLst/>
          </dgm:shape>
          <dgm:presOf axis="ch desOrSelf" ptType="node node" st="-1 1" cnt="1 0"/>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if>
      <dgm:else name="Name19"/>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9.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36606CF4-FA77-4E71-BDBB-B62F97D48318}" type="datetimeFigureOut">
              <a:rPr lang="zh-CN" altLang="en-US" smtClean="0"/>
              <a:pPr/>
              <a:t>2018/7/25</a:t>
            </a:fld>
            <a:endParaRPr lang="zh-CN" altLang="en-US"/>
          </a:p>
        </p:txBody>
      </p:sp>
      <p:sp>
        <p:nvSpPr>
          <p:cNvPr id="4" name="幻灯片图像占位符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6" name="页脚占位符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A7EA511-84E0-4AE0-9842-AB0E10994BF1}" type="slidenum">
              <a:rPr lang="zh-CN" altLang="en-US" smtClean="0"/>
              <a:pPr/>
              <a:t>‹#›</a:t>
            </a:fld>
            <a:endParaRPr lang="zh-CN" altLang="en-US"/>
          </a:p>
        </p:txBody>
      </p:sp>
    </p:spTree>
    <p:extLst>
      <p:ext uri="{BB962C8B-B14F-4D97-AF65-F5344CB8AC3E}">
        <p14:creationId xmlns:p14="http://schemas.microsoft.com/office/powerpoint/2010/main" val="6601118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4A7EA511-84E0-4AE0-9842-AB0E10994BF1}" type="slidenum">
              <a:rPr lang="zh-CN" altLang="en-US" smtClean="0"/>
              <a:pPr/>
              <a:t>1</a:t>
            </a:fld>
            <a:endParaRPr lang="zh-CN" altLang="en-US"/>
          </a:p>
        </p:txBody>
      </p:sp>
    </p:spTree>
    <p:extLst>
      <p:ext uri="{BB962C8B-B14F-4D97-AF65-F5344CB8AC3E}">
        <p14:creationId xmlns:p14="http://schemas.microsoft.com/office/powerpoint/2010/main" val="8909028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zh-CN" altLang="en-US" sz="1200" kern="1200" dirty="0" smtClean="0">
                <a:solidFill>
                  <a:schemeClr val="tx2"/>
                </a:solidFill>
                <a:effectLst/>
                <a:latin typeface="微软雅黑" panose="020B0503020204020204" pitchFamily="34" charset="-122"/>
                <a:ea typeface="微软雅黑" panose="020B0503020204020204" pitchFamily="34" charset="-122"/>
                <a:cs typeface="+mn-cs"/>
              </a:rPr>
              <a:t>人员管理：</a:t>
            </a:r>
            <a:r>
              <a:rPr lang="en-US" altLang="zh-CN" sz="1200" kern="1200" dirty="0" smtClean="0">
                <a:solidFill>
                  <a:schemeClr val="tx2"/>
                </a:solidFill>
                <a:effectLst/>
                <a:latin typeface="微软雅黑" panose="020B0503020204020204" pitchFamily="34" charset="-122"/>
                <a:ea typeface="微软雅黑" panose="020B0503020204020204" pitchFamily="34" charset="-122"/>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lang="zh-CN" altLang="en-US" sz="1200" dirty="0" smtClean="0">
                <a:solidFill>
                  <a:schemeClr val="tx2"/>
                </a:solidFill>
                <a:latin typeface="微软雅黑" panose="020B0503020204020204" pitchFamily="34" charset="-122"/>
                <a:ea typeface="微软雅黑" panose="020B0503020204020204" pitchFamily="34" charset="-122"/>
              </a:rPr>
              <a:t>整合信息源，员工信息一目了然　</a:t>
            </a:r>
            <a:endParaRPr lang="en-US" altLang="zh-CN" sz="1200" dirty="0" smtClean="0">
              <a:solidFill>
                <a:schemeClr val="tx2"/>
              </a:solidFill>
              <a:latin typeface="微软雅黑" panose="020B0503020204020204" pitchFamily="34" charset="-122"/>
              <a:ea typeface="微软雅黑" panose="020B0503020204020204" pitchFamily="34" charset="-122"/>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zh-CN" altLang="en-US" sz="1200" dirty="0" smtClean="0">
                <a:solidFill>
                  <a:schemeClr val="tx2"/>
                </a:solidFill>
                <a:latin typeface="微软雅黑" panose="020B0503020204020204" pitchFamily="34" charset="-122"/>
                <a:ea typeface="微软雅黑" panose="020B0503020204020204" pitchFamily="34" charset="-122"/>
              </a:rPr>
              <a:t>方便快捷的查询功能，简化工作流程</a:t>
            </a:r>
            <a:endParaRPr lang="en-US" altLang="zh-CN" sz="1200" dirty="0" smtClean="0">
              <a:solidFill>
                <a:schemeClr val="tx2"/>
              </a:solidFill>
              <a:latin typeface="微软雅黑" panose="020B0503020204020204" pitchFamily="34" charset="-122"/>
              <a:ea typeface="微软雅黑" panose="020B0503020204020204" pitchFamily="34" charset="-122"/>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zh-CN" altLang="en-US" sz="1200" dirty="0" smtClean="0">
                <a:solidFill>
                  <a:schemeClr val="tx2"/>
                </a:solidFill>
                <a:latin typeface="微软雅黑" panose="020B0503020204020204" pitchFamily="34" charset="-122"/>
                <a:ea typeface="微软雅黑" panose="020B0503020204020204" pitchFamily="34" charset="-122"/>
              </a:rPr>
              <a:t>权限分级、一站式设置修改</a:t>
            </a:r>
            <a:endParaRPr lang="en-US" altLang="zh-CN" sz="1200" dirty="0" smtClean="0">
              <a:solidFill>
                <a:schemeClr val="tx2"/>
              </a:solidFill>
              <a:latin typeface="微软雅黑" panose="020B0503020204020204" pitchFamily="34" charset="-122"/>
              <a:ea typeface="微软雅黑" panose="020B0503020204020204" pitchFamily="34" charset="-122"/>
            </a:endParaRPr>
          </a:p>
          <a:p>
            <a:endParaRPr lang="zh-CN" altLang="en-US" dirty="0"/>
          </a:p>
        </p:txBody>
      </p:sp>
      <p:sp>
        <p:nvSpPr>
          <p:cNvPr id="4" name="灯片编号占位符 3"/>
          <p:cNvSpPr>
            <a:spLocks noGrp="1"/>
          </p:cNvSpPr>
          <p:nvPr>
            <p:ph type="sldNum" sz="quarter" idx="10"/>
          </p:nvPr>
        </p:nvSpPr>
        <p:spPr/>
        <p:txBody>
          <a:bodyPr/>
          <a:lstStyle/>
          <a:p>
            <a:fld id="{4A7EA511-84E0-4AE0-9842-AB0E10994BF1}" type="slidenum">
              <a:rPr lang="zh-CN" altLang="en-US" smtClean="0"/>
              <a:pPr/>
              <a:t>14</a:t>
            </a:fld>
            <a:endParaRPr lang="zh-CN" altLang="en-US"/>
          </a:p>
        </p:txBody>
      </p:sp>
    </p:spTree>
    <p:extLst>
      <p:ext uri="{BB962C8B-B14F-4D97-AF65-F5344CB8AC3E}">
        <p14:creationId xmlns:p14="http://schemas.microsoft.com/office/powerpoint/2010/main" val="134259111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zh-CN" altLang="en-US" sz="1200" dirty="0" smtClean="0">
                <a:solidFill>
                  <a:schemeClr val="tx2"/>
                </a:solidFill>
                <a:latin typeface="微软雅黑" panose="020B0503020204020204" pitchFamily="34" charset="-122"/>
                <a:ea typeface="微软雅黑" panose="020B0503020204020204" pitchFamily="34" charset="-122"/>
              </a:rPr>
              <a:t>站位表管理：</a:t>
            </a:r>
            <a:r>
              <a:rPr lang="en-US" altLang="zh-CN" sz="1200" dirty="0" smtClean="0">
                <a:solidFill>
                  <a:schemeClr val="tx2"/>
                </a:solidFill>
                <a:latin typeface="微软雅黑" panose="020B0503020204020204" pitchFamily="34" charset="-122"/>
                <a:ea typeface="微软雅黑" panose="020B0503020204020204" pitchFamily="34" charset="-122"/>
              </a:rPr>
              <a:t>	</a:t>
            </a:r>
          </a:p>
          <a:p>
            <a:pPr marL="0" marR="0" lvl="0" indent="0" algn="l" defTabSz="914400" rtl="0" eaLnBrk="1" fontAlgn="auto" latinLnBrk="0" hangingPunct="1">
              <a:lnSpc>
                <a:spcPct val="100000"/>
              </a:lnSpc>
              <a:spcBef>
                <a:spcPts val="0"/>
              </a:spcBef>
              <a:spcAft>
                <a:spcPts val="0"/>
              </a:spcAft>
              <a:buClrTx/>
              <a:buSzTx/>
              <a:buFontTx/>
              <a:buNone/>
              <a:tabLst/>
              <a:defRPr/>
            </a:pPr>
            <a:r>
              <a:rPr lang="zh-CN" altLang="en-US" sz="1200" dirty="0" smtClean="0">
                <a:solidFill>
                  <a:schemeClr val="tx2"/>
                </a:solidFill>
                <a:latin typeface="微软雅黑" panose="020B0503020204020204" pitchFamily="34" charset="-122"/>
                <a:ea typeface="微软雅黑" panose="020B0503020204020204" pitchFamily="34" charset="-122"/>
              </a:rPr>
              <a:t>本地上传、自动格式化表单</a:t>
            </a:r>
            <a:endParaRPr lang="en-US" altLang="zh-CN" sz="1200" dirty="0" smtClean="0">
              <a:solidFill>
                <a:schemeClr val="tx2"/>
              </a:solidFill>
              <a:latin typeface="微软雅黑" panose="020B0503020204020204" pitchFamily="34" charset="-122"/>
              <a:ea typeface="微软雅黑" panose="020B0503020204020204" pitchFamily="34" charset="-122"/>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zh-CN" altLang="en-US" sz="1200" dirty="0" smtClean="0">
                <a:solidFill>
                  <a:schemeClr val="tx2"/>
                </a:solidFill>
                <a:latin typeface="微软雅黑" panose="020B0503020204020204" pitchFamily="34" charset="-122"/>
                <a:ea typeface="微软雅黑" panose="020B0503020204020204" pitchFamily="34" charset="-122"/>
              </a:rPr>
              <a:t>在线编辑，轻松更改表单状态</a:t>
            </a:r>
            <a:endParaRPr lang="en-US" altLang="zh-CN" sz="1200" dirty="0" smtClean="0">
              <a:solidFill>
                <a:schemeClr val="tx2"/>
              </a:solidFill>
              <a:latin typeface="微软雅黑" panose="020B0503020204020204" pitchFamily="34" charset="-122"/>
              <a:ea typeface="微软雅黑" panose="020B0503020204020204" pitchFamily="34" charset="-122"/>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zh-CN" altLang="en-US" sz="1200" dirty="0" smtClean="0">
                <a:solidFill>
                  <a:schemeClr val="tx2"/>
                </a:solidFill>
                <a:latin typeface="微软雅黑" panose="020B0503020204020204" pitchFamily="34" charset="-122"/>
                <a:ea typeface="微软雅黑" panose="020B0503020204020204" pitchFamily="34" charset="-122"/>
              </a:rPr>
              <a:t>查询过滤，所需内容唾手可得</a:t>
            </a:r>
            <a:endParaRPr lang="zh-CN" altLang="en-US" dirty="0"/>
          </a:p>
        </p:txBody>
      </p:sp>
      <p:sp>
        <p:nvSpPr>
          <p:cNvPr id="4" name="灯片编号占位符 3"/>
          <p:cNvSpPr>
            <a:spLocks noGrp="1"/>
          </p:cNvSpPr>
          <p:nvPr>
            <p:ph type="sldNum" sz="quarter" idx="10"/>
          </p:nvPr>
        </p:nvSpPr>
        <p:spPr/>
        <p:txBody>
          <a:bodyPr/>
          <a:lstStyle/>
          <a:p>
            <a:fld id="{4A7EA511-84E0-4AE0-9842-AB0E10994BF1}" type="slidenum">
              <a:rPr lang="zh-CN" altLang="en-US" smtClean="0"/>
              <a:pPr/>
              <a:t>15</a:t>
            </a:fld>
            <a:endParaRPr lang="zh-CN" altLang="en-US"/>
          </a:p>
        </p:txBody>
      </p:sp>
    </p:spTree>
    <p:extLst>
      <p:ext uri="{BB962C8B-B14F-4D97-AF65-F5344CB8AC3E}">
        <p14:creationId xmlns:p14="http://schemas.microsoft.com/office/powerpoint/2010/main" val="119813250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4A7EA511-84E0-4AE0-9842-AB0E10994BF1}" type="slidenum">
              <a:rPr lang="zh-CN" altLang="en-US" smtClean="0"/>
              <a:pPr/>
              <a:t>16</a:t>
            </a:fld>
            <a:endParaRPr lang="zh-CN" altLang="en-US"/>
          </a:p>
        </p:txBody>
      </p:sp>
    </p:spTree>
    <p:extLst>
      <p:ext uri="{BB962C8B-B14F-4D97-AF65-F5344CB8AC3E}">
        <p14:creationId xmlns:p14="http://schemas.microsoft.com/office/powerpoint/2010/main" val="372251356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zh-CN" altLang="en-US" sz="1200" dirty="0" smtClean="0">
                <a:solidFill>
                  <a:schemeClr val="tx2"/>
                </a:solidFill>
                <a:latin typeface="微软雅黑" panose="020B0503020204020204" pitchFamily="34" charset="-122"/>
                <a:ea typeface="微软雅黑" panose="020B0503020204020204" pitchFamily="34" charset="-122"/>
              </a:rPr>
              <a:t>报表生成：</a:t>
            </a:r>
            <a:r>
              <a:rPr lang="en-US" altLang="zh-CN" sz="1200" dirty="0" smtClean="0">
                <a:solidFill>
                  <a:schemeClr val="tx2"/>
                </a:solidFill>
                <a:latin typeface="微软雅黑" panose="020B0503020204020204" pitchFamily="34" charset="-122"/>
                <a:ea typeface="微软雅黑" panose="020B0503020204020204" pitchFamily="34" charset="-122"/>
              </a:rPr>
              <a:t>	</a:t>
            </a:r>
          </a:p>
          <a:p>
            <a:pPr marL="0" marR="0" lvl="0" indent="0" algn="l" defTabSz="914400" rtl="0" eaLnBrk="1" fontAlgn="auto" latinLnBrk="0" hangingPunct="1">
              <a:lnSpc>
                <a:spcPct val="100000"/>
              </a:lnSpc>
              <a:spcBef>
                <a:spcPts val="0"/>
              </a:spcBef>
              <a:spcAft>
                <a:spcPts val="0"/>
              </a:spcAft>
              <a:buClrTx/>
              <a:buSzTx/>
              <a:buFontTx/>
              <a:buNone/>
              <a:tabLst/>
              <a:defRPr/>
            </a:pPr>
            <a:r>
              <a:rPr lang="zh-CN" altLang="en-US" sz="1200" dirty="0" smtClean="0">
                <a:solidFill>
                  <a:schemeClr val="tx2"/>
                </a:solidFill>
                <a:latin typeface="微软雅黑" panose="020B0503020204020204" pitchFamily="34" charset="-122"/>
                <a:ea typeface="微软雅黑" panose="020B0503020204020204" pitchFamily="34" charset="-122"/>
              </a:rPr>
              <a:t>报表查询、生成下载</a:t>
            </a:r>
            <a:endParaRPr lang="en-US" altLang="zh-CN" sz="1200" dirty="0" smtClean="0">
              <a:solidFill>
                <a:schemeClr val="tx2"/>
              </a:solidFill>
              <a:latin typeface="微软雅黑" panose="020B0503020204020204" pitchFamily="34" charset="-122"/>
              <a:ea typeface="微软雅黑" panose="020B0503020204020204" pitchFamily="34" charset="-122"/>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zh-CN" altLang="en-US" sz="1200" dirty="0" smtClean="0">
                <a:solidFill>
                  <a:schemeClr val="tx2"/>
                </a:solidFill>
                <a:latin typeface="微软雅黑" panose="020B0503020204020204" pitchFamily="34" charset="-122"/>
                <a:ea typeface="微软雅黑" panose="020B0503020204020204" pitchFamily="34" charset="-122"/>
              </a:rPr>
              <a:t>丰富的过滤规则、高效查找指定报表</a:t>
            </a:r>
            <a:endParaRPr lang="en-US" altLang="zh-CN" sz="1200" dirty="0" smtClean="0">
              <a:solidFill>
                <a:schemeClr val="tx2"/>
              </a:solidFill>
              <a:latin typeface="微软雅黑" panose="020B0503020204020204" pitchFamily="34" charset="-122"/>
              <a:ea typeface="微软雅黑" panose="020B0503020204020204" pitchFamily="34" charset="-122"/>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zh-CN" altLang="en-US" sz="1200" dirty="0" smtClean="0">
                <a:solidFill>
                  <a:schemeClr val="tx2"/>
                </a:solidFill>
                <a:latin typeface="微软雅黑" panose="020B0503020204020204" pitchFamily="34" charset="-122"/>
                <a:ea typeface="微软雅黑" panose="020B0503020204020204" pitchFamily="34" charset="-122"/>
              </a:rPr>
              <a:t>实时表格显示，产线状态一目了然</a:t>
            </a:r>
            <a:endParaRPr lang="en-US" altLang="zh-CN" sz="1200" dirty="0" smtClean="0">
              <a:solidFill>
                <a:schemeClr val="tx2"/>
              </a:solidFill>
              <a:latin typeface="微软雅黑" panose="020B0503020204020204" pitchFamily="34" charset="-122"/>
              <a:ea typeface="微软雅黑" panose="020B0503020204020204" pitchFamily="34" charset="-122"/>
            </a:endParaRPr>
          </a:p>
          <a:p>
            <a:endParaRPr lang="zh-CN" altLang="en-US" dirty="0"/>
          </a:p>
        </p:txBody>
      </p:sp>
      <p:sp>
        <p:nvSpPr>
          <p:cNvPr id="4" name="灯片编号占位符 3"/>
          <p:cNvSpPr>
            <a:spLocks noGrp="1"/>
          </p:cNvSpPr>
          <p:nvPr>
            <p:ph type="sldNum" sz="quarter" idx="10"/>
          </p:nvPr>
        </p:nvSpPr>
        <p:spPr/>
        <p:txBody>
          <a:bodyPr/>
          <a:lstStyle/>
          <a:p>
            <a:fld id="{4A7EA511-84E0-4AE0-9842-AB0E10994BF1}" type="slidenum">
              <a:rPr lang="zh-CN" altLang="en-US" smtClean="0"/>
              <a:pPr/>
              <a:t>17</a:t>
            </a:fld>
            <a:endParaRPr lang="zh-CN" altLang="en-US"/>
          </a:p>
        </p:txBody>
      </p:sp>
    </p:spTree>
    <p:extLst>
      <p:ext uri="{BB962C8B-B14F-4D97-AF65-F5344CB8AC3E}">
        <p14:creationId xmlns:p14="http://schemas.microsoft.com/office/powerpoint/2010/main" val="142190695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4A7EA511-84E0-4AE0-9842-AB0E10994BF1}" type="slidenum">
              <a:rPr lang="zh-CN" altLang="en-US" smtClean="0"/>
              <a:pPr/>
              <a:t>18</a:t>
            </a:fld>
            <a:endParaRPr lang="zh-CN" altLang="en-US"/>
          </a:p>
        </p:txBody>
      </p:sp>
    </p:spTree>
    <p:extLst>
      <p:ext uri="{BB962C8B-B14F-4D97-AF65-F5344CB8AC3E}">
        <p14:creationId xmlns:p14="http://schemas.microsoft.com/office/powerpoint/2010/main" val="60584983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zh-CN" sz="1200" kern="1200" dirty="0" smtClean="0">
                <a:solidFill>
                  <a:schemeClr val="tx2"/>
                </a:solidFill>
                <a:effectLst/>
                <a:latin typeface="微软雅黑" panose="020B0503020204020204" pitchFamily="34" charset="-122"/>
                <a:ea typeface="微软雅黑" panose="020B0503020204020204" pitchFamily="34" charset="-122"/>
                <a:cs typeface="+mn-cs"/>
              </a:rPr>
              <a:t>该</a:t>
            </a:r>
            <a:r>
              <a:rPr lang="en-US" altLang="zh-CN" sz="1200" kern="1200" dirty="0" smtClean="0">
                <a:solidFill>
                  <a:schemeClr val="tx2"/>
                </a:solidFill>
                <a:effectLst/>
                <a:latin typeface="微软雅黑" panose="020B0503020204020204" pitchFamily="34" charset="-122"/>
                <a:ea typeface="微软雅黑" panose="020B0503020204020204" pitchFamily="34" charset="-122"/>
                <a:cs typeface="+mn-cs"/>
              </a:rPr>
              <a:t>APP</a:t>
            </a:r>
            <a:r>
              <a:rPr lang="zh-CN" altLang="zh-CN" sz="1200" kern="1200" dirty="0" smtClean="0">
                <a:solidFill>
                  <a:schemeClr val="tx2"/>
                </a:solidFill>
                <a:effectLst/>
                <a:latin typeface="微软雅黑" panose="020B0503020204020204" pitchFamily="34" charset="-122"/>
                <a:ea typeface="微软雅黑" panose="020B0503020204020204" pitchFamily="34" charset="-122"/>
                <a:cs typeface="+mn-cs"/>
              </a:rPr>
              <a:t>运行在一台基于</a:t>
            </a:r>
            <a:r>
              <a:rPr lang="en-US" altLang="zh-CN" sz="1200" kern="1200" dirty="0" smtClean="0">
                <a:solidFill>
                  <a:schemeClr val="tx2"/>
                </a:solidFill>
                <a:effectLst/>
                <a:latin typeface="微软雅黑" panose="020B0503020204020204" pitchFamily="34" charset="-122"/>
                <a:ea typeface="微软雅黑" panose="020B0503020204020204" pitchFamily="34" charset="-122"/>
                <a:cs typeface="+mn-cs"/>
              </a:rPr>
              <a:t>Android</a:t>
            </a:r>
            <a:r>
              <a:rPr lang="zh-CN" altLang="zh-CN" sz="1200" kern="1200" dirty="0" smtClean="0">
                <a:solidFill>
                  <a:schemeClr val="tx2"/>
                </a:solidFill>
                <a:effectLst/>
                <a:latin typeface="微软雅黑" panose="020B0503020204020204" pitchFamily="34" charset="-122"/>
                <a:ea typeface="微软雅黑" panose="020B0503020204020204" pitchFamily="34" charset="-122"/>
                <a:cs typeface="+mn-cs"/>
              </a:rPr>
              <a:t>系统的手持一体机上（该一体机自带条码识别器），车间工作人员、</a:t>
            </a:r>
            <a:r>
              <a:rPr lang="en-US" altLang="zh-CN" sz="1200" kern="1200" dirty="0" err="1" smtClean="0">
                <a:solidFill>
                  <a:schemeClr val="tx2"/>
                </a:solidFill>
                <a:effectLst/>
                <a:latin typeface="微软雅黑" panose="020B0503020204020204" pitchFamily="34" charset="-122"/>
                <a:ea typeface="微软雅黑" panose="020B0503020204020204" pitchFamily="34" charset="-122"/>
                <a:cs typeface="+mn-cs"/>
              </a:rPr>
              <a:t>IPQC</a:t>
            </a:r>
            <a:r>
              <a:rPr lang="zh-CN" altLang="zh-CN" sz="1200" kern="1200" dirty="0" smtClean="0">
                <a:solidFill>
                  <a:schemeClr val="tx2"/>
                </a:solidFill>
                <a:effectLst/>
                <a:latin typeface="微软雅黑" panose="020B0503020204020204" pitchFamily="34" charset="-122"/>
                <a:ea typeface="微软雅黑" panose="020B0503020204020204" pitchFamily="34" charset="-122"/>
                <a:cs typeface="+mn-cs"/>
              </a:rPr>
              <a:t>、仓库出入库工作人员将人手一台该设备，随时进行物料校验。</a:t>
            </a:r>
            <a:endParaRPr lang="en-US" altLang="zh-CN" sz="1200" kern="1200" dirty="0" smtClean="0">
              <a:solidFill>
                <a:schemeClr val="tx2"/>
              </a:solidFill>
              <a:effectLst/>
              <a:latin typeface="微软雅黑" panose="020B0503020204020204" pitchFamily="34" charset="-122"/>
              <a:ea typeface="微软雅黑" panose="020B0503020204020204" pitchFamily="34" charset="-122"/>
              <a:cs typeface="+mn-cs"/>
            </a:endParaRPr>
          </a:p>
          <a:p>
            <a:r>
              <a:rPr lang="zh-CN" altLang="zh-CN" sz="1200" kern="1200" dirty="0" smtClean="0">
                <a:solidFill>
                  <a:schemeClr val="tx2"/>
                </a:solidFill>
                <a:effectLst/>
                <a:latin typeface="微软雅黑" panose="020B0503020204020204" pitchFamily="34" charset="-122"/>
                <a:ea typeface="微软雅黑" panose="020B0503020204020204" pitchFamily="34" charset="-122"/>
                <a:cs typeface="+mn-cs"/>
              </a:rPr>
              <a:t>该</a:t>
            </a:r>
            <a:r>
              <a:rPr lang="en-US" altLang="zh-CN" sz="1200" kern="1200" dirty="0" smtClean="0">
                <a:solidFill>
                  <a:schemeClr val="tx2"/>
                </a:solidFill>
                <a:effectLst/>
                <a:latin typeface="微软雅黑" panose="020B0503020204020204" pitchFamily="34" charset="-122"/>
                <a:ea typeface="微软雅黑" panose="020B0503020204020204" pitchFamily="34" charset="-122"/>
                <a:cs typeface="+mn-cs"/>
              </a:rPr>
              <a:t>APP</a:t>
            </a:r>
            <a:r>
              <a:rPr lang="zh-CN" altLang="zh-CN" sz="1200" kern="1200" dirty="0" smtClean="0">
                <a:solidFill>
                  <a:schemeClr val="tx2"/>
                </a:solidFill>
                <a:effectLst/>
                <a:latin typeface="微软雅黑" panose="020B0503020204020204" pitchFamily="34" charset="-122"/>
                <a:ea typeface="微软雅黑" panose="020B0503020204020204" pitchFamily="34" charset="-122"/>
                <a:cs typeface="+mn-cs"/>
              </a:rPr>
              <a:t>还有一个重要的功能，它还会自动记录每一次校验的结果，当作日志写入</a:t>
            </a:r>
            <a:r>
              <a:rPr lang="en-US" altLang="zh-CN" sz="1200" kern="1200" dirty="0" err="1" smtClean="0">
                <a:solidFill>
                  <a:schemeClr val="tx2"/>
                </a:solidFill>
                <a:effectLst/>
                <a:latin typeface="微软雅黑" panose="020B0503020204020204" pitchFamily="34" charset="-122"/>
                <a:ea typeface="微软雅黑" panose="020B0503020204020204" pitchFamily="34" charset="-122"/>
                <a:cs typeface="+mn-cs"/>
              </a:rPr>
              <a:t>SMT</a:t>
            </a:r>
            <a:r>
              <a:rPr lang="zh-CN" altLang="zh-CN" sz="1200" kern="1200" dirty="0" smtClean="0">
                <a:solidFill>
                  <a:schemeClr val="tx2"/>
                </a:solidFill>
                <a:effectLst/>
                <a:latin typeface="微软雅黑" panose="020B0503020204020204" pitchFamily="34" charset="-122"/>
                <a:ea typeface="微软雅黑" panose="020B0503020204020204" pitchFamily="34" charset="-122"/>
                <a:cs typeface="+mn-cs"/>
              </a:rPr>
              <a:t>防错料系统数据库中，为后面将描述的各大模块提供报表数据来源。</a:t>
            </a:r>
            <a:endParaRPr lang="en-US" altLang="zh-CN" sz="1200" kern="1200" dirty="0" smtClean="0">
              <a:solidFill>
                <a:schemeClr val="tx2"/>
              </a:solidFill>
              <a:effectLst/>
              <a:latin typeface="微软雅黑" panose="020B0503020204020204" pitchFamily="34" charset="-122"/>
              <a:ea typeface="微软雅黑" panose="020B0503020204020204" pitchFamily="34" charset="-122"/>
              <a:cs typeface="+mn-cs"/>
            </a:endParaRPr>
          </a:p>
          <a:p>
            <a:r>
              <a:rPr lang="zh-CN" altLang="zh-CN" sz="1200" kern="1200" dirty="0" smtClean="0">
                <a:solidFill>
                  <a:schemeClr val="tx2"/>
                </a:solidFill>
                <a:effectLst/>
                <a:latin typeface="微软雅黑" panose="020B0503020204020204" pitchFamily="34" charset="-122"/>
                <a:ea typeface="微软雅黑" panose="020B0503020204020204" pitchFamily="34" charset="-122"/>
                <a:cs typeface="+mn-cs"/>
              </a:rPr>
              <a:t>另外值得一提的一个重要功能是，系统检测到工作人员两次扫描的物料不一致时会发送信号给中央控制系统，中央控制系统会停止接驳台运转并发出亮起警报灯。除此之外，</a:t>
            </a:r>
            <a:r>
              <a:rPr lang="en-US" altLang="zh-CN" sz="1200" kern="1200" dirty="0" smtClean="0">
                <a:solidFill>
                  <a:schemeClr val="tx2"/>
                </a:solidFill>
                <a:effectLst/>
                <a:latin typeface="微软雅黑" panose="020B0503020204020204" pitchFamily="34" charset="-122"/>
                <a:ea typeface="微软雅黑" panose="020B0503020204020204" pitchFamily="34" charset="-122"/>
                <a:cs typeface="+mn-cs"/>
              </a:rPr>
              <a:t>APP</a:t>
            </a:r>
            <a:r>
              <a:rPr lang="zh-CN" altLang="zh-CN" sz="1200" kern="1200" dirty="0" smtClean="0">
                <a:solidFill>
                  <a:schemeClr val="tx2"/>
                </a:solidFill>
                <a:effectLst/>
                <a:latin typeface="微软雅黑" panose="020B0503020204020204" pitchFamily="34" charset="-122"/>
                <a:ea typeface="微软雅黑" panose="020B0503020204020204" pitchFamily="34" charset="-122"/>
                <a:cs typeface="+mn-cs"/>
              </a:rPr>
              <a:t>还具有工序检测和扣除物料库存的功能，即保证了校验物料时严格按照生产流程顺序进行，从而实现了物料的跟踪功能。</a:t>
            </a:r>
            <a:endParaRPr lang="zh-CN" altLang="en-US" dirty="0" smtClean="0"/>
          </a:p>
          <a:p>
            <a:endParaRPr lang="zh-CN" altLang="en-US" dirty="0"/>
          </a:p>
        </p:txBody>
      </p:sp>
      <p:sp>
        <p:nvSpPr>
          <p:cNvPr id="4" name="灯片编号占位符 3"/>
          <p:cNvSpPr>
            <a:spLocks noGrp="1"/>
          </p:cNvSpPr>
          <p:nvPr>
            <p:ph type="sldNum" sz="quarter" idx="10"/>
          </p:nvPr>
        </p:nvSpPr>
        <p:spPr/>
        <p:txBody>
          <a:bodyPr/>
          <a:lstStyle/>
          <a:p>
            <a:fld id="{4A7EA511-84E0-4AE0-9842-AB0E10994BF1}" type="slidenum">
              <a:rPr lang="zh-CN" altLang="en-US" smtClean="0"/>
              <a:pPr/>
              <a:t>19</a:t>
            </a:fld>
            <a:endParaRPr lang="zh-CN" altLang="en-US"/>
          </a:p>
        </p:txBody>
      </p:sp>
    </p:spTree>
    <p:extLst>
      <p:ext uri="{BB962C8B-B14F-4D97-AF65-F5344CB8AC3E}">
        <p14:creationId xmlns:p14="http://schemas.microsoft.com/office/powerpoint/2010/main" val="80109610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zh-CN" altLang="zh-CN" sz="1200" kern="1200" dirty="0" smtClean="0">
                <a:solidFill>
                  <a:schemeClr val="tx2"/>
                </a:solidFill>
                <a:effectLst/>
                <a:latin typeface="微软雅黑" panose="020B0503020204020204" pitchFamily="34" charset="-122"/>
                <a:ea typeface="微软雅黑" panose="020B0503020204020204" pitchFamily="34" charset="-122"/>
                <a:cs typeface="+mn-cs"/>
              </a:rPr>
              <a:t>该系统作为一款桌面应用运行在每一条产线的电脑中，用于向操作员或前来巡视的主管或客户实时展示精确到每一个站位每一种操作的正确与否，提高生产的透明度，减少错误的发生。该系统有一个重要的功能，即是它会周期检查换料操作之后的站位是否在一定时间内有</a:t>
            </a:r>
            <a:r>
              <a:rPr lang="en-US" altLang="zh-CN" sz="1200" kern="1200" dirty="0" err="1" smtClean="0">
                <a:solidFill>
                  <a:schemeClr val="tx2"/>
                </a:solidFill>
                <a:effectLst/>
                <a:latin typeface="微软雅黑" panose="020B0503020204020204" pitchFamily="34" charset="-122"/>
                <a:ea typeface="微软雅黑" panose="020B0503020204020204" pitchFamily="34" charset="-122"/>
                <a:cs typeface="+mn-cs"/>
              </a:rPr>
              <a:t>IPQC</a:t>
            </a:r>
            <a:r>
              <a:rPr lang="zh-CN" altLang="zh-CN" sz="1200" kern="1200" dirty="0" smtClean="0">
                <a:solidFill>
                  <a:schemeClr val="tx2"/>
                </a:solidFill>
                <a:effectLst/>
                <a:latin typeface="微软雅黑" panose="020B0503020204020204" pitchFamily="34" charset="-122"/>
                <a:ea typeface="微软雅黑" panose="020B0503020204020204" pitchFamily="34" charset="-122"/>
                <a:cs typeface="+mn-cs"/>
              </a:rPr>
              <a:t>进行过校验操作，它还会周期检查</a:t>
            </a:r>
            <a:r>
              <a:rPr lang="en-US" altLang="zh-CN" sz="1200" kern="1200" dirty="0" err="1" smtClean="0">
                <a:solidFill>
                  <a:schemeClr val="tx2"/>
                </a:solidFill>
                <a:effectLst/>
                <a:latin typeface="微软雅黑" panose="020B0503020204020204" pitchFamily="34" charset="-122"/>
                <a:ea typeface="微软雅黑" panose="020B0503020204020204" pitchFamily="34" charset="-122"/>
                <a:cs typeface="+mn-cs"/>
              </a:rPr>
              <a:t>IPQC</a:t>
            </a:r>
            <a:r>
              <a:rPr lang="zh-CN" altLang="zh-CN" sz="1200" kern="1200" dirty="0" smtClean="0">
                <a:solidFill>
                  <a:schemeClr val="tx2"/>
                </a:solidFill>
                <a:effectLst/>
                <a:latin typeface="微软雅黑" panose="020B0503020204020204" pitchFamily="34" charset="-122"/>
                <a:ea typeface="微软雅黑" panose="020B0503020204020204" pitchFamily="34" charset="-122"/>
                <a:cs typeface="+mn-cs"/>
              </a:rPr>
              <a:t>是否有进行该条产线的全检操作，如果有任何一种操作没有进行，则会发送信号给中央控制系统，令产线接驳台停止运转并亮起警报灯。</a:t>
            </a:r>
            <a:endParaRPr lang="zh-CN" altLang="en-US" dirty="0" smtClean="0"/>
          </a:p>
          <a:p>
            <a:endParaRPr lang="zh-CN" altLang="en-US" dirty="0"/>
          </a:p>
        </p:txBody>
      </p:sp>
      <p:sp>
        <p:nvSpPr>
          <p:cNvPr id="4" name="灯片编号占位符 3"/>
          <p:cNvSpPr>
            <a:spLocks noGrp="1"/>
          </p:cNvSpPr>
          <p:nvPr>
            <p:ph type="sldNum" sz="quarter" idx="10"/>
          </p:nvPr>
        </p:nvSpPr>
        <p:spPr/>
        <p:txBody>
          <a:bodyPr/>
          <a:lstStyle/>
          <a:p>
            <a:fld id="{4A7EA511-84E0-4AE0-9842-AB0E10994BF1}" type="slidenum">
              <a:rPr lang="zh-CN" altLang="en-US" smtClean="0"/>
              <a:pPr/>
              <a:t>22</a:t>
            </a:fld>
            <a:endParaRPr lang="zh-CN" altLang="en-US"/>
          </a:p>
        </p:txBody>
      </p:sp>
    </p:spTree>
    <p:extLst>
      <p:ext uri="{BB962C8B-B14F-4D97-AF65-F5344CB8AC3E}">
        <p14:creationId xmlns:p14="http://schemas.microsoft.com/office/powerpoint/2010/main" val="379494034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zh-CN" sz="1200" kern="1200" dirty="0" smtClean="0">
                <a:solidFill>
                  <a:schemeClr val="tx2"/>
                </a:solidFill>
                <a:effectLst/>
                <a:latin typeface="微软雅黑" panose="020B0503020204020204" pitchFamily="34" charset="-122"/>
                <a:ea typeface="微软雅黑" panose="020B0503020204020204" pitchFamily="34" charset="-122"/>
                <a:cs typeface="+mn-cs"/>
              </a:rPr>
              <a:t>中央控制（以下简称中控）为</a:t>
            </a:r>
            <a:r>
              <a:rPr lang="en-US" altLang="zh-CN" sz="1200" kern="1200" dirty="0" err="1" smtClean="0">
                <a:solidFill>
                  <a:schemeClr val="tx2"/>
                </a:solidFill>
                <a:effectLst/>
                <a:latin typeface="微软雅黑" panose="020B0503020204020204" pitchFamily="34" charset="-122"/>
                <a:ea typeface="微软雅黑" panose="020B0503020204020204" pitchFamily="34" charset="-122"/>
                <a:cs typeface="+mn-cs"/>
              </a:rPr>
              <a:t>SMT</a:t>
            </a:r>
            <a:r>
              <a:rPr lang="zh-CN" altLang="zh-CN" sz="1200" kern="1200" dirty="0" smtClean="0">
                <a:solidFill>
                  <a:schemeClr val="tx2"/>
                </a:solidFill>
                <a:effectLst/>
                <a:latin typeface="微软雅黑" panose="020B0503020204020204" pitchFamily="34" charset="-122"/>
                <a:ea typeface="微软雅黑" panose="020B0503020204020204" pitchFamily="34" charset="-122"/>
                <a:cs typeface="+mn-cs"/>
              </a:rPr>
              <a:t>防错料系统的核心模块之一，它提供的功能有启动和关闭报警灯、统计并显示通过接驳台的</a:t>
            </a:r>
            <a:r>
              <a:rPr lang="en-US" altLang="zh-CN" sz="1200" kern="1200" dirty="0" smtClean="0">
                <a:solidFill>
                  <a:schemeClr val="tx2"/>
                </a:solidFill>
                <a:effectLst/>
                <a:latin typeface="微软雅黑" panose="020B0503020204020204" pitchFamily="34" charset="-122"/>
                <a:ea typeface="微软雅黑" panose="020B0503020204020204" pitchFamily="34" charset="-122"/>
                <a:cs typeface="+mn-cs"/>
              </a:rPr>
              <a:t>PCB</a:t>
            </a:r>
            <a:r>
              <a:rPr lang="zh-CN" altLang="zh-CN" sz="1200" kern="1200" dirty="0" smtClean="0">
                <a:solidFill>
                  <a:schemeClr val="tx2"/>
                </a:solidFill>
                <a:effectLst/>
                <a:latin typeface="微软雅黑" panose="020B0503020204020204" pitchFamily="34" charset="-122"/>
                <a:ea typeface="微软雅黑" panose="020B0503020204020204" pitchFamily="34" charset="-122"/>
                <a:cs typeface="+mn-cs"/>
              </a:rPr>
              <a:t>板数目、控制连接着贴片机的接驳台的电源开关三大功能。中控是一个嵌入式</a:t>
            </a:r>
            <a:r>
              <a:rPr lang="en-US" altLang="zh-CN" sz="1200" kern="1200" dirty="0" smtClean="0">
                <a:solidFill>
                  <a:schemeClr val="tx2"/>
                </a:solidFill>
                <a:effectLst/>
                <a:latin typeface="微软雅黑" panose="020B0503020204020204" pitchFamily="34" charset="-122"/>
                <a:ea typeface="微软雅黑" panose="020B0503020204020204" pitchFamily="34" charset="-122"/>
                <a:cs typeface="+mn-cs"/>
              </a:rPr>
              <a:t>Linux</a:t>
            </a:r>
            <a:r>
              <a:rPr lang="zh-CN" altLang="zh-CN" sz="1200" kern="1200" dirty="0" smtClean="0">
                <a:solidFill>
                  <a:schemeClr val="tx2"/>
                </a:solidFill>
                <a:effectLst/>
                <a:latin typeface="微软雅黑" panose="020B0503020204020204" pitchFamily="34" charset="-122"/>
                <a:ea typeface="微软雅黑" panose="020B0503020204020204" pitchFamily="34" charset="-122"/>
                <a:cs typeface="+mn-cs"/>
              </a:rPr>
              <a:t>设备，其硬件部分由树莓派搭配红外感应器、报警灯、一个连接着贴片机之间的接驳台电源的继电器、小型显示屏共</a:t>
            </a:r>
            <a:r>
              <a:rPr lang="en-US" altLang="zh-CN" sz="1200" kern="1200" dirty="0" smtClean="0">
                <a:solidFill>
                  <a:schemeClr val="tx2"/>
                </a:solidFill>
                <a:effectLst/>
                <a:latin typeface="微软雅黑" panose="020B0503020204020204" pitchFamily="34" charset="-122"/>
                <a:ea typeface="微软雅黑" panose="020B0503020204020204" pitchFamily="34" charset="-122"/>
                <a:cs typeface="+mn-cs"/>
              </a:rPr>
              <a:t>4</a:t>
            </a:r>
            <a:r>
              <a:rPr lang="zh-CN" altLang="zh-CN" sz="1200" kern="1200" dirty="0" smtClean="0">
                <a:solidFill>
                  <a:schemeClr val="tx2"/>
                </a:solidFill>
                <a:effectLst/>
                <a:latin typeface="微软雅黑" panose="020B0503020204020204" pitchFamily="34" charset="-122"/>
                <a:ea typeface="微软雅黑" panose="020B0503020204020204" pitchFamily="34" charset="-122"/>
                <a:cs typeface="+mn-cs"/>
              </a:rPr>
              <a:t>个外设构成；其软件部分运行在</a:t>
            </a:r>
            <a:r>
              <a:rPr lang="en-US" altLang="zh-CN" sz="1200" kern="1200" dirty="0" smtClean="0">
                <a:solidFill>
                  <a:schemeClr val="tx2"/>
                </a:solidFill>
                <a:effectLst/>
                <a:latin typeface="微软雅黑" panose="020B0503020204020204" pitchFamily="34" charset="-122"/>
                <a:ea typeface="微软雅黑" panose="020B0503020204020204" pitchFamily="34" charset="-122"/>
                <a:cs typeface="+mn-cs"/>
              </a:rPr>
              <a:t>Linux</a:t>
            </a:r>
            <a:r>
              <a:rPr lang="zh-CN" altLang="zh-CN" sz="1200" kern="1200" dirty="0" smtClean="0">
                <a:solidFill>
                  <a:schemeClr val="tx2"/>
                </a:solidFill>
                <a:effectLst/>
                <a:latin typeface="微软雅黑" panose="020B0503020204020204" pitchFamily="34" charset="-122"/>
                <a:ea typeface="微软雅黑" panose="020B0503020204020204" pitchFamily="34" charset="-122"/>
                <a:cs typeface="+mn-cs"/>
              </a:rPr>
              <a:t>系统中，它时刻保持着与某一条产线的</a:t>
            </a:r>
            <a:r>
              <a:rPr lang="en-US" altLang="zh-CN" sz="1200" kern="1200" dirty="0" err="1" smtClean="0">
                <a:solidFill>
                  <a:schemeClr val="tx2"/>
                </a:solidFill>
                <a:effectLst/>
                <a:latin typeface="微软雅黑" panose="020B0503020204020204" pitchFamily="34" charset="-122"/>
                <a:ea typeface="微软雅黑" panose="020B0503020204020204" pitchFamily="34" charset="-122"/>
                <a:cs typeface="+mn-cs"/>
              </a:rPr>
              <a:t>SMT</a:t>
            </a:r>
            <a:r>
              <a:rPr lang="zh-CN" altLang="zh-CN" sz="1200" kern="1200" dirty="0" smtClean="0">
                <a:solidFill>
                  <a:schemeClr val="tx2"/>
                </a:solidFill>
                <a:effectLst/>
                <a:latin typeface="微软雅黑" panose="020B0503020204020204" pitchFamily="34" charset="-122"/>
                <a:ea typeface="微软雅黑" panose="020B0503020204020204" pitchFamily="34" charset="-122"/>
                <a:cs typeface="+mn-cs"/>
              </a:rPr>
              <a:t>防错料</a:t>
            </a:r>
            <a:r>
              <a:rPr lang="en-US" altLang="zh-CN" sz="1200" kern="1200" dirty="0" smtClean="0">
                <a:solidFill>
                  <a:schemeClr val="tx2"/>
                </a:solidFill>
                <a:effectLst/>
                <a:latin typeface="微软雅黑" panose="020B0503020204020204" pitchFamily="34" charset="-122"/>
                <a:ea typeface="微软雅黑" panose="020B0503020204020204" pitchFamily="34" charset="-122"/>
                <a:cs typeface="+mn-cs"/>
              </a:rPr>
              <a:t>APP</a:t>
            </a:r>
            <a:r>
              <a:rPr lang="zh-CN" altLang="zh-CN" sz="1200" kern="1200" dirty="0" smtClean="0">
                <a:solidFill>
                  <a:schemeClr val="tx2"/>
                </a:solidFill>
                <a:effectLst/>
                <a:latin typeface="微软雅黑" panose="020B0503020204020204" pitchFamily="34" charset="-122"/>
                <a:ea typeface="微软雅黑" panose="020B0503020204020204" pitchFamily="34" charset="-122"/>
                <a:cs typeface="+mn-cs"/>
              </a:rPr>
              <a:t>、车间产线实时监控系统以及远程服务器的网络通信，随时接收来自各方的信号指令。除此之外，中控还具有断线重连机制、超时重连机制。</a:t>
            </a:r>
            <a:endParaRPr lang="zh-CN" altLang="en-US" dirty="0"/>
          </a:p>
        </p:txBody>
      </p:sp>
      <p:sp>
        <p:nvSpPr>
          <p:cNvPr id="4" name="灯片编号占位符 3"/>
          <p:cNvSpPr>
            <a:spLocks noGrp="1"/>
          </p:cNvSpPr>
          <p:nvPr>
            <p:ph type="sldNum" sz="quarter" idx="10"/>
          </p:nvPr>
        </p:nvSpPr>
        <p:spPr/>
        <p:txBody>
          <a:bodyPr/>
          <a:lstStyle/>
          <a:p>
            <a:fld id="{4A7EA511-84E0-4AE0-9842-AB0E10994BF1}" type="slidenum">
              <a:rPr lang="zh-CN" altLang="en-US" smtClean="0"/>
              <a:pPr/>
              <a:t>25</a:t>
            </a:fld>
            <a:endParaRPr lang="zh-CN" altLang="en-US"/>
          </a:p>
        </p:txBody>
      </p:sp>
    </p:spTree>
    <p:extLst>
      <p:ext uri="{BB962C8B-B14F-4D97-AF65-F5344CB8AC3E}">
        <p14:creationId xmlns:p14="http://schemas.microsoft.com/office/powerpoint/2010/main" val="420805055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4A7EA511-84E0-4AE0-9842-AB0E10994BF1}" type="slidenum">
              <a:rPr lang="zh-CN" altLang="en-US" smtClean="0"/>
              <a:pPr/>
              <a:t>26</a:t>
            </a:fld>
            <a:endParaRPr lang="zh-CN" altLang="en-US"/>
          </a:p>
        </p:txBody>
      </p:sp>
    </p:spTree>
    <p:extLst>
      <p:ext uri="{BB962C8B-B14F-4D97-AF65-F5344CB8AC3E}">
        <p14:creationId xmlns:p14="http://schemas.microsoft.com/office/powerpoint/2010/main" val="58236574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4A7EA511-84E0-4AE0-9842-AB0E10994BF1}" type="slidenum">
              <a:rPr lang="zh-CN" altLang="en-US" smtClean="0"/>
              <a:pPr/>
              <a:t>34</a:t>
            </a:fld>
            <a:endParaRPr lang="zh-CN" altLang="en-US"/>
          </a:p>
        </p:txBody>
      </p:sp>
    </p:spTree>
    <p:extLst>
      <p:ext uri="{BB962C8B-B14F-4D97-AF65-F5344CB8AC3E}">
        <p14:creationId xmlns:p14="http://schemas.microsoft.com/office/powerpoint/2010/main" val="234886856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rtl="0"/>
            <a:r>
              <a:rPr lang="zh-CN" altLang="en-US" dirty="0" smtClean="0"/>
              <a:t>几米物联自动化部拥有一批高素质、高水平、高效率的人才。是一个软</a:t>
            </a:r>
            <a:r>
              <a:rPr lang="en-US" altLang="zh-CN" dirty="0" smtClean="0"/>
              <a:t>/</a:t>
            </a:r>
            <a:r>
              <a:rPr lang="zh-CN" altLang="en-US" dirty="0" smtClean="0"/>
              <a:t>硬件、机械、技术支持等兼备的团队</a:t>
            </a:r>
            <a:r>
              <a:rPr lang="zh-CN" altLang="zh-CN" dirty="0" smtClean="0"/>
              <a:t>。</a:t>
            </a:r>
          </a:p>
          <a:p>
            <a:r>
              <a:rPr lang="zh-CN" altLang="en-US" dirty="0" smtClean="0"/>
              <a:t>部门主要以智能制造为基准，为客户实现提高产品质量、减少人工成本、提高生产效率为目标。提供相应的生产流程优化方案、生产工艺的智能化设备、生产过程的信息化管理系统等。</a:t>
            </a:r>
            <a:r>
              <a:rPr lang="zh-CN" altLang="zh-CN" dirty="0" smtClean="0"/>
              <a:t> </a:t>
            </a:r>
          </a:p>
          <a:p>
            <a:endParaRPr lang="zh-CN" altLang="en-US" dirty="0"/>
          </a:p>
        </p:txBody>
      </p:sp>
      <p:sp>
        <p:nvSpPr>
          <p:cNvPr id="4" name="灯片编号占位符 3"/>
          <p:cNvSpPr>
            <a:spLocks noGrp="1"/>
          </p:cNvSpPr>
          <p:nvPr>
            <p:ph type="sldNum" sz="quarter" idx="10"/>
          </p:nvPr>
        </p:nvSpPr>
        <p:spPr/>
        <p:txBody>
          <a:bodyPr/>
          <a:lstStyle/>
          <a:p>
            <a:fld id="{4A7EA511-84E0-4AE0-9842-AB0E10994BF1}" type="slidenum">
              <a:rPr lang="zh-CN" altLang="en-US" smtClean="0"/>
              <a:pPr/>
              <a:t>2</a:t>
            </a:fld>
            <a:endParaRPr lang="zh-CN" altLang="en-US"/>
          </a:p>
        </p:txBody>
      </p:sp>
    </p:spTree>
    <p:extLst>
      <p:ext uri="{BB962C8B-B14F-4D97-AF65-F5344CB8AC3E}">
        <p14:creationId xmlns:p14="http://schemas.microsoft.com/office/powerpoint/2010/main" val="156782809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lvl="0"/>
            <a:r>
              <a:rPr lang="zh-CN" altLang="en-US" sz="1200" dirty="0" smtClean="0">
                <a:latin typeface="微软雅黑" panose="020B0503020204020204" pitchFamily="34" charset="-122"/>
                <a:ea typeface="微软雅黑" panose="020B0503020204020204" pitchFamily="34" charset="-122"/>
              </a:rPr>
              <a:t>机：机器参数错误</a:t>
            </a:r>
            <a:endParaRPr lang="en-US" altLang="zh-CN" sz="1200" dirty="0" smtClean="0">
              <a:latin typeface="微软雅黑" panose="020B0503020204020204" pitchFamily="34" charset="-122"/>
              <a:ea typeface="微软雅黑" panose="020B0503020204020204" pitchFamily="34" charset="-122"/>
            </a:endParaRPr>
          </a:p>
          <a:p>
            <a:pPr lvl="0"/>
            <a:r>
              <a:rPr lang="zh-CN" altLang="en-US" sz="1600" dirty="0" smtClean="0">
                <a:latin typeface="微软雅黑" panose="020B0503020204020204" pitchFamily="34" charset="-122"/>
                <a:ea typeface="微软雅黑" panose="020B0503020204020204" pitchFamily="34" charset="-122"/>
              </a:rPr>
              <a:t>料：站位表错误</a:t>
            </a:r>
          </a:p>
          <a:p>
            <a:pPr lvl="0"/>
            <a:r>
              <a:rPr lang="zh-CN" altLang="en-US" sz="1600" dirty="0" smtClean="0">
                <a:latin typeface="微软雅黑" panose="020B0503020204020204" pitchFamily="34" charset="-122"/>
                <a:ea typeface="微软雅黑" panose="020B0503020204020204" pitchFamily="34" charset="-122"/>
              </a:rPr>
              <a:t>用料错误</a:t>
            </a:r>
          </a:p>
          <a:p>
            <a:pPr lvl="1"/>
            <a:r>
              <a:rPr lang="zh-CN" altLang="en-US" sz="1200" dirty="0" smtClean="0">
                <a:latin typeface="微软雅黑" panose="020B0503020204020204" pitchFamily="34" charset="-122"/>
                <a:ea typeface="微软雅黑" panose="020B0503020204020204" pitchFamily="34" charset="-122"/>
              </a:rPr>
              <a:t>料号过长，相似度高</a:t>
            </a:r>
          </a:p>
          <a:p>
            <a:pPr lvl="1"/>
            <a:r>
              <a:rPr lang="zh-CN" altLang="en-US" sz="1200" dirty="0" smtClean="0">
                <a:latin typeface="微软雅黑" panose="020B0503020204020204" pitchFamily="34" charset="-122"/>
                <a:ea typeface="微软雅黑" panose="020B0503020204020204" pitchFamily="34" charset="-122"/>
              </a:rPr>
              <a:t>存放与其它元件混淆</a:t>
            </a:r>
            <a:endParaRPr lang="en-US" altLang="zh-CN" sz="1200" dirty="0" smtClean="0">
              <a:latin typeface="微软雅黑" panose="020B0503020204020204" pitchFamily="34" charset="-122"/>
              <a:ea typeface="微软雅黑" panose="020B0503020204020204" pitchFamily="34" charset="-122"/>
            </a:endParaRPr>
          </a:p>
          <a:p>
            <a:pPr lvl="0"/>
            <a:r>
              <a:rPr lang="zh-CN" altLang="en-US" sz="1600" kern="1200" dirty="0" smtClean="0">
                <a:solidFill>
                  <a:schemeClr val="tx1"/>
                </a:solidFill>
                <a:latin typeface="微软雅黑" panose="020B0503020204020204" pitchFamily="34" charset="-122"/>
                <a:ea typeface="微软雅黑" panose="020B0503020204020204" pitchFamily="34" charset="-122"/>
                <a:cs typeface="+mn-cs"/>
              </a:rPr>
              <a:t>法：仅靠操作员目检</a:t>
            </a:r>
            <a:endParaRPr lang="en-US" altLang="zh-CN" sz="1600" kern="1200" dirty="0" smtClean="0">
              <a:solidFill>
                <a:schemeClr val="tx1"/>
              </a:solidFill>
              <a:latin typeface="微软雅黑" panose="020B0503020204020204" pitchFamily="34" charset="-122"/>
              <a:ea typeface="微软雅黑" panose="020B0503020204020204" pitchFamily="34" charset="-122"/>
              <a:cs typeface="+mn-cs"/>
            </a:endParaRPr>
          </a:p>
          <a:p>
            <a:pPr lvl="0"/>
            <a:r>
              <a:rPr lang="zh-CN" altLang="en-US" sz="1600" dirty="0" smtClean="0">
                <a:latin typeface="微软雅黑" panose="020B0503020204020204" pitchFamily="34" charset="-122"/>
                <a:ea typeface="微软雅黑" panose="020B0503020204020204" pitchFamily="34" charset="-122"/>
              </a:rPr>
              <a:t>环：部门之间缺乏监管</a:t>
            </a:r>
            <a:endParaRPr lang="en-US" altLang="zh-CN" sz="1600" dirty="0" smtClean="0">
              <a:latin typeface="微软雅黑" panose="020B0503020204020204" pitchFamily="34" charset="-122"/>
              <a:ea typeface="微软雅黑" panose="020B0503020204020204" pitchFamily="34" charset="-122"/>
            </a:endParaRPr>
          </a:p>
          <a:p>
            <a:pPr lvl="1"/>
            <a:r>
              <a:rPr lang="zh-CN" altLang="en-US" sz="1200" dirty="0" smtClean="0">
                <a:latin typeface="微软雅黑" panose="020B0503020204020204" pitchFamily="34" charset="-122"/>
                <a:ea typeface="微软雅黑" panose="020B0503020204020204" pitchFamily="34" charset="-122"/>
              </a:rPr>
              <a:t>上料前发料不准确</a:t>
            </a:r>
            <a:endParaRPr lang="en-US" altLang="zh-CN" sz="1200" dirty="0" smtClean="0">
              <a:latin typeface="微软雅黑" panose="020B0503020204020204" pitchFamily="34" charset="-122"/>
              <a:ea typeface="微软雅黑" panose="020B0503020204020204" pitchFamily="34" charset="-122"/>
            </a:endParaRPr>
          </a:p>
          <a:p>
            <a:pPr lvl="1"/>
            <a:r>
              <a:rPr lang="zh-CN" altLang="en-US" sz="1200" dirty="0" smtClean="0">
                <a:latin typeface="微软雅黑" panose="020B0503020204020204" pitchFamily="34" charset="-122"/>
                <a:ea typeface="微软雅黑" panose="020B0503020204020204" pitchFamily="34" charset="-122"/>
              </a:rPr>
              <a:t>上料后不首检就生产</a:t>
            </a:r>
            <a:endParaRPr lang="en-US" altLang="zh-CN" sz="1200" dirty="0" smtClean="0">
              <a:latin typeface="微软雅黑" panose="020B0503020204020204" pitchFamily="34" charset="-122"/>
              <a:ea typeface="微软雅黑" panose="020B0503020204020204" pitchFamily="34" charset="-122"/>
            </a:endParaRPr>
          </a:p>
          <a:p>
            <a:pPr lvl="1"/>
            <a:r>
              <a:rPr lang="zh-CN" altLang="en-US" sz="1200" dirty="0" smtClean="0">
                <a:latin typeface="微软雅黑" panose="020B0503020204020204" pitchFamily="34" charset="-122"/>
                <a:ea typeface="微软雅黑" panose="020B0503020204020204" pitchFamily="34" charset="-122"/>
              </a:rPr>
              <a:t>换料前上料不准确</a:t>
            </a:r>
            <a:endParaRPr lang="en-US" altLang="zh-CN" sz="1200" dirty="0" smtClean="0">
              <a:latin typeface="微软雅黑" panose="020B0503020204020204" pitchFamily="34" charset="-122"/>
              <a:ea typeface="微软雅黑" panose="020B0503020204020204" pitchFamily="34" charset="-122"/>
            </a:endParaRPr>
          </a:p>
          <a:p>
            <a:pPr lvl="1"/>
            <a:r>
              <a:rPr lang="zh-CN" altLang="en-US" sz="1200" dirty="0" smtClean="0">
                <a:latin typeface="微软雅黑" panose="020B0503020204020204" pitchFamily="34" charset="-122"/>
                <a:ea typeface="微软雅黑" panose="020B0503020204020204" pitchFamily="34" charset="-122"/>
              </a:rPr>
              <a:t>换料时料号不准确</a:t>
            </a:r>
            <a:endParaRPr lang="en-US" altLang="zh-CN" sz="1200" dirty="0" smtClean="0">
              <a:latin typeface="微软雅黑" panose="020B0503020204020204" pitchFamily="34" charset="-122"/>
              <a:ea typeface="微软雅黑" panose="020B0503020204020204" pitchFamily="34" charset="-122"/>
            </a:endParaRPr>
          </a:p>
          <a:p>
            <a:pPr lvl="1"/>
            <a:r>
              <a:rPr lang="zh-CN" altLang="en-US" sz="1200" dirty="0" smtClean="0">
                <a:latin typeface="微软雅黑" panose="020B0503020204020204" pitchFamily="34" charset="-122"/>
                <a:ea typeface="微软雅黑" panose="020B0503020204020204" pitchFamily="34" charset="-122"/>
              </a:rPr>
              <a:t>换料后没有核料</a:t>
            </a:r>
            <a:endParaRPr lang="en-US" altLang="zh-CN" sz="1200" dirty="0" smtClean="0">
              <a:latin typeface="微软雅黑" panose="020B0503020204020204" pitchFamily="34" charset="-122"/>
              <a:ea typeface="微软雅黑" panose="020B0503020204020204" pitchFamily="34" charset="-122"/>
            </a:endParaRPr>
          </a:p>
          <a:p>
            <a:pPr lvl="0"/>
            <a:r>
              <a:rPr lang="zh-CN" altLang="en-US" sz="1600" dirty="0" smtClean="0">
                <a:latin typeface="微软雅黑" panose="020B0503020204020204" pitchFamily="34" charset="-122"/>
                <a:ea typeface="微软雅黑" panose="020B0503020204020204" pitchFamily="34" charset="-122"/>
              </a:rPr>
              <a:t>人：对操作不熟练</a:t>
            </a:r>
          </a:p>
          <a:p>
            <a:pPr lvl="1"/>
            <a:r>
              <a:rPr lang="zh-CN" altLang="en-US" sz="1200" dirty="0" smtClean="0">
                <a:latin typeface="微软雅黑" panose="020B0503020204020204" pitchFamily="34" charset="-122"/>
                <a:ea typeface="微软雅黑" panose="020B0503020204020204" pitchFamily="34" charset="-122"/>
              </a:rPr>
              <a:t>缺少前期培训和指导</a:t>
            </a:r>
          </a:p>
          <a:p>
            <a:pPr lvl="0"/>
            <a:r>
              <a:rPr lang="zh-CN" altLang="en-US" sz="1600" dirty="0" smtClean="0">
                <a:latin typeface="微软雅黑" panose="020B0503020204020204" pitchFamily="34" charset="-122"/>
                <a:ea typeface="微软雅黑" panose="020B0503020204020204" pitchFamily="34" charset="-122"/>
              </a:rPr>
              <a:t>　　　工艺执行不规范</a:t>
            </a:r>
          </a:p>
          <a:p>
            <a:pPr lvl="1"/>
            <a:r>
              <a:rPr lang="zh-CN" altLang="en-US" sz="1200" dirty="0" smtClean="0">
                <a:latin typeface="微软雅黑" panose="020B0503020204020204" pitchFamily="34" charset="-122"/>
                <a:ea typeface="微软雅黑" panose="020B0503020204020204" pitchFamily="34" charset="-122"/>
              </a:rPr>
              <a:t>作业标准不完善</a:t>
            </a:r>
          </a:p>
          <a:p>
            <a:pPr marL="0" marR="0" lvl="0" indent="0" algn="l" defTabSz="914400" rtl="0" eaLnBrk="1" fontAlgn="auto" latinLnBrk="0" hangingPunct="1">
              <a:lnSpc>
                <a:spcPct val="100000"/>
              </a:lnSpc>
              <a:spcBef>
                <a:spcPts val="0"/>
              </a:spcBef>
              <a:spcAft>
                <a:spcPts val="0"/>
              </a:spcAft>
              <a:buClrTx/>
              <a:buSzTx/>
              <a:buFontTx/>
              <a:buNone/>
              <a:tabLst/>
              <a:defRPr/>
            </a:pPr>
            <a:endParaRPr lang="zh-CN" altLang="en-US" sz="1600" dirty="0" smtClean="0">
              <a:latin typeface="微软雅黑" panose="020B0503020204020204" pitchFamily="34" charset="-122"/>
              <a:ea typeface="微软雅黑" panose="020B0503020204020204" pitchFamily="34" charset="-122"/>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zh-CN" altLang="en-US" sz="1600" dirty="0" smtClean="0">
              <a:latin typeface="微软雅黑" panose="020B0503020204020204" pitchFamily="34" charset="-122"/>
              <a:ea typeface="微软雅黑" panose="020B0503020204020204" pitchFamily="34" charset="-122"/>
            </a:endParaRPr>
          </a:p>
          <a:p>
            <a:pPr lvl="0"/>
            <a:endParaRPr lang="zh-CN" altLang="en-US" sz="1600" kern="1200" dirty="0" smtClean="0">
              <a:solidFill>
                <a:schemeClr val="tx1"/>
              </a:solidFill>
              <a:latin typeface="微软雅黑" panose="020B0503020204020204" pitchFamily="34" charset="-122"/>
              <a:ea typeface="微软雅黑" panose="020B0503020204020204" pitchFamily="34" charset="-122"/>
              <a:cs typeface="+mn-cs"/>
            </a:endParaRPr>
          </a:p>
          <a:p>
            <a:pPr lvl="1"/>
            <a:endParaRPr lang="zh-CN" altLang="en-US" sz="1200" dirty="0" smtClean="0">
              <a:latin typeface="微软雅黑" panose="020B0503020204020204" pitchFamily="34" charset="-122"/>
              <a:ea typeface="微软雅黑" panose="020B0503020204020204" pitchFamily="34" charset="-122"/>
            </a:endParaRPr>
          </a:p>
          <a:p>
            <a:pPr lvl="0"/>
            <a:endParaRPr lang="zh-CN" altLang="en-US" sz="1200" dirty="0">
              <a:latin typeface="微软雅黑" panose="020B0503020204020204" pitchFamily="34" charset="-122"/>
              <a:ea typeface="微软雅黑" panose="020B0503020204020204" pitchFamily="34" charset="-122"/>
            </a:endParaRPr>
          </a:p>
        </p:txBody>
      </p:sp>
      <p:sp>
        <p:nvSpPr>
          <p:cNvPr id="4" name="灯片编号占位符 3"/>
          <p:cNvSpPr>
            <a:spLocks noGrp="1"/>
          </p:cNvSpPr>
          <p:nvPr>
            <p:ph type="sldNum" sz="quarter" idx="10"/>
          </p:nvPr>
        </p:nvSpPr>
        <p:spPr/>
        <p:txBody>
          <a:bodyPr/>
          <a:lstStyle/>
          <a:p>
            <a:fld id="{4A7EA511-84E0-4AE0-9842-AB0E10994BF1}" type="slidenum">
              <a:rPr lang="zh-CN" altLang="en-US" smtClean="0"/>
              <a:pPr/>
              <a:t>35</a:t>
            </a:fld>
            <a:endParaRPr lang="zh-CN" altLang="en-US"/>
          </a:p>
        </p:txBody>
      </p:sp>
    </p:spTree>
    <p:extLst>
      <p:ext uri="{BB962C8B-B14F-4D97-AF65-F5344CB8AC3E}">
        <p14:creationId xmlns:p14="http://schemas.microsoft.com/office/powerpoint/2010/main" val="294313842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rtl="0"/>
            <a:r>
              <a:rPr lang="zh-CN" altLang="en-US" dirty="0" smtClean="0"/>
              <a:t>团队的成功案例有</a:t>
            </a:r>
            <a:r>
              <a:rPr lang="zh-CN" altLang="zh-CN" dirty="0" smtClean="0"/>
              <a:t>：</a:t>
            </a:r>
          </a:p>
          <a:p>
            <a:pPr lvl="0" rtl="0"/>
            <a:r>
              <a:rPr lang="en-US" altLang="zh-CN" b="1" dirty="0" err="1" smtClean="0"/>
              <a:t>SMT</a:t>
            </a:r>
            <a:r>
              <a:rPr lang="zh-CN" altLang="en-US" b="1" dirty="0" smtClean="0"/>
              <a:t>防错料系统</a:t>
            </a:r>
            <a:r>
              <a:rPr lang="zh-CN" altLang="en-US" dirty="0" smtClean="0"/>
              <a:t>　提供精准便捷的解决方案，将</a:t>
            </a:r>
            <a:r>
              <a:rPr lang="en-US" altLang="zh-CN" dirty="0" err="1" smtClean="0"/>
              <a:t>SMT</a:t>
            </a:r>
            <a:r>
              <a:rPr lang="zh-CN" altLang="en-US" dirty="0" smtClean="0"/>
              <a:t>生产工艺从传统的人工发料上料等低效率错误率高的困境中逃脱。节省生产操作人员，简化生产操作，提高生产用料的准确度。</a:t>
            </a:r>
            <a:endParaRPr lang="en-US" altLang="zh-CN" dirty="0" smtClean="0"/>
          </a:p>
          <a:p>
            <a:pPr marL="0" marR="0" lvl="0" indent="0" algn="l" defTabSz="914400" rtl="0" eaLnBrk="1" fontAlgn="auto" latinLnBrk="0" hangingPunct="1">
              <a:lnSpc>
                <a:spcPct val="100000"/>
              </a:lnSpc>
              <a:spcBef>
                <a:spcPts val="0"/>
              </a:spcBef>
              <a:spcAft>
                <a:spcPts val="0"/>
              </a:spcAft>
              <a:buClrTx/>
              <a:buSzTx/>
              <a:buFontTx/>
              <a:buNone/>
              <a:tabLst/>
              <a:defRPr/>
            </a:pPr>
            <a:r>
              <a:rPr lang="zh-CN" altLang="en-US" sz="2500" b="1" dirty="0" smtClean="0"/>
              <a:t>无人仓库</a:t>
            </a:r>
            <a:r>
              <a:rPr lang="zh-CN" altLang="en-US" dirty="0" smtClean="0"/>
              <a:t>　</a:t>
            </a:r>
            <a:r>
              <a:rPr lang="en-US" altLang="zh-CN" dirty="0" err="1" smtClean="0"/>
              <a:t>AGV</a:t>
            </a:r>
            <a:r>
              <a:rPr lang="zh-CN" altLang="en-US" dirty="0" smtClean="0"/>
              <a:t>与机械臂的协同合作，无人仓库系统的任务管理来进行入库、出库、盘点等操作。解决原各原料仓、半成品仓、成品仓人员过多、时效性差、准确度不太高的困难。</a:t>
            </a:r>
          </a:p>
          <a:p>
            <a:pPr lvl="0"/>
            <a:endParaRPr lang="en-US" altLang="zh-CN" b="1" dirty="0" smtClean="0"/>
          </a:p>
          <a:p>
            <a:pPr lvl="0"/>
            <a:r>
              <a:rPr lang="en-US" altLang="zh-CN" b="1" dirty="0" err="1" smtClean="0"/>
              <a:t>MES</a:t>
            </a:r>
            <a:r>
              <a:rPr lang="zh-CN" altLang="en-US" b="1" dirty="0" smtClean="0"/>
              <a:t>系统</a:t>
            </a:r>
            <a:r>
              <a:rPr lang="zh-CN" altLang="en-US" dirty="0" smtClean="0"/>
              <a:t>　即制造企业生产过程执行管理系统，此系统可为工厂提供生产数据管理、质量管理、生产过程控制、数据集成分析等功能，为企业打造一个扎实、可靠、全面、可行的制造协同管理平台。</a:t>
            </a:r>
            <a:endParaRPr lang="en-US" altLang="zh-CN" dirty="0" smtClean="0"/>
          </a:p>
          <a:p>
            <a:pPr lvl="0"/>
            <a:r>
              <a:rPr lang="zh-CN" altLang="en-US" b="1" dirty="0" smtClean="0"/>
              <a:t>电池自动包胶机　</a:t>
            </a:r>
            <a:r>
              <a:rPr lang="zh-CN" altLang="en-US" dirty="0" smtClean="0"/>
              <a:t>自动取料、包胶、下料。实现智能机械取代人工操作，从质量和产能上提高了数倍的提升。</a:t>
            </a:r>
            <a:endParaRPr lang="en-US" altLang="zh-CN" dirty="0" smtClean="0"/>
          </a:p>
        </p:txBody>
      </p:sp>
      <p:sp>
        <p:nvSpPr>
          <p:cNvPr id="4" name="灯片编号占位符 3"/>
          <p:cNvSpPr>
            <a:spLocks noGrp="1"/>
          </p:cNvSpPr>
          <p:nvPr>
            <p:ph type="sldNum" sz="quarter" idx="10"/>
          </p:nvPr>
        </p:nvSpPr>
        <p:spPr/>
        <p:txBody>
          <a:bodyPr/>
          <a:lstStyle/>
          <a:p>
            <a:fld id="{4A7EA511-84E0-4AE0-9842-AB0E10994BF1}" type="slidenum">
              <a:rPr lang="zh-CN" altLang="en-US" smtClean="0"/>
              <a:pPr/>
              <a:t>3</a:t>
            </a:fld>
            <a:endParaRPr lang="zh-CN" altLang="en-US"/>
          </a:p>
        </p:txBody>
      </p:sp>
    </p:spTree>
    <p:extLst>
      <p:ext uri="{BB962C8B-B14F-4D97-AF65-F5344CB8AC3E}">
        <p14:creationId xmlns:p14="http://schemas.microsoft.com/office/powerpoint/2010/main" val="162017987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lvl="0" indent="0">
              <a:buNone/>
            </a:pPr>
            <a:r>
              <a:rPr lang="zh-CN" altLang="en-US" sz="1800" b="1" dirty="0" smtClean="0"/>
              <a:t>传统</a:t>
            </a:r>
            <a:r>
              <a:rPr lang="en-US" altLang="zh-CN" sz="1800" b="1" dirty="0" err="1" smtClean="0"/>
              <a:t>SMT</a:t>
            </a:r>
            <a:r>
              <a:rPr lang="zh-CN" altLang="en-US" sz="1800" b="1" dirty="0" smtClean="0"/>
              <a:t>生产工艺弊端</a:t>
            </a:r>
            <a:endParaRPr lang="en-US" altLang="zh-CN" sz="1800" b="1" dirty="0" smtClean="0"/>
          </a:p>
          <a:p>
            <a:pPr lvl="0"/>
            <a:r>
              <a:rPr lang="zh-CN" altLang="en-US" dirty="0" smtClean="0">
                <a:solidFill>
                  <a:srgbClr val="FF0000"/>
                </a:solidFill>
              </a:rPr>
              <a:t>发</a:t>
            </a:r>
            <a:r>
              <a:rPr lang="zh-CN" altLang="zh-CN" dirty="0" smtClean="0">
                <a:solidFill>
                  <a:srgbClr val="FF0000"/>
                </a:solidFill>
              </a:rPr>
              <a:t>料异常</a:t>
            </a:r>
            <a:r>
              <a:rPr lang="zh-CN" altLang="en-US" dirty="0" smtClean="0"/>
              <a:t>　</a:t>
            </a:r>
            <a:r>
              <a:rPr lang="zh-CN" altLang="en-US" sz="1200" dirty="0" smtClean="0"/>
              <a:t>仓库</a:t>
            </a:r>
            <a:r>
              <a:rPr lang="zh-CN" altLang="zh-CN" sz="1200" dirty="0" smtClean="0"/>
              <a:t>给</a:t>
            </a:r>
            <a:r>
              <a:rPr lang="en-US" altLang="zh-CN" sz="1200" dirty="0" err="1" smtClean="0"/>
              <a:t>SMT</a:t>
            </a:r>
            <a:r>
              <a:rPr lang="zh-CN" altLang="en-US" sz="1200" dirty="0" smtClean="0"/>
              <a:t>产线</a:t>
            </a:r>
            <a:r>
              <a:rPr lang="zh-CN" altLang="zh-CN" sz="1200" dirty="0" smtClean="0"/>
              <a:t>发料时，容易造成</a:t>
            </a:r>
            <a:r>
              <a:rPr lang="zh-CN" altLang="en-US" sz="1200" dirty="0" smtClean="0"/>
              <a:t>料号</a:t>
            </a:r>
            <a:r>
              <a:rPr lang="zh-CN" altLang="zh-CN" sz="1200" dirty="0" smtClean="0"/>
              <a:t>错误</a:t>
            </a:r>
            <a:r>
              <a:rPr lang="zh-CN" altLang="en-US" sz="1200" dirty="0" smtClean="0"/>
              <a:t>、漏发、多发等现象</a:t>
            </a:r>
            <a:r>
              <a:rPr lang="zh-CN" altLang="zh-CN" sz="1200" dirty="0" smtClean="0"/>
              <a:t>；</a:t>
            </a:r>
          </a:p>
          <a:p>
            <a:pPr lvl="0"/>
            <a:r>
              <a:rPr lang="zh-CN" altLang="zh-CN" dirty="0" smtClean="0">
                <a:solidFill>
                  <a:srgbClr val="FF0000"/>
                </a:solidFill>
              </a:rPr>
              <a:t>上料异常</a:t>
            </a:r>
            <a:r>
              <a:rPr lang="zh-CN" altLang="en-US" dirty="0" smtClean="0"/>
              <a:t>　</a:t>
            </a:r>
            <a:r>
              <a:rPr lang="en-US" altLang="zh-CN" sz="1200" dirty="0" err="1" smtClean="0"/>
              <a:t>SMT</a:t>
            </a:r>
            <a:r>
              <a:rPr lang="zh-CN" altLang="en-US" sz="1200" dirty="0" smtClean="0"/>
              <a:t>生产线</a:t>
            </a:r>
            <a:r>
              <a:rPr lang="zh-CN" altLang="zh-CN" sz="1200" dirty="0" smtClean="0"/>
              <a:t>上料时，全程使用人工核对站</a:t>
            </a:r>
            <a:r>
              <a:rPr lang="zh-CN" altLang="en-US" sz="1200" dirty="0" smtClean="0"/>
              <a:t>位</a:t>
            </a:r>
            <a:r>
              <a:rPr lang="zh-CN" altLang="zh-CN" sz="1200" dirty="0" smtClean="0"/>
              <a:t>表的方式，当站</a:t>
            </a:r>
            <a:r>
              <a:rPr lang="zh-CN" altLang="en-US" sz="1200" dirty="0" smtClean="0"/>
              <a:t>位</a:t>
            </a:r>
            <a:r>
              <a:rPr lang="zh-CN" altLang="zh-CN" sz="1200" dirty="0" smtClean="0"/>
              <a:t>过多时</a:t>
            </a:r>
            <a:r>
              <a:rPr lang="zh-CN" altLang="en-US" sz="1200" dirty="0" smtClean="0"/>
              <a:t>因为</a:t>
            </a:r>
            <a:r>
              <a:rPr lang="zh-CN" altLang="zh-CN" sz="1200" dirty="0" smtClean="0"/>
              <a:t>人为因素导致上错料时的概率增大；</a:t>
            </a:r>
          </a:p>
          <a:p>
            <a:pPr lvl="0"/>
            <a:r>
              <a:rPr lang="zh-CN" altLang="en-US" dirty="0" smtClean="0">
                <a:solidFill>
                  <a:srgbClr val="FF0000"/>
                </a:solidFill>
              </a:rPr>
              <a:t>换</a:t>
            </a:r>
            <a:r>
              <a:rPr lang="zh-CN" altLang="zh-CN" dirty="0" smtClean="0">
                <a:solidFill>
                  <a:srgbClr val="FF0000"/>
                </a:solidFill>
              </a:rPr>
              <a:t>料异常</a:t>
            </a:r>
            <a:r>
              <a:rPr lang="zh-CN" altLang="en-US" dirty="0" smtClean="0"/>
              <a:t>　</a:t>
            </a:r>
            <a:r>
              <a:rPr lang="en-US" altLang="zh-CN" sz="1200" dirty="0" err="1" smtClean="0"/>
              <a:t>SMT</a:t>
            </a:r>
            <a:r>
              <a:rPr lang="zh-CN" altLang="zh-CN" sz="1200" dirty="0" smtClean="0"/>
              <a:t>操作员</a:t>
            </a:r>
            <a:r>
              <a:rPr lang="zh-CN" altLang="en-US" sz="1200" dirty="0" smtClean="0"/>
              <a:t>换</a:t>
            </a:r>
            <a:r>
              <a:rPr lang="zh-CN" altLang="zh-CN" sz="1200" dirty="0" smtClean="0"/>
              <a:t>料</a:t>
            </a:r>
            <a:r>
              <a:rPr lang="zh-CN" altLang="en-US" sz="1200" dirty="0" smtClean="0"/>
              <a:t>时没有仔细核对物料，</a:t>
            </a:r>
            <a:r>
              <a:rPr lang="zh-CN" altLang="zh-CN" sz="1200" dirty="0" smtClean="0"/>
              <a:t>完成后如</a:t>
            </a:r>
            <a:r>
              <a:rPr lang="en-US" altLang="zh-CN" sz="1200" dirty="0" err="1" smtClean="0"/>
              <a:t>IPQC</a:t>
            </a:r>
            <a:r>
              <a:rPr lang="zh-CN" altLang="zh-CN" sz="1200" dirty="0" smtClean="0"/>
              <a:t>没有及时巡检确认，极易导致</a:t>
            </a:r>
            <a:r>
              <a:rPr lang="zh-CN" altLang="en-US" sz="1200" dirty="0" smtClean="0"/>
              <a:t>换</a:t>
            </a:r>
            <a:r>
              <a:rPr lang="zh-CN" altLang="zh-CN" sz="1200" dirty="0" smtClean="0"/>
              <a:t>料异常；</a:t>
            </a:r>
          </a:p>
          <a:p>
            <a:pPr lvl="0"/>
            <a:r>
              <a:rPr lang="zh-CN" altLang="zh-CN" dirty="0" smtClean="0">
                <a:solidFill>
                  <a:srgbClr val="FF0000"/>
                </a:solidFill>
              </a:rPr>
              <a:t>记录异常</a:t>
            </a:r>
            <a:r>
              <a:rPr lang="zh-CN" altLang="en-US" dirty="0" smtClean="0"/>
              <a:t>　</a:t>
            </a:r>
            <a:r>
              <a:rPr lang="zh-CN" altLang="zh-CN" sz="1200" dirty="0" smtClean="0"/>
              <a:t>上料与</a:t>
            </a:r>
            <a:r>
              <a:rPr lang="zh-CN" altLang="en-US" sz="1200" dirty="0" smtClean="0"/>
              <a:t>换</a:t>
            </a:r>
            <a:r>
              <a:rPr lang="zh-CN" altLang="zh-CN" sz="1200" dirty="0" smtClean="0"/>
              <a:t>料记录均使用人工填写纸质报表的方式，作业员可能因各种因素导致</a:t>
            </a:r>
            <a:r>
              <a:rPr lang="en-US" altLang="zh-CN" sz="1200" dirty="0" err="1" smtClean="0"/>
              <a:t>SMT</a:t>
            </a:r>
            <a:r>
              <a:rPr lang="zh-CN" altLang="zh-CN" sz="1200" dirty="0" smtClean="0"/>
              <a:t>用料记录错误或漏写记录；</a:t>
            </a:r>
          </a:p>
          <a:p>
            <a:pPr lvl="0"/>
            <a:r>
              <a:rPr lang="zh-CN" altLang="zh-CN" dirty="0" smtClean="0">
                <a:solidFill>
                  <a:srgbClr val="FF0000"/>
                </a:solidFill>
              </a:rPr>
              <a:t>客诉追溯异常</a:t>
            </a:r>
            <a:r>
              <a:rPr lang="zh-CN" altLang="en-US" dirty="0" smtClean="0"/>
              <a:t>　</a:t>
            </a:r>
            <a:r>
              <a:rPr lang="zh-CN" altLang="zh-CN" sz="1200" dirty="0" smtClean="0"/>
              <a:t>发生异常时无法及时追溯</a:t>
            </a:r>
            <a:r>
              <a:rPr lang="zh-CN" altLang="en-US" sz="1200" dirty="0" smtClean="0"/>
              <a:t>异常原因，无法生成</a:t>
            </a:r>
            <a:r>
              <a:rPr lang="zh-CN" altLang="zh-CN" sz="1200" dirty="0" smtClean="0"/>
              <a:t>生产用料明细。</a:t>
            </a:r>
            <a:endParaRPr lang="en-US" altLang="zh-CN" sz="1200" dirty="0" smtClean="0"/>
          </a:p>
          <a:p>
            <a:r>
              <a:rPr lang="zh-CN" altLang="en-US" dirty="0" smtClean="0">
                <a:solidFill>
                  <a:srgbClr val="FF0000"/>
                </a:solidFill>
              </a:rPr>
              <a:t>操作流程异常</a:t>
            </a:r>
            <a:r>
              <a:rPr lang="zh-CN" altLang="en-US" sz="1200" dirty="0" smtClean="0">
                <a:solidFill>
                  <a:srgbClr val="FF0000"/>
                </a:solidFill>
              </a:rPr>
              <a:t>　</a:t>
            </a:r>
            <a:r>
              <a:rPr lang="zh-CN" altLang="en-US" sz="1200" dirty="0" smtClean="0"/>
              <a:t>无法监管操作员、品管是否有按流程操作。</a:t>
            </a:r>
            <a:endParaRPr lang="en-US" altLang="zh-CN" sz="1200" dirty="0" smtClean="0"/>
          </a:p>
          <a:p>
            <a:pPr lvl="0"/>
            <a:r>
              <a:rPr lang="zh-CN" altLang="en-US" sz="1200" dirty="0" smtClean="0">
                <a:latin typeface="微软雅黑" panose="020B0503020204020204" pitchFamily="34" charset="-122"/>
                <a:ea typeface="微软雅黑" panose="020B0503020204020204" pitchFamily="34" charset="-122"/>
              </a:rPr>
              <a:t>机：机器参数错误</a:t>
            </a:r>
            <a:endParaRPr lang="en-US" altLang="zh-CN" sz="1200" dirty="0" smtClean="0">
              <a:latin typeface="微软雅黑" panose="020B0503020204020204" pitchFamily="34" charset="-122"/>
              <a:ea typeface="微软雅黑" panose="020B0503020204020204" pitchFamily="34" charset="-122"/>
            </a:endParaRPr>
          </a:p>
          <a:p>
            <a:pPr lvl="0"/>
            <a:r>
              <a:rPr lang="zh-CN" altLang="en-US" sz="1600" dirty="0" smtClean="0">
                <a:latin typeface="微软雅黑" panose="020B0503020204020204" pitchFamily="34" charset="-122"/>
                <a:ea typeface="微软雅黑" panose="020B0503020204020204" pitchFamily="34" charset="-122"/>
              </a:rPr>
              <a:t>料：站位表错误</a:t>
            </a:r>
          </a:p>
          <a:p>
            <a:pPr lvl="0"/>
            <a:r>
              <a:rPr lang="zh-CN" altLang="en-US" sz="1600" dirty="0" smtClean="0">
                <a:latin typeface="微软雅黑" panose="020B0503020204020204" pitchFamily="34" charset="-122"/>
                <a:ea typeface="微软雅黑" panose="020B0503020204020204" pitchFamily="34" charset="-122"/>
              </a:rPr>
              <a:t>用料错误</a:t>
            </a:r>
          </a:p>
          <a:p>
            <a:pPr lvl="1"/>
            <a:r>
              <a:rPr lang="zh-CN" altLang="en-US" sz="1200" dirty="0" smtClean="0">
                <a:latin typeface="微软雅黑" panose="020B0503020204020204" pitchFamily="34" charset="-122"/>
                <a:ea typeface="微软雅黑" panose="020B0503020204020204" pitchFamily="34" charset="-122"/>
              </a:rPr>
              <a:t>料号过长，相似度高</a:t>
            </a:r>
          </a:p>
          <a:p>
            <a:pPr lvl="1"/>
            <a:r>
              <a:rPr lang="zh-CN" altLang="en-US" sz="1200" dirty="0" smtClean="0">
                <a:latin typeface="微软雅黑" panose="020B0503020204020204" pitchFamily="34" charset="-122"/>
                <a:ea typeface="微软雅黑" panose="020B0503020204020204" pitchFamily="34" charset="-122"/>
              </a:rPr>
              <a:t>存放与其它元件混淆</a:t>
            </a:r>
            <a:endParaRPr lang="en-US" altLang="zh-CN" sz="1200" dirty="0" smtClean="0">
              <a:latin typeface="微软雅黑" panose="020B0503020204020204" pitchFamily="34" charset="-122"/>
              <a:ea typeface="微软雅黑" panose="020B0503020204020204" pitchFamily="34" charset="-122"/>
            </a:endParaRPr>
          </a:p>
          <a:p>
            <a:pPr lvl="0"/>
            <a:r>
              <a:rPr lang="zh-CN" altLang="en-US" sz="1600" kern="1200" dirty="0" smtClean="0">
                <a:solidFill>
                  <a:schemeClr val="tx1"/>
                </a:solidFill>
                <a:latin typeface="微软雅黑" panose="020B0503020204020204" pitchFamily="34" charset="-122"/>
                <a:ea typeface="微软雅黑" panose="020B0503020204020204" pitchFamily="34" charset="-122"/>
                <a:cs typeface="+mn-cs"/>
              </a:rPr>
              <a:t>法：仅靠操作员目检</a:t>
            </a:r>
            <a:endParaRPr lang="en-US" altLang="zh-CN" sz="1600" kern="1200" dirty="0" smtClean="0">
              <a:solidFill>
                <a:schemeClr val="tx1"/>
              </a:solidFill>
              <a:latin typeface="微软雅黑" panose="020B0503020204020204" pitchFamily="34" charset="-122"/>
              <a:ea typeface="微软雅黑" panose="020B0503020204020204" pitchFamily="34" charset="-122"/>
              <a:cs typeface="+mn-cs"/>
            </a:endParaRPr>
          </a:p>
          <a:p>
            <a:pPr lvl="0"/>
            <a:r>
              <a:rPr lang="zh-CN" altLang="en-US" sz="1600" dirty="0" smtClean="0">
                <a:latin typeface="微软雅黑" panose="020B0503020204020204" pitchFamily="34" charset="-122"/>
                <a:ea typeface="微软雅黑" panose="020B0503020204020204" pitchFamily="34" charset="-122"/>
              </a:rPr>
              <a:t>环：部门之间缺乏监管</a:t>
            </a:r>
            <a:endParaRPr lang="en-US" altLang="zh-CN" sz="1600" dirty="0" smtClean="0">
              <a:latin typeface="微软雅黑" panose="020B0503020204020204" pitchFamily="34" charset="-122"/>
              <a:ea typeface="微软雅黑" panose="020B0503020204020204" pitchFamily="34" charset="-122"/>
            </a:endParaRPr>
          </a:p>
          <a:p>
            <a:pPr lvl="1"/>
            <a:r>
              <a:rPr lang="zh-CN" altLang="en-US" sz="1200" dirty="0" smtClean="0">
                <a:latin typeface="微软雅黑" panose="020B0503020204020204" pitchFamily="34" charset="-122"/>
                <a:ea typeface="微软雅黑" panose="020B0503020204020204" pitchFamily="34" charset="-122"/>
              </a:rPr>
              <a:t>上料前发料不准确</a:t>
            </a:r>
            <a:endParaRPr lang="en-US" altLang="zh-CN" sz="1200" dirty="0" smtClean="0">
              <a:latin typeface="微软雅黑" panose="020B0503020204020204" pitchFamily="34" charset="-122"/>
              <a:ea typeface="微软雅黑" panose="020B0503020204020204" pitchFamily="34" charset="-122"/>
            </a:endParaRPr>
          </a:p>
          <a:p>
            <a:pPr lvl="1"/>
            <a:r>
              <a:rPr lang="zh-CN" altLang="en-US" sz="1200" dirty="0" smtClean="0">
                <a:latin typeface="微软雅黑" panose="020B0503020204020204" pitchFamily="34" charset="-122"/>
                <a:ea typeface="微软雅黑" panose="020B0503020204020204" pitchFamily="34" charset="-122"/>
              </a:rPr>
              <a:t>上料后不首检就生产</a:t>
            </a:r>
            <a:endParaRPr lang="en-US" altLang="zh-CN" sz="1200" dirty="0" smtClean="0">
              <a:latin typeface="微软雅黑" panose="020B0503020204020204" pitchFamily="34" charset="-122"/>
              <a:ea typeface="微软雅黑" panose="020B0503020204020204" pitchFamily="34" charset="-122"/>
            </a:endParaRPr>
          </a:p>
          <a:p>
            <a:pPr lvl="1"/>
            <a:r>
              <a:rPr lang="zh-CN" altLang="en-US" sz="1200" dirty="0" smtClean="0">
                <a:latin typeface="微软雅黑" panose="020B0503020204020204" pitchFamily="34" charset="-122"/>
                <a:ea typeface="微软雅黑" panose="020B0503020204020204" pitchFamily="34" charset="-122"/>
              </a:rPr>
              <a:t>换料前上料不准确</a:t>
            </a:r>
            <a:endParaRPr lang="en-US" altLang="zh-CN" sz="1200" dirty="0" smtClean="0">
              <a:latin typeface="微软雅黑" panose="020B0503020204020204" pitchFamily="34" charset="-122"/>
              <a:ea typeface="微软雅黑" panose="020B0503020204020204" pitchFamily="34" charset="-122"/>
            </a:endParaRPr>
          </a:p>
          <a:p>
            <a:pPr lvl="1"/>
            <a:r>
              <a:rPr lang="zh-CN" altLang="en-US" sz="1200" dirty="0" smtClean="0">
                <a:latin typeface="微软雅黑" panose="020B0503020204020204" pitchFamily="34" charset="-122"/>
                <a:ea typeface="微软雅黑" panose="020B0503020204020204" pitchFamily="34" charset="-122"/>
              </a:rPr>
              <a:t>换料时料号不准确</a:t>
            </a:r>
            <a:endParaRPr lang="en-US" altLang="zh-CN" sz="1200" dirty="0" smtClean="0">
              <a:latin typeface="微软雅黑" panose="020B0503020204020204" pitchFamily="34" charset="-122"/>
              <a:ea typeface="微软雅黑" panose="020B0503020204020204" pitchFamily="34" charset="-122"/>
            </a:endParaRPr>
          </a:p>
          <a:p>
            <a:pPr lvl="1"/>
            <a:r>
              <a:rPr lang="zh-CN" altLang="en-US" sz="1200" dirty="0" smtClean="0">
                <a:latin typeface="微软雅黑" panose="020B0503020204020204" pitchFamily="34" charset="-122"/>
                <a:ea typeface="微软雅黑" panose="020B0503020204020204" pitchFamily="34" charset="-122"/>
              </a:rPr>
              <a:t>换料后没有核料</a:t>
            </a:r>
            <a:endParaRPr lang="en-US" altLang="zh-CN" sz="1200" dirty="0" smtClean="0">
              <a:latin typeface="微软雅黑" panose="020B0503020204020204" pitchFamily="34" charset="-122"/>
              <a:ea typeface="微软雅黑" panose="020B0503020204020204" pitchFamily="34" charset="-122"/>
            </a:endParaRPr>
          </a:p>
          <a:p>
            <a:pPr lvl="0"/>
            <a:r>
              <a:rPr lang="zh-CN" altLang="en-US" sz="1600" dirty="0" smtClean="0">
                <a:latin typeface="微软雅黑" panose="020B0503020204020204" pitchFamily="34" charset="-122"/>
                <a:ea typeface="微软雅黑" panose="020B0503020204020204" pitchFamily="34" charset="-122"/>
              </a:rPr>
              <a:t>人：对操作不熟练</a:t>
            </a:r>
          </a:p>
          <a:p>
            <a:pPr lvl="1"/>
            <a:r>
              <a:rPr lang="zh-CN" altLang="en-US" sz="1200" dirty="0" smtClean="0">
                <a:latin typeface="微软雅黑" panose="020B0503020204020204" pitchFamily="34" charset="-122"/>
                <a:ea typeface="微软雅黑" panose="020B0503020204020204" pitchFamily="34" charset="-122"/>
              </a:rPr>
              <a:t>缺少前期培训和指导</a:t>
            </a:r>
          </a:p>
          <a:p>
            <a:pPr lvl="0"/>
            <a:r>
              <a:rPr lang="zh-CN" altLang="en-US" sz="1600" dirty="0" smtClean="0">
                <a:latin typeface="微软雅黑" panose="020B0503020204020204" pitchFamily="34" charset="-122"/>
                <a:ea typeface="微软雅黑" panose="020B0503020204020204" pitchFamily="34" charset="-122"/>
              </a:rPr>
              <a:t>　　　工艺执行不规范</a:t>
            </a:r>
          </a:p>
          <a:p>
            <a:pPr lvl="1"/>
            <a:r>
              <a:rPr lang="zh-CN" altLang="en-US" sz="1200" dirty="0" smtClean="0">
                <a:latin typeface="微软雅黑" panose="020B0503020204020204" pitchFamily="34" charset="-122"/>
                <a:ea typeface="微软雅黑" panose="020B0503020204020204" pitchFamily="34" charset="-122"/>
              </a:rPr>
              <a:t>作业标准不完善</a:t>
            </a:r>
          </a:p>
          <a:p>
            <a:endParaRPr lang="zh-CN" altLang="zh-CN" sz="1200" dirty="0"/>
          </a:p>
        </p:txBody>
      </p:sp>
      <p:sp>
        <p:nvSpPr>
          <p:cNvPr id="4" name="灯片编号占位符 3"/>
          <p:cNvSpPr>
            <a:spLocks noGrp="1"/>
          </p:cNvSpPr>
          <p:nvPr>
            <p:ph type="sldNum" sz="quarter" idx="10"/>
          </p:nvPr>
        </p:nvSpPr>
        <p:spPr/>
        <p:txBody>
          <a:bodyPr/>
          <a:lstStyle/>
          <a:p>
            <a:fld id="{4A7EA511-84E0-4AE0-9842-AB0E10994BF1}" type="slidenum">
              <a:rPr lang="zh-CN" altLang="en-US" smtClean="0"/>
              <a:pPr/>
              <a:t>7</a:t>
            </a:fld>
            <a:endParaRPr lang="zh-CN" altLang="en-US"/>
          </a:p>
        </p:txBody>
      </p:sp>
    </p:spTree>
    <p:extLst>
      <p:ext uri="{BB962C8B-B14F-4D97-AF65-F5344CB8AC3E}">
        <p14:creationId xmlns:p14="http://schemas.microsoft.com/office/powerpoint/2010/main" val="266438448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4A7EA511-84E0-4AE0-9842-AB0E10994BF1}" type="slidenum">
              <a:rPr lang="zh-CN" altLang="en-US" smtClean="0"/>
              <a:pPr/>
              <a:t>8</a:t>
            </a:fld>
            <a:endParaRPr lang="zh-CN" altLang="en-US"/>
          </a:p>
        </p:txBody>
      </p:sp>
    </p:spTree>
    <p:extLst>
      <p:ext uri="{BB962C8B-B14F-4D97-AF65-F5344CB8AC3E}">
        <p14:creationId xmlns:p14="http://schemas.microsoft.com/office/powerpoint/2010/main" val="314915978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4A7EA511-84E0-4AE0-9842-AB0E10994BF1}" type="slidenum">
              <a:rPr lang="zh-CN" altLang="en-US" smtClean="0"/>
              <a:pPr/>
              <a:t>9</a:t>
            </a:fld>
            <a:endParaRPr lang="zh-CN" altLang="en-US"/>
          </a:p>
        </p:txBody>
      </p:sp>
    </p:spTree>
    <p:extLst>
      <p:ext uri="{BB962C8B-B14F-4D97-AF65-F5344CB8AC3E}">
        <p14:creationId xmlns:p14="http://schemas.microsoft.com/office/powerpoint/2010/main" val="353736231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zh-CN" sz="1200" kern="1200" dirty="0" smtClean="0">
                <a:solidFill>
                  <a:schemeClr val="tx2"/>
                </a:solidFill>
                <a:effectLst/>
                <a:latin typeface="微软雅黑" panose="020B0503020204020204" pitchFamily="34" charset="-122"/>
                <a:ea typeface="微软雅黑" panose="020B0503020204020204" pitchFamily="34" charset="-122"/>
                <a:cs typeface="+mn-cs"/>
              </a:rPr>
              <a:t>本项目为</a:t>
            </a:r>
            <a:r>
              <a:rPr lang="en-US" altLang="zh-CN" sz="1200" kern="1200" dirty="0" err="1" smtClean="0">
                <a:solidFill>
                  <a:schemeClr val="tx2"/>
                </a:solidFill>
                <a:effectLst/>
                <a:latin typeface="微软雅黑" panose="020B0503020204020204" pitchFamily="34" charset="-122"/>
                <a:ea typeface="微软雅黑" panose="020B0503020204020204" pitchFamily="34" charset="-122"/>
                <a:cs typeface="+mn-cs"/>
              </a:rPr>
              <a:t>SMT</a:t>
            </a:r>
            <a:r>
              <a:rPr lang="zh-CN" altLang="zh-CN" sz="1200" kern="1200" dirty="0" smtClean="0">
                <a:solidFill>
                  <a:schemeClr val="tx2"/>
                </a:solidFill>
                <a:effectLst/>
                <a:latin typeface="微软雅黑" panose="020B0503020204020204" pitchFamily="34" charset="-122"/>
                <a:ea typeface="微软雅黑" panose="020B0503020204020204" pitchFamily="34" charset="-122"/>
                <a:cs typeface="+mn-cs"/>
              </a:rPr>
              <a:t>防错料系统，主要研发工作分为硬件设计和软件设计，</a:t>
            </a:r>
            <a:endParaRPr lang="en-US" altLang="zh-CN" sz="1200" kern="1200" dirty="0" smtClean="0">
              <a:solidFill>
                <a:schemeClr val="tx2"/>
              </a:solidFill>
              <a:effectLst/>
              <a:latin typeface="微软雅黑" panose="020B0503020204020204" pitchFamily="34" charset="-122"/>
              <a:ea typeface="微软雅黑" panose="020B0503020204020204" pitchFamily="34" charset="-122"/>
              <a:cs typeface="+mn-cs"/>
            </a:endParaRPr>
          </a:p>
          <a:p>
            <a:r>
              <a:rPr lang="zh-CN" altLang="zh-CN" sz="1200" kern="1200" dirty="0" smtClean="0">
                <a:solidFill>
                  <a:schemeClr val="tx2"/>
                </a:solidFill>
                <a:effectLst/>
                <a:latin typeface="微软雅黑" panose="020B0503020204020204" pitchFamily="34" charset="-122"/>
                <a:ea typeface="微软雅黑" panose="020B0503020204020204" pitchFamily="34" charset="-122"/>
                <a:cs typeface="+mn-cs"/>
              </a:rPr>
              <a:t>软件方面分为后台管理系统、</a:t>
            </a:r>
            <a:r>
              <a:rPr lang="zh-CN" altLang="en-US" sz="1200" kern="1200" dirty="0" smtClean="0">
                <a:solidFill>
                  <a:schemeClr val="tx2"/>
                </a:solidFill>
                <a:effectLst/>
                <a:latin typeface="微软雅黑" panose="020B0503020204020204" pitchFamily="34" charset="-122"/>
                <a:ea typeface="微软雅黑" panose="020B0503020204020204" pitchFamily="34" charset="-122"/>
                <a:cs typeface="+mn-cs"/>
              </a:rPr>
              <a:t>中央控制模块、</a:t>
            </a:r>
            <a:r>
              <a:rPr lang="zh-CN" altLang="zh-CN" sz="1200" kern="1200" dirty="0" smtClean="0">
                <a:solidFill>
                  <a:schemeClr val="tx2"/>
                </a:solidFill>
                <a:effectLst/>
                <a:latin typeface="微软雅黑" panose="020B0503020204020204" pitchFamily="34" charset="-122"/>
                <a:ea typeface="微软雅黑" panose="020B0503020204020204" pitchFamily="34" charset="-122"/>
                <a:cs typeface="+mn-cs"/>
              </a:rPr>
              <a:t>防错料系统</a:t>
            </a:r>
            <a:r>
              <a:rPr lang="en-US" altLang="zh-CN" sz="1200" kern="1200" dirty="0" smtClean="0">
                <a:solidFill>
                  <a:schemeClr val="tx2"/>
                </a:solidFill>
                <a:effectLst/>
                <a:latin typeface="微软雅黑" panose="020B0503020204020204" pitchFamily="34" charset="-122"/>
                <a:ea typeface="微软雅黑" panose="020B0503020204020204" pitchFamily="34" charset="-122"/>
                <a:cs typeface="+mn-cs"/>
              </a:rPr>
              <a:t>APP</a:t>
            </a:r>
            <a:r>
              <a:rPr lang="zh-CN" altLang="zh-CN" sz="1200" kern="1200" dirty="0" smtClean="0">
                <a:solidFill>
                  <a:schemeClr val="tx2"/>
                </a:solidFill>
                <a:effectLst/>
                <a:latin typeface="微软雅黑" panose="020B0503020204020204" pitchFamily="34" charset="-122"/>
                <a:ea typeface="微软雅黑" panose="020B0503020204020204" pitchFamily="34" charset="-122"/>
                <a:cs typeface="+mn-cs"/>
              </a:rPr>
              <a:t>、车间产线实时监控系统、生产报表实时查看公众号、仓库料盘标签打印系统以及中央控制系统的软件部分</a:t>
            </a:r>
            <a:r>
              <a:rPr lang="en-US" altLang="zh-CN" sz="1200" kern="1200" dirty="0" smtClean="0">
                <a:solidFill>
                  <a:schemeClr val="tx2"/>
                </a:solidFill>
                <a:effectLst/>
                <a:latin typeface="微软雅黑" panose="020B0503020204020204" pitchFamily="34" charset="-122"/>
                <a:ea typeface="微软雅黑" panose="020B0503020204020204" pitchFamily="34" charset="-122"/>
                <a:cs typeface="+mn-cs"/>
              </a:rPr>
              <a:t>6</a:t>
            </a:r>
            <a:r>
              <a:rPr lang="zh-CN" altLang="zh-CN" sz="1200" kern="1200" dirty="0" smtClean="0">
                <a:solidFill>
                  <a:schemeClr val="tx2"/>
                </a:solidFill>
                <a:effectLst/>
                <a:latin typeface="微软雅黑" panose="020B0503020204020204" pitchFamily="34" charset="-122"/>
                <a:ea typeface="微软雅黑" panose="020B0503020204020204" pitchFamily="34" charset="-122"/>
                <a:cs typeface="+mn-cs"/>
              </a:rPr>
              <a:t>大模块。</a:t>
            </a:r>
            <a:endParaRPr lang="en-US" altLang="zh-CN" sz="1200" kern="1200" dirty="0" smtClean="0">
              <a:solidFill>
                <a:schemeClr val="tx2"/>
              </a:solidFill>
              <a:effectLst/>
              <a:latin typeface="微软雅黑" panose="020B0503020204020204" pitchFamily="34" charset="-122"/>
              <a:ea typeface="微软雅黑" panose="020B0503020204020204" pitchFamily="34" charset="-122"/>
              <a:cs typeface="+mn-cs"/>
            </a:endParaRPr>
          </a:p>
          <a:p>
            <a:r>
              <a:rPr lang="zh-CN" altLang="zh-CN" sz="1200" kern="1200" dirty="0" smtClean="0">
                <a:solidFill>
                  <a:schemeClr val="tx2"/>
                </a:solidFill>
                <a:effectLst/>
                <a:latin typeface="微软雅黑" panose="020B0503020204020204" pitchFamily="34" charset="-122"/>
                <a:ea typeface="微软雅黑" panose="020B0503020204020204" pitchFamily="34" charset="-122"/>
                <a:cs typeface="+mn-cs"/>
              </a:rPr>
              <a:t>硬件方面，使用树莓派搭配红外感应器、报警灯、一个连接着贴片机之间的接驳台电源的继电器、小型显示屏共</a:t>
            </a:r>
            <a:r>
              <a:rPr lang="en-US" altLang="zh-CN" sz="1200" kern="1200" dirty="0" smtClean="0">
                <a:solidFill>
                  <a:schemeClr val="tx2"/>
                </a:solidFill>
                <a:effectLst/>
                <a:latin typeface="微软雅黑" panose="020B0503020204020204" pitchFamily="34" charset="-122"/>
                <a:ea typeface="微软雅黑" panose="020B0503020204020204" pitchFamily="34" charset="-122"/>
                <a:cs typeface="+mn-cs"/>
              </a:rPr>
              <a:t>4</a:t>
            </a:r>
            <a:r>
              <a:rPr lang="zh-CN" altLang="zh-CN" sz="1200" kern="1200" dirty="0" smtClean="0">
                <a:solidFill>
                  <a:schemeClr val="tx2"/>
                </a:solidFill>
                <a:effectLst/>
                <a:latin typeface="微软雅黑" panose="020B0503020204020204" pitchFamily="34" charset="-122"/>
                <a:ea typeface="微软雅黑" panose="020B0503020204020204" pitchFamily="34" charset="-122"/>
                <a:cs typeface="+mn-cs"/>
              </a:rPr>
              <a:t>个外设构成中央控制系统的硬件部分。下面具体描述各模块的功能：</a:t>
            </a:r>
          </a:p>
          <a:p>
            <a:endParaRPr lang="zh-CN" altLang="en-US" dirty="0"/>
          </a:p>
        </p:txBody>
      </p:sp>
      <p:sp>
        <p:nvSpPr>
          <p:cNvPr id="4" name="灯片编号占位符 3"/>
          <p:cNvSpPr>
            <a:spLocks noGrp="1"/>
          </p:cNvSpPr>
          <p:nvPr>
            <p:ph type="sldNum" sz="quarter" idx="10"/>
          </p:nvPr>
        </p:nvSpPr>
        <p:spPr/>
        <p:txBody>
          <a:bodyPr/>
          <a:lstStyle/>
          <a:p>
            <a:fld id="{4A7EA511-84E0-4AE0-9842-AB0E10994BF1}" type="slidenum">
              <a:rPr lang="zh-CN" altLang="en-US" smtClean="0"/>
              <a:pPr/>
              <a:t>10</a:t>
            </a:fld>
            <a:endParaRPr lang="zh-CN" altLang="en-US"/>
          </a:p>
        </p:txBody>
      </p:sp>
    </p:spTree>
    <p:extLst>
      <p:ext uri="{BB962C8B-B14F-4D97-AF65-F5344CB8AC3E}">
        <p14:creationId xmlns:p14="http://schemas.microsoft.com/office/powerpoint/2010/main" val="342686837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zh-CN" sz="1200" kern="1200" dirty="0" err="1" smtClean="0">
                <a:solidFill>
                  <a:schemeClr val="tx2"/>
                </a:solidFill>
                <a:effectLst/>
                <a:latin typeface="微软雅黑" panose="020B0503020204020204" pitchFamily="34" charset="-122"/>
                <a:ea typeface="微软雅黑" panose="020B0503020204020204" pitchFamily="34" charset="-122"/>
                <a:cs typeface="+mn-cs"/>
              </a:rPr>
              <a:t>SMT</a:t>
            </a:r>
            <a:r>
              <a:rPr lang="zh-CN" altLang="zh-CN" sz="1200" kern="1200" dirty="0" smtClean="0">
                <a:solidFill>
                  <a:schemeClr val="tx2"/>
                </a:solidFill>
                <a:effectLst/>
                <a:latin typeface="微软雅黑" panose="020B0503020204020204" pitchFamily="34" charset="-122"/>
                <a:ea typeface="微软雅黑" panose="020B0503020204020204" pitchFamily="34" charset="-122"/>
                <a:cs typeface="+mn-cs"/>
              </a:rPr>
              <a:t>防错料系统核心模块之一，可以为每一个料盘打印一个唯一标识符。它作为一款桌面应用运行在仓库电脑中，界面友好，操作简单，为仓库打印料盘标签的工作人员提供了巨大便利。该系统要求导入一份事先按照约定格式编写好的物料</a:t>
            </a:r>
            <a:r>
              <a:rPr lang="en-US" altLang="zh-CN" sz="1200" kern="1200" dirty="0" smtClean="0">
                <a:solidFill>
                  <a:schemeClr val="tx2"/>
                </a:solidFill>
                <a:effectLst/>
                <a:latin typeface="微软雅黑" panose="020B0503020204020204" pitchFamily="34" charset="-122"/>
                <a:ea typeface="微软雅黑" panose="020B0503020204020204" pitchFamily="34" charset="-122"/>
                <a:cs typeface="+mn-cs"/>
              </a:rPr>
              <a:t>Excel</a:t>
            </a:r>
            <a:r>
              <a:rPr lang="zh-CN" altLang="zh-CN" sz="1200" kern="1200" dirty="0" smtClean="0">
                <a:solidFill>
                  <a:schemeClr val="tx2"/>
                </a:solidFill>
                <a:effectLst/>
                <a:latin typeface="微软雅黑" panose="020B0503020204020204" pitchFamily="34" charset="-122"/>
                <a:ea typeface="微软雅黑" panose="020B0503020204020204" pitchFamily="34" charset="-122"/>
                <a:cs typeface="+mn-cs"/>
              </a:rPr>
              <a:t>表格，才能进行标签打印，这样设计的好处显而易见，从根处杜绝了错误的物料的产生。该系统支持二维码方式打印以及</a:t>
            </a:r>
            <a:r>
              <a:rPr lang="en-US" altLang="zh-CN" sz="1200" kern="1200" dirty="0" smtClean="0">
                <a:solidFill>
                  <a:schemeClr val="tx2"/>
                </a:solidFill>
                <a:effectLst/>
                <a:latin typeface="微软雅黑" panose="020B0503020204020204" pitchFamily="34" charset="-122"/>
                <a:ea typeface="微软雅黑" panose="020B0503020204020204" pitchFamily="34" charset="-122"/>
                <a:cs typeface="+mn-cs"/>
              </a:rPr>
              <a:t>RFID</a:t>
            </a:r>
            <a:r>
              <a:rPr lang="zh-CN" altLang="zh-CN" sz="1200" kern="1200" dirty="0" smtClean="0">
                <a:solidFill>
                  <a:schemeClr val="tx2"/>
                </a:solidFill>
                <a:effectLst/>
                <a:latin typeface="微软雅黑" panose="020B0503020204020204" pitchFamily="34" charset="-122"/>
                <a:ea typeface="微软雅黑" panose="020B0503020204020204" pitchFamily="34" charset="-122"/>
                <a:cs typeface="+mn-cs"/>
              </a:rPr>
              <a:t>标签的写入。其次，由于仓库打印标签的工作人员通常不止一个，所以该系统还要求打印标签前工作人员必须扫描自己的工牌二维码，这样即使真的出现打印错误的现象也可以马上追溯到事故负责人。</a:t>
            </a:r>
            <a:endParaRPr lang="zh-CN" altLang="en-US" dirty="0" smtClean="0"/>
          </a:p>
          <a:p>
            <a:endParaRPr lang="zh-CN" altLang="en-US" dirty="0"/>
          </a:p>
        </p:txBody>
      </p:sp>
      <p:sp>
        <p:nvSpPr>
          <p:cNvPr id="4" name="灯片编号占位符 3"/>
          <p:cNvSpPr>
            <a:spLocks noGrp="1"/>
          </p:cNvSpPr>
          <p:nvPr>
            <p:ph type="sldNum" sz="quarter" idx="10"/>
          </p:nvPr>
        </p:nvSpPr>
        <p:spPr/>
        <p:txBody>
          <a:bodyPr/>
          <a:lstStyle/>
          <a:p>
            <a:fld id="{4A7EA511-84E0-4AE0-9842-AB0E10994BF1}" type="slidenum">
              <a:rPr lang="zh-CN" altLang="en-US" smtClean="0"/>
              <a:pPr/>
              <a:t>12</a:t>
            </a:fld>
            <a:endParaRPr lang="zh-CN" altLang="en-US"/>
          </a:p>
        </p:txBody>
      </p:sp>
    </p:spTree>
    <p:extLst>
      <p:ext uri="{BB962C8B-B14F-4D97-AF65-F5344CB8AC3E}">
        <p14:creationId xmlns:p14="http://schemas.microsoft.com/office/powerpoint/2010/main" val="287196883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zh-CN" sz="1200" kern="1200" dirty="0" smtClean="0">
                <a:solidFill>
                  <a:schemeClr val="tx2"/>
                </a:solidFill>
                <a:effectLst/>
                <a:latin typeface="微软雅黑" panose="020B0503020204020204" pitchFamily="34" charset="-122"/>
                <a:ea typeface="微软雅黑" panose="020B0503020204020204" pitchFamily="34" charset="-122"/>
                <a:cs typeface="+mn-cs"/>
              </a:rPr>
              <a:t>后台管理系统亦是</a:t>
            </a:r>
            <a:r>
              <a:rPr lang="en-US" altLang="zh-CN" sz="1200" kern="1200" dirty="0" err="1" smtClean="0">
                <a:solidFill>
                  <a:schemeClr val="tx2"/>
                </a:solidFill>
                <a:effectLst/>
                <a:latin typeface="微软雅黑" panose="020B0503020204020204" pitchFamily="34" charset="-122"/>
                <a:ea typeface="微软雅黑" panose="020B0503020204020204" pitchFamily="34" charset="-122"/>
                <a:cs typeface="+mn-cs"/>
              </a:rPr>
              <a:t>SMT</a:t>
            </a:r>
            <a:r>
              <a:rPr lang="zh-CN" altLang="zh-CN" sz="1200" kern="1200" dirty="0" smtClean="0">
                <a:solidFill>
                  <a:schemeClr val="tx2"/>
                </a:solidFill>
                <a:effectLst/>
                <a:latin typeface="微软雅黑" panose="020B0503020204020204" pitchFamily="34" charset="-122"/>
                <a:ea typeface="微软雅黑" panose="020B0503020204020204" pitchFamily="34" charset="-122"/>
                <a:cs typeface="+mn-cs"/>
              </a:rPr>
              <a:t>防错料系统的核心模块之一，该系统提供了员工管理、</a:t>
            </a:r>
            <a:r>
              <a:rPr lang="zh-CN" altLang="en-US" sz="1200" kern="1200" dirty="0" smtClean="0">
                <a:solidFill>
                  <a:schemeClr val="tx2"/>
                </a:solidFill>
                <a:effectLst/>
                <a:latin typeface="微软雅黑" panose="020B0503020204020204" pitchFamily="34" charset="-122"/>
                <a:ea typeface="微软雅黑" panose="020B0503020204020204" pitchFamily="34" charset="-122"/>
                <a:cs typeface="+mn-cs"/>
              </a:rPr>
              <a:t>站位表</a:t>
            </a:r>
            <a:r>
              <a:rPr lang="zh-CN" altLang="zh-CN" sz="1200" kern="1200" dirty="0" smtClean="0">
                <a:solidFill>
                  <a:schemeClr val="tx2"/>
                </a:solidFill>
                <a:effectLst/>
                <a:latin typeface="微软雅黑" panose="020B0503020204020204" pitchFamily="34" charset="-122"/>
                <a:ea typeface="微软雅黑" panose="020B0503020204020204" pitchFamily="34" charset="-122"/>
                <a:cs typeface="+mn-cs"/>
              </a:rPr>
              <a:t>管理、报表查看以及下载、实时柱形图显示等功能。</a:t>
            </a:r>
            <a:endParaRPr lang="en-US" altLang="zh-CN" sz="1200" kern="1200" dirty="0" smtClean="0">
              <a:solidFill>
                <a:schemeClr val="tx2"/>
              </a:solidFill>
              <a:effectLst/>
              <a:latin typeface="微软雅黑" panose="020B0503020204020204" pitchFamily="34" charset="-122"/>
              <a:ea typeface="微软雅黑" panose="020B0503020204020204" pitchFamily="34" charset="-122"/>
              <a:cs typeface="+mn-cs"/>
            </a:endParaRPr>
          </a:p>
          <a:p>
            <a:r>
              <a:rPr lang="zh-CN" altLang="en-US" sz="1200" kern="1200" dirty="0" smtClean="0">
                <a:solidFill>
                  <a:schemeClr val="tx2"/>
                </a:solidFill>
                <a:effectLst/>
                <a:latin typeface="微软雅黑" panose="020B0503020204020204" pitchFamily="34" charset="-122"/>
                <a:ea typeface="微软雅黑" panose="020B0503020204020204" pitchFamily="34" charset="-122"/>
                <a:cs typeface="+mn-cs"/>
              </a:rPr>
              <a:t>工程人员</a:t>
            </a:r>
            <a:r>
              <a:rPr lang="zh-CN" altLang="zh-CN" sz="1200" kern="1200" dirty="0" smtClean="0">
                <a:solidFill>
                  <a:schemeClr val="tx2"/>
                </a:solidFill>
                <a:effectLst/>
                <a:latin typeface="微软雅黑" panose="020B0503020204020204" pitchFamily="34" charset="-122"/>
                <a:ea typeface="微软雅黑" panose="020B0503020204020204" pitchFamily="34" charset="-122"/>
                <a:cs typeface="+mn-cs"/>
              </a:rPr>
              <a:t>可以使用该系统进行工单的上传、开始、结束、作废操作，还可以随时查询各类报表或下载直接打印，以及修改员工数据，打印员工工牌加密的二维码、修改各产线中央控制系统的参数等操作。该系统还支持权限向下分配，车间主管可以把添加各类不同权限的管理员分配给下属进行操作。</a:t>
            </a:r>
            <a:endParaRPr lang="en-US" altLang="zh-CN" sz="1200" kern="1200" dirty="0" smtClean="0">
              <a:solidFill>
                <a:schemeClr val="tx2"/>
              </a:solidFill>
              <a:effectLst/>
              <a:latin typeface="微软雅黑" panose="020B0503020204020204" pitchFamily="34" charset="-122"/>
              <a:ea typeface="微软雅黑" panose="020B0503020204020204" pitchFamily="34" charset="-122"/>
              <a:cs typeface="+mn-cs"/>
            </a:endParaRPr>
          </a:p>
        </p:txBody>
      </p:sp>
      <p:sp>
        <p:nvSpPr>
          <p:cNvPr id="4" name="灯片编号占位符 3"/>
          <p:cNvSpPr>
            <a:spLocks noGrp="1"/>
          </p:cNvSpPr>
          <p:nvPr>
            <p:ph type="sldNum" sz="quarter" idx="10"/>
          </p:nvPr>
        </p:nvSpPr>
        <p:spPr/>
        <p:txBody>
          <a:bodyPr/>
          <a:lstStyle/>
          <a:p>
            <a:fld id="{4A7EA511-84E0-4AE0-9842-AB0E10994BF1}" type="slidenum">
              <a:rPr lang="zh-CN" altLang="en-US" smtClean="0"/>
              <a:pPr/>
              <a:t>13</a:t>
            </a:fld>
            <a:endParaRPr lang="zh-CN" altLang="en-US"/>
          </a:p>
        </p:txBody>
      </p:sp>
    </p:spTree>
    <p:extLst>
      <p:ext uri="{BB962C8B-B14F-4D97-AF65-F5344CB8AC3E}">
        <p14:creationId xmlns:p14="http://schemas.microsoft.com/office/powerpoint/2010/main" val="182583588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标题幻灯片">
    <p:bg>
      <p:bgPr>
        <a:solidFill>
          <a:schemeClr val="bg1"/>
        </a:solidFill>
        <a:effectLst/>
      </p:bgPr>
    </p:bg>
    <p:spTree>
      <p:nvGrpSpPr>
        <p:cNvPr id="1" name=""/>
        <p:cNvGrpSpPr/>
        <p:nvPr/>
      </p:nvGrpSpPr>
      <p:grpSpPr>
        <a:xfrm>
          <a:off x="0" y="0"/>
          <a:ext cx="0" cy="0"/>
          <a:chOff x="0" y="0"/>
          <a:chExt cx="0" cy="0"/>
        </a:xfrm>
      </p:grpSpPr>
      <p:sp>
        <p:nvSpPr>
          <p:cNvPr id="48" name="图片占位符 47">
            <a:extLst>
              <a:ext uri="{FF2B5EF4-FFF2-40B4-BE49-F238E27FC236}">
                <a16:creationId xmlns:a16="http://schemas.microsoft.com/office/drawing/2014/main" id="{76A7D343-2609-435C-BC17-890C25D3A604}"/>
              </a:ext>
            </a:extLst>
          </p:cNvPr>
          <p:cNvSpPr>
            <a:spLocks noGrp="1"/>
          </p:cNvSpPr>
          <p:nvPr>
            <p:ph type="pic" sz="quarter" idx="12"/>
          </p:nvPr>
        </p:nvSpPr>
        <p:spPr>
          <a:xfrm>
            <a:off x="0" y="0"/>
            <a:ext cx="6560457" cy="3243555"/>
          </a:xfrm>
          <a:custGeom>
            <a:avLst/>
            <a:gdLst>
              <a:gd name="connsiteX0" fmla="*/ 0 w 6560457"/>
              <a:gd name="connsiteY0" fmla="*/ 0 h 3243555"/>
              <a:gd name="connsiteX1" fmla="*/ 6560457 w 6560457"/>
              <a:gd name="connsiteY1" fmla="*/ 0 h 3243555"/>
              <a:gd name="connsiteX2" fmla="*/ 3547349 w 6560457"/>
              <a:gd name="connsiteY2" fmla="*/ 3033541 h 3243555"/>
              <a:gd name="connsiteX3" fmla="*/ 2519622 w 6560457"/>
              <a:gd name="connsiteY3" fmla="*/ 3033541 h 3243555"/>
              <a:gd name="connsiteX4" fmla="*/ 42783 w 6560457"/>
              <a:gd name="connsiteY4" fmla="*/ 539905 h 3243555"/>
              <a:gd name="connsiteX5" fmla="*/ 0 w 6560457"/>
              <a:gd name="connsiteY5" fmla="*/ 496833 h 32435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560457" h="3243555">
                <a:moveTo>
                  <a:pt x="0" y="0"/>
                </a:moveTo>
                <a:lnTo>
                  <a:pt x="6560457" y="0"/>
                </a:lnTo>
                <a:cubicBezTo>
                  <a:pt x="3547349" y="3033541"/>
                  <a:pt x="3547349" y="3033541"/>
                  <a:pt x="3547349" y="3033541"/>
                </a:cubicBezTo>
                <a:cubicBezTo>
                  <a:pt x="3267060" y="3313560"/>
                  <a:pt x="2799911" y="3313560"/>
                  <a:pt x="2519622" y="3033541"/>
                </a:cubicBezTo>
                <a:cubicBezTo>
                  <a:pt x="1201387" y="1706367"/>
                  <a:pt x="459880" y="959831"/>
                  <a:pt x="42783" y="539905"/>
                </a:cubicBezTo>
                <a:lnTo>
                  <a:pt x="0" y="496833"/>
                </a:lnTo>
                <a:close/>
              </a:path>
            </a:pathLst>
          </a:custGeom>
        </p:spPr>
        <p:txBody>
          <a:bodyPr wrap="square">
            <a:noAutofit/>
          </a:bodyPr>
          <a:lstStyle/>
          <a:p>
            <a:endParaRPr lang="zh-CN" altLang="en-US"/>
          </a:p>
        </p:txBody>
      </p:sp>
      <p:sp>
        <p:nvSpPr>
          <p:cNvPr id="28" name="Freeform 20">
            <a:extLst>
              <a:ext uri="{FF2B5EF4-FFF2-40B4-BE49-F238E27FC236}">
                <a16:creationId xmlns:a16="http://schemas.microsoft.com/office/drawing/2014/main" id="{4DD01902-B5A0-478F-8E56-F3E9975DC82F}"/>
              </a:ext>
            </a:extLst>
          </p:cNvPr>
          <p:cNvSpPr>
            <a:spLocks/>
          </p:cNvSpPr>
          <p:nvPr userDrawn="1"/>
        </p:nvSpPr>
        <p:spPr bwMode="auto">
          <a:xfrm>
            <a:off x="6858652" y="6002210"/>
            <a:ext cx="1840093" cy="855790"/>
          </a:xfrm>
          <a:custGeom>
            <a:avLst/>
            <a:gdLst>
              <a:gd name="T0" fmla="*/ 0 w 303"/>
              <a:gd name="T1" fmla="*/ 141 h 141"/>
              <a:gd name="T2" fmla="*/ 130 w 303"/>
              <a:gd name="T3" fmla="*/ 12 h 141"/>
              <a:gd name="T4" fmla="*/ 173 w 303"/>
              <a:gd name="T5" fmla="*/ 12 h 141"/>
              <a:gd name="T6" fmla="*/ 303 w 303"/>
              <a:gd name="T7" fmla="*/ 141 h 141"/>
              <a:gd name="T8" fmla="*/ 0 w 303"/>
              <a:gd name="T9" fmla="*/ 141 h 141"/>
            </a:gdLst>
            <a:ahLst/>
            <a:cxnLst>
              <a:cxn ang="0">
                <a:pos x="T0" y="T1"/>
              </a:cxn>
              <a:cxn ang="0">
                <a:pos x="T2" y="T3"/>
              </a:cxn>
              <a:cxn ang="0">
                <a:pos x="T4" y="T5"/>
              </a:cxn>
              <a:cxn ang="0">
                <a:pos x="T6" y="T7"/>
              </a:cxn>
              <a:cxn ang="0">
                <a:pos x="T8" y="T9"/>
              </a:cxn>
            </a:cxnLst>
            <a:rect l="0" t="0" r="r" b="b"/>
            <a:pathLst>
              <a:path w="303" h="141">
                <a:moveTo>
                  <a:pt x="0" y="141"/>
                </a:moveTo>
                <a:cubicBezTo>
                  <a:pt x="130" y="12"/>
                  <a:pt x="130" y="12"/>
                  <a:pt x="130" y="12"/>
                </a:cubicBezTo>
                <a:cubicBezTo>
                  <a:pt x="142" y="0"/>
                  <a:pt x="161" y="0"/>
                  <a:pt x="173" y="12"/>
                </a:cubicBezTo>
                <a:cubicBezTo>
                  <a:pt x="303" y="141"/>
                  <a:pt x="303" y="141"/>
                  <a:pt x="303" y="141"/>
                </a:cubicBezTo>
                <a:lnTo>
                  <a:pt x="0" y="141"/>
                </a:lnTo>
                <a:close/>
              </a:path>
            </a:pathLst>
          </a:cu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1" name="任意多边形: 形状 40">
            <a:extLst>
              <a:ext uri="{FF2B5EF4-FFF2-40B4-BE49-F238E27FC236}">
                <a16:creationId xmlns:a16="http://schemas.microsoft.com/office/drawing/2014/main" id="{4EEE0F85-7499-4B48-9607-016DA6C8F784}"/>
              </a:ext>
            </a:extLst>
          </p:cNvPr>
          <p:cNvSpPr/>
          <p:nvPr userDrawn="1"/>
        </p:nvSpPr>
        <p:spPr>
          <a:xfrm rot="2700000">
            <a:off x="-2559703" y="3281251"/>
            <a:ext cx="7718094" cy="4054774"/>
          </a:xfrm>
          <a:custGeom>
            <a:avLst/>
            <a:gdLst>
              <a:gd name="connsiteX0" fmla="*/ 0 w 7718094"/>
              <a:gd name="connsiteY0" fmla="*/ 5889 h 4054774"/>
              <a:gd name="connsiteX1" fmla="*/ 58406 w 7718094"/>
              <a:gd name="connsiteY1" fmla="*/ 1 h 4054774"/>
              <a:gd name="connsiteX2" fmla="*/ 7225995 w 7718094"/>
              <a:gd name="connsiteY2" fmla="*/ 0 h 4054774"/>
              <a:gd name="connsiteX3" fmla="*/ 7694887 w 7718094"/>
              <a:gd name="connsiteY3" fmla="*/ 310803 h 4054774"/>
              <a:gd name="connsiteX4" fmla="*/ 7718094 w 7718094"/>
              <a:gd name="connsiteY4" fmla="*/ 385565 h 4054774"/>
              <a:gd name="connsiteX5" fmla="*/ 4048885 w 7718094"/>
              <a:gd name="connsiteY5" fmla="*/ 4054774 h 40547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718094" h="4054774">
                <a:moveTo>
                  <a:pt x="0" y="5889"/>
                </a:moveTo>
                <a:lnTo>
                  <a:pt x="58406" y="1"/>
                </a:lnTo>
                <a:lnTo>
                  <a:pt x="7225995" y="0"/>
                </a:lnTo>
                <a:cubicBezTo>
                  <a:pt x="7436781" y="1"/>
                  <a:pt x="7617634" y="128158"/>
                  <a:pt x="7694887" y="310803"/>
                </a:cubicBezTo>
                <a:lnTo>
                  <a:pt x="7718094" y="385565"/>
                </a:lnTo>
                <a:lnTo>
                  <a:pt x="4048885" y="4054774"/>
                </a:lnTo>
                <a:close/>
              </a:path>
            </a:pathLst>
          </a:custGeom>
          <a:solidFill>
            <a:srgbClr val="FFB53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zh-CN" altLang="en-US">
              <a:solidFill>
                <a:schemeClr val="tx1"/>
              </a:solidFill>
            </a:endParaRPr>
          </a:p>
        </p:txBody>
      </p:sp>
      <p:sp>
        <p:nvSpPr>
          <p:cNvPr id="43" name="任意多边形: 形状 42">
            <a:extLst>
              <a:ext uri="{FF2B5EF4-FFF2-40B4-BE49-F238E27FC236}">
                <a16:creationId xmlns:a16="http://schemas.microsoft.com/office/drawing/2014/main" id="{8B5D11FC-2191-4D5E-AB50-E7E8BED8ADCC}"/>
              </a:ext>
            </a:extLst>
          </p:cNvPr>
          <p:cNvSpPr/>
          <p:nvPr userDrawn="1"/>
        </p:nvSpPr>
        <p:spPr>
          <a:xfrm rot="2700000">
            <a:off x="6848592" y="-430955"/>
            <a:ext cx="8036305" cy="4586009"/>
          </a:xfrm>
          <a:custGeom>
            <a:avLst/>
            <a:gdLst>
              <a:gd name="connsiteX0" fmla="*/ 3599344 w 8036305"/>
              <a:gd name="connsiteY0" fmla="*/ 0 h 4586009"/>
              <a:gd name="connsiteX1" fmla="*/ 8036305 w 8036305"/>
              <a:gd name="connsiteY1" fmla="*/ 4436961 h 4586009"/>
              <a:gd name="connsiteX2" fmla="*/ 7960992 w 8036305"/>
              <a:gd name="connsiteY2" fmla="*/ 4499099 h 4586009"/>
              <a:gd name="connsiteX3" fmla="*/ 7676471 w 8036305"/>
              <a:gd name="connsiteY3" fmla="*/ 4586009 h 4586009"/>
              <a:gd name="connsiteX4" fmla="*/ 508883 w 8036305"/>
              <a:gd name="connsiteY4" fmla="*/ 4586009 h 4586009"/>
              <a:gd name="connsiteX5" fmla="*/ 1 w 8036305"/>
              <a:gd name="connsiteY5" fmla="*/ 4077126 h 4586009"/>
              <a:gd name="connsiteX6" fmla="*/ 1 w 8036305"/>
              <a:gd name="connsiteY6" fmla="*/ 3599343 h 45860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036305" h="4586009">
                <a:moveTo>
                  <a:pt x="3599344" y="0"/>
                </a:moveTo>
                <a:lnTo>
                  <a:pt x="8036305" y="4436961"/>
                </a:lnTo>
                <a:lnTo>
                  <a:pt x="7960992" y="4499099"/>
                </a:lnTo>
                <a:cubicBezTo>
                  <a:pt x="7879773" y="4553970"/>
                  <a:pt x="7781863" y="4586009"/>
                  <a:pt x="7676471" y="4586009"/>
                </a:cubicBezTo>
                <a:lnTo>
                  <a:pt x="508883" y="4586009"/>
                </a:lnTo>
                <a:cubicBezTo>
                  <a:pt x="227835" y="4586009"/>
                  <a:pt x="0" y="4358174"/>
                  <a:pt x="1" y="4077126"/>
                </a:cubicBezTo>
                <a:lnTo>
                  <a:pt x="1" y="3599343"/>
                </a:lnTo>
                <a:close/>
              </a:path>
            </a:pathLst>
          </a:custGeom>
          <a:solidFill>
            <a:srgbClr val="00AD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zh-CN" altLang="en-US">
              <a:solidFill>
                <a:schemeClr val="tx1"/>
              </a:solidFill>
            </a:endParaRPr>
          </a:p>
        </p:txBody>
      </p:sp>
      <p:sp>
        <p:nvSpPr>
          <p:cNvPr id="44" name="椭圆 43">
            <a:extLst>
              <a:ext uri="{FF2B5EF4-FFF2-40B4-BE49-F238E27FC236}">
                <a16:creationId xmlns:a16="http://schemas.microsoft.com/office/drawing/2014/main" id="{E5E910FD-A44C-40CD-8AC9-4B074539396F}"/>
              </a:ext>
            </a:extLst>
          </p:cNvPr>
          <p:cNvSpPr/>
          <p:nvPr userDrawn="1"/>
        </p:nvSpPr>
        <p:spPr>
          <a:xfrm>
            <a:off x="1015040" y="2228394"/>
            <a:ext cx="1279178" cy="127917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5" name="椭圆 44">
            <a:extLst>
              <a:ext uri="{FF2B5EF4-FFF2-40B4-BE49-F238E27FC236}">
                <a16:creationId xmlns:a16="http://schemas.microsoft.com/office/drawing/2014/main" id="{49C5429E-866F-4ED2-B971-2D14CDFCDAE0}"/>
              </a:ext>
            </a:extLst>
          </p:cNvPr>
          <p:cNvSpPr/>
          <p:nvPr userDrawn="1"/>
        </p:nvSpPr>
        <p:spPr>
          <a:xfrm>
            <a:off x="9940365" y="4150721"/>
            <a:ext cx="1279178" cy="127917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2" name="副标题 2">
            <a:extLst>
              <a:ext uri="{FF2B5EF4-FFF2-40B4-BE49-F238E27FC236}">
                <a16:creationId xmlns:a16="http://schemas.microsoft.com/office/drawing/2014/main" id="{91419A49-E41A-4506-B11A-AAF6EDC73E02}"/>
              </a:ext>
            </a:extLst>
          </p:cNvPr>
          <p:cNvSpPr>
            <a:spLocks noGrp="1"/>
          </p:cNvSpPr>
          <p:nvPr>
            <p:ph type="subTitle" idx="1"/>
          </p:nvPr>
        </p:nvSpPr>
        <p:spPr>
          <a:xfrm>
            <a:off x="2548966" y="3113072"/>
            <a:ext cx="7855511" cy="558799"/>
          </a:xfrm>
          <a:prstGeom prst="rect">
            <a:avLst/>
          </a:prstGeom>
        </p:spPr>
        <p:txBody>
          <a:bodyPr anchor="ctr">
            <a:normAutofit/>
          </a:bodyPr>
          <a:lstStyle>
            <a:lvl1pPr marL="0" indent="0" algn="l">
              <a:buNone/>
              <a:defRPr sz="200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dirty="0"/>
              <a:t>Click to edit Master subtitle style</a:t>
            </a:r>
          </a:p>
        </p:txBody>
      </p:sp>
      <p:sp>
        <p:nvSpPr>
          <p:cNvPr id="13" name="标题 1">
            <a:extLst>
              <a:ext uri="{FF2B5EF4-FFF2-40B4-BE49-F238E27FC236}">
                <a16:creationId xmlns:a16="http://schemas.microsoft.com/office/drawing/2014/main" id="{4BDA05EB-4F8F-46E0-9B4F-3321EBE4D200}"/>
              </a:ext>
            </a:extLst>
          </p:cNvPr>
          <p:cNvSpPr>
            <a:spLocks noGrp="1"/>
          </p:cNvSpPr>
          <p:nvPr>
            <p:ph type="ctrTitle"/>
          </p:nvPr>
        </p:nvSpPr>
        <p:spPr>
          <a:xfrm>
            <a:off x="2548966" y="2414481"/>
            <a:ext cx="7855511" cy="698591"/>
          </a:xfrm>
          <a:prstGeom prst="rect">
            <a:avLst/>
          </a:prstGeom>
        </p:spPr>
        <p:txBody>
          <a:bodyPr anchor="ctr">
            <a:normAutofit/>
          </a:bodyPr>
          <a:lstStyle>
            <a:lvl1pPr algn="l">
              <a:defRPr sz="4000">
                <a:solidFill>
                  <a:schemeClr val="tx1"/>
                </a:solidFill>
              </a:defRPr>
            </a:lvl1pPr>
          </a:lstStyle>
          <a:p>
            <a:r>
              <a:rPr lang="en-US" dirty="0"/>
              <a:t>Click to edit Master title style</a:t>
            </a:r>
            <a:endParaRPr lang="zh-CN" altLang="en-US" dirty="0"/>
          </a:p>
        </p:txBody>
      </p:sp>
      <p:sp>
        <p:nvSpPr>
          <p:cNvPr id="14" name="文本占位符 13">
            <a:extLst>
              <a:ext uri="{FF2B5EF4-FFF2-40B4-BE49-F238E27FC236}">
                <a16:creationId xmlns:a16="http://schemas.microsoft.com/office/drawing/2014/main" id="{27B17472-7EB9-4EEC-A740-4BEC6B6261E4}"/>
              </a:ext>
            </a:extLst>
          </p:cNvPr>
          <p:cNvSpPr>
            <a:spLocks noGrp="1"/>
          </p:cNvSpPr>
          <p:nvPr>
            <p:ph type="body" sz="quarter" idx="10" hasCustomPrompt="1"/>
          </p:nvPr>
        </p:nvSpPr>
        <p:spPr>
          <a:xfrm>
            <a:off x="2548966" y="4876380"/>
            <a:ext cx="7855511" cy="296271"/>
          </a:xfrm>
          <a:prstGeom prst="rect">
            <a:avLst/>
          </a:prstGeom>
        </p:spPr>
        <p:txBody>
          <a:bodyPr vert="horz" anchor="ctr">
            <a:noAutofit/>
          </a:bodyPr>
          <a:lstStyle>
            <a:lvl1pPr marL="0" indent="0" algn="l">
              <a:buNone/>
              <a:defRPr sz="1500" b="0">
                <a:solidFill>
                  <a:schemeClr val="tx1"/>
                </a:solidFill>
              </a:defRPr>
            </a:lvl1pPr>
            <a:lvl2pPr marL="457177" indent="0">
              <a:buNone/>
              <a:defRPr/>
            </a:lvl2pPr>
            <a:lvl3pPr marL="914353" indent="0">
              <a:buNone/>
              <a:defRPr/>
            </a:lvl3pPr>
            <a:lvl4pPr marL="1371531" indent="0">
              <a:buNone/>
              <a:defRPr/>
            </a:lvl4pPr>
            <a:lvl5pPr marL="1828709" indent="0">
              <a:buNone/>
              <a:defRPr/>
            </a:lvl5pPr>
          </a:lstStyle>
          <a:p>
            <a:pPr lvl="0"/>
            <a:r>
              <a:rPr lang="en-US" altLang="zh-CN" dirty="0"/>
              <a:t>Signature</a:t>
            </a:r>
          </a:p>
        </p:txBody>
      </p:sp>
      <p:sp>
        <p:nvSpPr>
          <p:cNvPr id="15" name="文本占位符 13">
            <a:extLst>
              <a:ext uri="{FF2B5EF4-FFF2-40B4-BE49-F238E27FC236}">
                <a16:creationId xmlns:a16="http://schemas.microsoft.com/office/drawing/2014/main" id="{6FC4442E-8B00-4444-952D-4149B02F21E9}"/>
              </a:ext>
            </a:extLst>
          </p:cNvPr>
          <p:cNvSpPr>
            <a:spLocks noGrp="1"/>
          </p:cNvSpPr>
          <p:nvPr>
            <p:ph type="body" sz="quarter" idx="11" hasCustomPrompt="1"/>
          </p:nvPr>
        </p:nvSpPr>
        <p:spPr>
          <a:xfrm>
            <a:off x="2548966" y="5172651"/>
            <a:ext cx="7855511" cy="296271"/>
          </a:xfrm>
          <a:prstGeom prst="rect">
            <a:avLst/>
          </a:prstGeom>
        </p:spPr>
        <p:txBody>
          <a:bodyPr vert="horz" anchor="ctr">
            <a:noAutofit/>
          </a:bodyPr>
          <a:lstStyle>
            <a:lvl1pPr marL="0" indent="0" algn="l">
              <a:buNone/>
              <a:defRPr sz="1500" b="0">
                <a:solidFill>
                  <a:schemeClr val="tx1"/>
                </a:solidFill>
              </a:defRPr>
            </a:lvl1pPr>
            <a:lvl2pPr marL="457177" indent="0">
              <a:buNone/>
              <a:defRPr/>
            </a:lvl2pPr>
            <a:lvl3pPr marL="914353" indent="0">
              <a:buNone/>
              <a:defRPr/>
            </a:lvl3pPr>
            <a:lvl4pPr marL="1371531" indent="0">
              <a:buNone/>
              <a:defRPr/>
            </a:lvl4pPr>
            <a:lvl5pPr marL="1828709" indent="0">
              <a:buNone/>
              <a:defRPr/>
            </a:lvl5pPr>
          </a:lstStyle>
          <a:p>
            <a:pPr lvl="0"/>
            <a:r>
              <a:rPr lang="en-US" altLang="zh-CN" dirty="0"/>
              <a:t>Date</a:t>
            </a:r>
            <a:endParaRPr lang="zh-CN" altLang="en-US" dirty="0"/>
          </a:p>
        </p:txBody>
      </p:sp>
    </p:spTree>
    <p:extLst>
      <p:ext uri="{BB962C8B-B14F-4D97-AF65-F5344CB8AC3E}">
        <p14:creationId xmlns:p14="http://schemas.microsoft.com/office/powerpoint/2010/main" val="2882586885"/>
      </p:ext>
    </p:extLst>
  </p:cSld>
  <p:clrMapOvr>
    <a:overrideClrMapping bg1="lt1" tx1="dk1" bg2="lt2" tx2="dk2" accent1="accent1" accent2="accent2" accent3="accent3" accent4="accent4" accent5="accent5" accent6="accent6" hlink="hlink" folHlink="folHlink"/>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节标题">
    <p:spTree>
      <p:nvGrpSpPr>
        <p:cNvPr id="1" name=""/>
        <p:cNvGrpSpPr/>
        <p:nvPr/>
      </p:nvGrpSpPr>
      <p:grpSpPr>
        <a:xfrm>
          <a:off x="0" y="0"/>
          <a:ext cx="0" cy="0"/>
          <a:chOff x="0" y="0"/>
          <a:chExt cx="0" cy="0"/>
        </a:xfrm>
      </p:grpSpPr>
      <p:sp>
        <p:nvSpPr>
          <p:cNvPr id="12" name="任意多边形 11">
            <a:extLst>
              <a:ext uri="{FF2B5EF4-FFF2-40B4-BE49-F238E27FC236}">
                <a16:creationId xmlns:a16="http://schemas.microsoft.com/office/drawing/2014/main" id="{43A37DA0-8A8F-4AD6-9D55-172518540271}"/>
              </a:ext>
            </a:extLst>
          </p:cNvPr>
          <p:cNvSpPr/>
          <p:nvPr userDrawn="1"/>
        </p:nvSpPr>
        <p:spPr>
          <a:xfrm rot="2700000">
            <a:off x="433406" y="-1975008"/>
            <a:ext cx="3684469" cy="4609367"/>
          </a:xfrm>
          <a:custGeom>
            <a:avLst/>
            <a:gdLst>
              <a:gd name="connsiteX0" fmla="*/ 0 w 3684469"/>
              <a:gd name="connsiteY0" fmla="*/ 3680689 h 4609367"/>
              <a:gd name="connsiteX1" fmla="*/ 3680688 w 3684469"/>
              <a:gd name="connsiteY1" fmla="*/ 0 h 4609367"/>
              <a:gd name="connsiteX2" fmla="*/ 3684469 w 3684469"/>
              <a:gd name="connsiteY2" fmla="*/ 37506 h 4609367"/>
              <a:gd name="connsiteX3" fmla="*/ 3684469 w 3684469"/>
              <a:gd name="connsiteY3" fmla="*/ 3921500 h 4609367"/>
              <a:gd name="connsiteX4" fmla="*/ 2996602 w 3684469"/>
              <a:gd name="connsiteY4" fmla="*/ 4609367 h 4609367"/>
              <a:gd name="connsiteX5" fmla="*/ 928678 w 3684469"/>
              <a:gd name="connsiteY5" fmla="*/ 4609367 h 46093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684469" h="4609367">
                <a:moveTo>
                  <a:pt x="0" y="3680689"/>
                </a:moveTo>
                <a:lnTo>
                  <a:pt x="3680688" y="0"/>
                </a:lnTo>
                <a:lnTo>
                  <a:pt x="3684469" y="37506"/>
                </a:lnTo>
                <a:lnTo>
                  <a:pt x="3684469" y="3921500"/>
                </a:lnTo>
                <a:cubicBezTo>
                  <a:pt x="3684469" y="4301398"/>
                  <a:pt x="3376500" y="4609367"/>
                  <a:pt x="2996602" y="4609367"/>
                </a:cubicBezTo>
                <a:lnTo>
                  <a:pt x="928678" y="4609367"/>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a:p>
        </p:txBody>
      </p:sp>
      <p:sp>
        <p:nvSpPr>
          <p:cNvPr id="13" name="椭圆 12">
            <a:extLst>
              <a:ext uri="{FF2B5EF4-FFF2-40B4-BE49-F238E27FC236}">
                <a16:creationId xmlns:a16="http://schemas.microsoft.com/office/drawing/2014/main" id="{857DFE97-4A6D-47E9-B369-7E78A07FF284}"/>
              </a:ext>
            </a:extLst>
          </p:cNvPr>
          <p:cNvSpPr/>
          <p:nvPr userDrawn="1"/>
        </p:nvSpPr>
        <p:spPr>
          <a:xfrm>
            <a:off x="2210253" y="1188408"/>
            <a:ext cx="1704522" cy="170452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4" name="椭圆 13">
            <a:extLst>
              <a:ext uri="{FF2B5EF4-FFF2-40B4-BE49-F238E27FC236}">
                <a16:creationId xmlns:a16="http://schemas.microsoft.com/office/drawing/2014/main" id="{5B320BFA-7657-4F95-A66F-35156712CC72}"/>
              </a:ext>
            </a:extLst>
          </p:cNvPr>
          <p:cNvSpPr/>
          <p:nvPr userDrawn="1"/>
        </p:nvSpPr>
        <p:spPr>
          <a:xfrm>
            <a:off x="2306941" y="1283175"/>
            <a:ext cx="1526620" cy="152662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8" name="标题 1">
            <a:extLst>
              <a:ext uri="{FF2B5EF4-FFF2-40B4-BE49-F238E27FC236}">
                <a16:creationId xmlns:a16="http://schemas.microsoft.com/office/drawing/2014/main" id="{AF1E61D3-A1CA-4069-949D-C5A747275B33}"/>
              </a:ext>
            </a:extLst>
          </p:cNvPr>
          <p:cNvSpPr>
            <a:spLocks noGrp="1"/>
          </p:cNvSpPr>
          <p:nvPr>
            <p:ph type="title"/>
          </p:nvPr>
        </p:nvSpPr>
        <p:spPr>
          <a:xfrm>
            <a:off x="3622098" y="2909082"/>
            <a:ext cx="5419185" cy="895350"/>
          </a:xfrm>
          <a:prstGeom prst="rect">
            <a:avLst/>
          </a:prstGeom>
        </p:spPr>
        <p:txBody>
          <a:bodyPr anchor="b">
            <a:normAutofit/>
          </a:bodyPr>
          <a:lstStyle>
            <a:lvl1pPr algn="l">
              <a:defRPr sz="2400" b="1">
                <a:solidFill>
                  <a:schemeClr val="tx1"/>
                </a:solidFill>
              </a:defRPr>
            </a:lvl1pPr>
          </a:lstStyle>
          <a:p>
            <a:r>
              <a:rPr lang="en-US" dirty="0"/>
              <a:t>Click to edit Master title style</a:t>
            </a:r>
            <a:endParaRPr lang="zh-CN" altLang="en-US" dirty="0"/>
          </a:p>
        </p:txBody>
      </p:sp>
      <p:sp>
        <p:nvSpPr>
          <p:cNvPr id="11" name="文本占位符 2">
            <a:extLst>
              <a:ext uri="{FF2B5EF4-FFF2-40B4-BE49-F238E27FC236}">
                <a16:creationId xmlns:a16="http://schemas.microsoft.com/office/drawing/2014/main" id="{36B72DB3-9BE5-4FDC-84D6-B577F9F20AE5}"/>
              </a:ext>
            </a:extLst>
          </p:cNvPr>
          <p:cNvSpPr>
            <a:spLocks noGrp="1"/>
          </p:cNvSpPr>
          <p:nvPr>
            <p:ph type="body" idx="1"/>
          </p:nvPr>
        </p:nvSpPr>
        <p:spPr>
          <a:xfrm>
            <a:off x="3623214" y="3804432"/>
            <a:ext cx="5419185" cy="1015623"/>
          </a:xfrm>
          <a:prstGeom prst="rect">
            <a:avLst/>
          </a:prstGeom>
        </p:spPr>
        <p:txBody>
          <a:bodyPr anchor="t">
            <a:normAutofit/>
          </a:bodyPr>
          <a:lstStyle>
            <a:lvl1pPr marL="0" indent="0" algn="l">
              <a:lnSpc>
                <a:spcPct val="100000"/>
              </a:lnSpc>
              <a:buNone/>
              <a:defRPr sz="1100">
                <a:solidFill>
                  <a:schemeClr val="tx1"/>
                </a:solidFill>
              </a:defRPr>
            </a:lvl1pPr>
            <a:lvl2pPr marL="457178" indent="0">
              <a:buNone/>
              <a:defRPr sz="2000">
                <a:solidFill>
                  <a:schemeClr val="tx1">
                    <a:tint val="75000"/>
                  </a:schemeClr>
                </a:solidFill>
              </a:defRPr>
            </a:lvl2pPr>
            <a:lvl3pPr marL="914354" indent="0">
              <a:buNone/>
              <a:defRPr sz="1800">
                <a:solidFill>
                  <a:schemeClr val="tx1">
                    <a:tint val="75000"/>
                  </a:schemeClr>
                </a:solidFill>
              </a:defRPr>
            </a:lvl3pPr>
            <a:lvl4pPr marL="1371532" indent="0">
              <a:buNone/>
              <a:defRPr sz="1600">
                <a:solidFill>
                  <a:schemeClr val="tx1">
                    <a:tint val="75000"/>
                  </a:schemeClr>
                </a:solidFill>
              </a:defRPr>
            </a:lvl4pPr>
            <a:lvl5pPr marL="1828709" indent="0">
              <a:buNone/>
              <a:defRPr sz="1600">
                <a:solidFill>
                  <a:schemeClr val="tx1">
                    <a:tint val="75000"/>
                  </a:schemeClr>
                </a:solidFill>
              </a:defRPr>
            </a:lvl5pPr>
            <a:lvl6pPr marL="2285886" indent="0">
              <a:buNone/>
              <a:defRPr sz="1600">
                <a:solidFill>
                  <a:schemeClr val="tx1">
                    <a:tint val="75000"/>
                  </a:schemeClr>
                </a:solidFill>
              </a:defRPr>
            </a:lvl6pPr>
            <a:lvl7pPr marL="2743062" indent="0">
              <a:buNone/>
              <a:defRPr sz="1600">
                <a:solidFill>
                  <a:schemeClr val="tx1">
                    <a:tint val="75000"/>
                  </a:schemeClr>
                </a:solidFill>
              </a:defRPr>
            </a:lvl7pPr>
            <a:lvl8pPr marL="3200240" indent="0">
              <a:buNone/>
              <a:defRPr sz="1600">
                <a:solidFill>
                  <a:schemeClr val="tx1">
                    <a:tint val="75000"/>
                  </a:schemeClr>
                </a:solidFill>
              </a:defRPr>
            </a:lvl8pPr>
            <a:lvl9pPr marL="3657418" indent="0">
              <a:buNone/>
              <a:defRPr sz="1600">
                <a:solidFill>
                  <a:schemeClr val="tx1">
                    <a:tint val="75000"/>
                  </a:schemeClr>
                </a:solidFill>
              </a:defRPr>
            </a:lvl9pPr>
          </a:lstStyle>
          <a:p>
            <a:pPr lvl="0"/>
            <a:r>
              <a:rPr lang="en-US" dirty="0"/>
              <a:t>Edit Master text styles</a:t>
            </a:r>
          </a:p>
        </p:txBody>
      </p:sp>
      <p:pic>
        <p:nvPicPr>
          <p:cNvPr id="9" name="图片 8" descr="C:\Users\DarkNin\AppData\Local\Microsoft\Windows\INetCache\Content.Word\20180723141939.jpg"/>
          <p:cNvPicPr/>
          <p:nvPr userDrawn="1"/>
        </p:nvPicPr>
        <p:blipFill>
          <a:blip r:embed="rId2" cstate="email">
            <a:extLst>
              <a:ext uri="{28A0092B-C50C-407E-A947-70E740481C1C}">
                <a14:useLocalDpi xmlns:a14="http://schemas.microsoft.com/office/drawing/2010/main" val="0"/>
              </a:ext>
            </a:extLst>
          </a:blip>
          <a:srcRect/>
          <a:stretch>
            <a:fillRect/>
          </a:stretch>
        </p:blipFill>
        <p:spPr bwMode="auto">
          <a:xfrm>
            <a:off x="9154536" y="514350"/>
            <a:ext cx="1799792" cy="445364"/>
          </a:xfrm>
          <a:prstGeom prst="rect">
            <a:avLst/>
          </a:prstGeom>
          <a:noFill/>
          <a:ln>
            <a:noFill/>
          </a:ln>
        </p:spPr>
      </p:pic>
    </p:spTree>
    <p:extLst>
      <p:ext uri="{BB962C8B-B14F-4D97-AF65-F5344CB8AC3E}">
        <p14:creationId xmlns:p14="http://schemas.microsoft.com/office/powerpoint/2010/main" val="2853334272"/>
      </p:ext>
    </p:extLst>
  </p:cSld>
  <p:clrMapOvr>
    <a:overrideClrMapping bg1="lt1" tx1="dk1" bg2="lt2" tx2="dk2" accent1="accent1" accent2="accent2" accent3="accent3" accent4="accent4" accent5="accent5" accent6="accent6" hlink="hlink" folHlink="folHlink"/>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标题和内容">
    <p:spTree>
      <p:nvGrpSpPr>
        <p:cNvPr id="1" name=""/>
        <p:cNvGrpSpPr/>
        <p:nvPr/>
      </p:nvGrpSpPr>
      <p:grpSpPr>
        <a:xfrm>
          <a:off x="0" y="0"/>
          <a:ext cx="0" cy="0"/>
          <a:chOff x="0" y="0"/>
          <a:chExt cx="0" cy="0"/>
        </a:xfrm>
      </p:grpSpPr>
      <p:sp>
        <p:nvSpPr>
          <p:cNvPr id="3" name="日期占位符 2">
            <a:extLst>
              <a:ext uri="{FF2B5EF4-FFF2-40B4-BE49-F238E27FC236}">
                <a16:creationId xmlns:a16="http://schemas.microsoft.com/office/drawing/2014/main" id="{9888B6D7-9D3F-49D7-BACE-73A9D1149A74}"/>
              </a:ext>
            </a:extLst>
          </p:cNvPr>
          <p:cNvSpPr>
            <a:spLocks noGrp="1"/>
          </p:cNvSpPr>
          <p:nvPr>
            <p:ph type="dt" sz="half" idx="10"/>
          </p:nvPr>
        </p:nvSpPr>
        <p:spPr>
          <a:xfrm>
            <a:off x="5390621" y="6240463"/>
            <a:ext cx="1388536" cy="206381"/>
          </a:xfrm>
          <a:prstGeom prst="rect">
            <a:avLst/>
          </a:prstGeom>
        </p:spPr>
        <p:txBody>
          <a:bodyPr/>
          <a:lstStyle/>
          <a:p>
            <a:fld id="{6489D9C7-5DC6-4263-87FF-7C99F6FB63C3}" type="datetime1">
              <a:rPr lang="zh-CN" altLang="en-US" smtClean="0"/>
              <a:pPr/>
              <a:t>2018/7/25</a:t>
            </a:fld>
            <a:endParaRPr lang="zh-CN" altLang="en-US"/>
          </a:p>
        </p:txBody>
      </p:sp>
      <p:sp>
        <p:nvSpPr>
          <p:cNvPr id="4" name="页脚占位符 3">
            <a:extLst>
              <a:ext uri="{FF2B5EF4-FFF2-40B4-BE49-F238E27FC236}">
                <a16:creationId xmlns:a16="http://schemas.microsoft.com/office/drawing/2014/main" id="{7AC997A4-1DD8-4731-B9FD-42398A20FF85}"/>
              </a:ext>
            </a:extLst>
          </p:cNvPr>
          <p:cNvSpPr>
            <a:spLocks noGrp="1"/>
          </p:cNvSpPr>
          <p:nvPr>
            <p:ph type="ftr" sz="quarter" idx="11"/>
          </p:nvPr>
        </p:nvSpPr>
        <p:spPr>
          <a:xfrm>
            <a:off x="658813" y="6240463"/>
            <a:ext cx="4140201" cy="206381"/>
          </a:xfrm>
          <a:prstGeom prst="rect">
            <a:avLst/>
          </a:prstGeom>
        </p:spPr>
        <p:txBody>
          <a:bodyPr/>
          <a:lstStyle/>
          <a:p>
            <a:r>
              <a:rPr lang="en-US" altLang="zh-CN"/>
              <a:t>www.islide.cc</a:t>
            </a:r>
            <a:endParaRPr lang="zh-CN" altLang="en-US" dirty="0"/>
          </a:p>
        </p:txBody>
      </p:sp>
      <p:sp>
        <p:nvSpPr>
          <p:cNvPr id="5" name="灯片编号占位符 4">
            <a:extLst>
              <a:ext uri="{FF2B5EF4-FFF2-40B4-BE49-F238E27FC236}">
                <a16:creationId xmlns:a16="http://schemas.microsoft.com/office/drawing/2014/main" id="{DBA9825E-1876-42AD-ABCF-E0E100F351CA}"/>
              </a:ext>
            </a:extLst>
          </p:cNvPr>
          <p:cNvSpPr>
            <a:spLocks noGrp="1"/>
          </p:cNvSpPr>
          <p:nvPr>
            <p:ph type="sldNum" sz="quarter" idx="12"/>
          </p:nvPr>
        </p:nvSpPr>
        <p:spPr>
          <a:xfrm>
            <a:off x="8599488" y="6240463"/>
            <a:ext cx="2909888" cy="206381"/>
          </a:xfrm>
          <a:prstGeom prst="rect">
            <a:avLst/>
          </a:prstGeom>
        </p:spPr>
        <p:txBody>
          <a:bodyPr/>
          <a:lstStyle/>
          <a:p>
            <a:fld id="{5DD3DB80-B894-403A-B48E-6FDC1A72010E}" type="slidenum">
              <a:rPr lang="zh-CN" altLang="en-US" smtClean="0"/>
              <a:pPr/>
              <a:t>‹#›</a:t>
            </a:fld>
            <a:endParaRPr lang="zh-CN" altLang="en-US"/>
          </a:p>
        </p:txBody>
      </p:sp>
      <p:sp>
        <p:nvSpPr>
          <p:cNvPr id="6" name="标题 5">
            <a:extLst>
              <a:ext uri="{FF2B5EF4-FFF2-40B4-BE49-F238E27FC236}">
                <a16:creationId xmlns:a16="http://schemas.microsoft.com/office/drawing/2014/main" id="{D124F9DB-C87A-423F-9657-38C7A2901430}"/>
              </a:ext>
            </a:extLst>
          </p:cNvPr>
          <p:cNvSpPr>
            <a:spLocks noGrp="1"/>
          </p:cNvSpPr>
          <p:nvPr>
            <p:ph type="title" hasCustomPrompt="1"/>
          </p:nvPr>
        </p:nvSpPr>
        <p:spPr>
          <a:xfrm>
            <a:off x="669924" y="1"/>
            <a:ext cx="10850563" cy="1028699"/>
          </a:xfrm>
          <a:prstGeom prst="rect">
            <a:avLst/>
          </a:prstGeom>
        </p:spPr>
        <p:txBody>
          <a:bodyPr/>
          <a:lstStyle>
            <a:lvl1pPr>
              <a:defRPr/>
            </a:lvl1pPr>
          </a:lstStyle>
          <a:p>
            <a:r>
              <a:rPr lang="en-US" altLang="zh-CN" dirty="0"/>
              <a:t>Click to edit Master title style</a:t>
            </a:r>
            <a:endParaRPr lang="zh-CN" altLang="en-US" dirty="0"/>
          </a:p>
        </p:txBody>
      </p:sp>
      <p:sp>
        <p:nvSpPr>
          <p:cNvPr id="8" name="内容占位符 7">
            <a:extLst>
              <a:ext uri="{FF2B5EF4-FFF2-40B4-BE49-F238E27FC236}">
                <a16:creationId xmlns:a16="http://schemas.microsoft.com/office/drawing/2014/main" id="{2070191C-4093-409C-8FD5-7369A79637AD}"/>
              </a:ext>
            </a:extLst>
          </p:cNvPr>
          <p:cNvSpPr>
            <a:spLocks noGrp="1"/>
          </p:cNvSpPr>
          <p:nvPr>
            <p:ph sz="quarter" idx="13" hasCustomPrompt="1"/>
          </p:nvPr>
        </p:nvSpPr>
        <p:spPr>
          <a:xfrm>
            <a:off x="669925" y="1130299"/>
            <a:ext cx="10850563" cy="5006975"/>
          </a:xfrm>
          <a:prstGeom prst="rect">
            <a:avLst/>
          </a:prstGeom>
        </p:spPr>
        <p:txBody>
          <a:bodyPr/>
          <a:lstStyle>
            <a:lvl1pPr>
              <a:defRPr/>
            </a:lvl1pPr>
            <a:lvl2pPr>
              <a:defRPr/>
            </a:lvl2pPr>
            <a:lvl3pPr>
              <a:defRPr/>
            </a:lvl3pPr>
            <a:lvl4pPr>
              <a:defRPr/>
            </a:lvl4pPr>
            <a:lvl5pPr>
              <a:defRPr/>
            </a:lvl5pPr>
          </a:lstStyle>
          <a:p>
            <a:pPr lvl="0"/>
            <a:r>
              <a:rPr lang="en-US" altLang="zh-CN" dirty="0"/>
              <a:t>Edit Master text styles</a:t>
            </a:r>
          </a:p>
          <a:p>
            <a:pPr lvl="1"/>
            <a:r>
              <a:rPr lang="en-US" altLang="zh-CN" dirty="0"/>
              <a:t>Second level</a:t>
            </a:r>
          </a:p>
          <a:p>
            <a:pPr lvl="2"/>
            <a:r>
              <a:rPr lang="en-US" altLang="zh-CN" dirty="0"/>
              <a:t>Third level</a:t>
            </a:r>
          </a:p>
          <a:p>
            <a:pPr lvl="3"/>
            <a:r>
              <a:rPr lang="en-US" altLang="zh-CN" dirty="0"/>
              <a:t>Fourth level</a:t>
            </a:r>
          </a:p>
          <a:p>
            <a:pPr lvl="4"/>
            <a:r>
              <a:rPr lang="en-US" altLang="zh-CN" dirty="0"/>
              <a:t>Fifth level</a:t>
            </a:r>
            <a:endParaRPr lang="zh-CN" altLang="en-US" dirty="0"/>
          </a:p>
        </p:txBody>
      </p:sp>
    </p:spTree>
    <p:extLst>
      <p:ext uri="{BB962C8B-B14F-4D97-AF65-F5344CB8AC3E}">
        <p14:creationId xmlns:p14="http://schemas.microsoft.com/office/powerpoint/2010/main" val="333346842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Only" preserve="1" userDrawn="1">
  <p:cSld name="仅标题页">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1C7A1C-3684-4AAF-A408-C63B6CB64104}"/>
              </a:ext>
            </a:extLst>
          </p:cNvPr>
          <p:cNvSpPr>
            <a:spLocks noGrp="1"/>
          </p:cNvSpPr>
          <p:nvPr>
            <p:ph type="title" hasCustomPrompt="1"/>
          </p:nvPr>
        </p:nvSpPr>
        <p:spPr>
          <a:xfrm>
            <a:off x="669924" y="1"/>
            <a:ext cx="10850563" cy="1028699"/>
          </a:xfrm>
          <a:prstGeom prst="rect">
            <a:avLst/>
          </a:prstGeom>
        </p:spPr>
        <p:txBody>
          <a:bodyPr/>
          <a:lstStyle>
            <a:lvl1pPr>
              <a:defRPr/>
            </a:lvl1pPr>
          </a:lstStyle>
          <a:p>
            <a:r>
              <a:rPr lang="en-US" altLang="zh-CN" dirty="0"/>
              <a:t>Click to edit Master title style</a:t>
            </a:r>
            <a:endParaRPr lang="en-US" dirty="0"/>
          </a:p>
        </p:txBody>
      </p:sp>
      <p:sp>
        <p:nvSpPr>
          <p:cNvPr id="3" name="Date Placeholder 2">
            <a:extLst>
              <a:ext uri="{FF2B5EF4-FFF2-40B4-BE49-F238E27FC236}">
                <a16:creationId xmlns:a16="http://schemas.microsoft.com/office/drawing/2014/main" id="{8986EA5F-D77D-4318-90E9-C04AA8ADC0D1}"/>
              </a:ext>
            </a:extLst>
          </p:cNvPr>
          <p:cNvSpPr>
            <a:spLocks noGrp="1"/>
          </p:cNvSpPr>
          <p:nvPr>
            <p:ph type="dt" sz="half" idx="10"/>
          </p:nvPr>
        </p:nvSpPr>
        <p:spPr>
          <a:xfrm>
            <a:off x="5390621" y="6240463"/>
            <a:ext cx="1388536" cy="206381"/>
          </a:xfrm>
          <a:prstGeom prst="rect">
            <a:avLst/>
          </a:prstGeom>
        </p:spPr>
        <p:txBody>
          <a:bodyPr/>
          <a:lstStyle/>
          <a:p>
            <a:fld id="{6489D9C7-5DC6-4263-87FF-7C99F6FB63C3}" type="datetime1">
              <a:rPr lang="zh-CN" altLang="en-US" smtClean="0"/>
              <a:pPr/>
              <a:t>2018/7/25</a:t>
            </a:fld>
            <a:endParaRPr lang="zh-CN" altLang="en-US" dirty="0"/>
          </a:p>
        </p:txBody>
      </p:sp>
      <p:sp>
        <p:nvSpPr>
          <p:cNvPr id="4" name="Footer Placeholder 3">
            <a:extLst>
              <a:ext uri="{FF2B5EF4-FFF2-40B4-BE49-F238E27FC236}">
                <a16:creationId xmlns:a16="http://schemas.microsoft.com/office/drawing/2014/main" id="{00832621-D9D9-445E-BFF9-F8348FA1E262}"/>
              </a:ext>
            </a:extLst>
          </p:cNvPr>
          <p:cNvSpPr>
            <a:spLocks noGrp="1"/>
          </p:cNvSpPr>
          <p:nvPr>
            <p:ph type="ftr" sz="quarter" idx="11"/>
          </p:nvPr>
        </p:nvSpPr>
        <p:spPr>
          <a:xfrm>
            <a:off x="658813" y="6240463"/>
            <a:ext cx="4140201" cy="206381"/>
          </a:xfrm>
          <a:prstGeom prst="rect">
            <a:avLst/>
          </a:prstGeom>
        </p:spPr>
        <p:txBody>
          <a:bodyPr/>
          <a:lstStyle/>
          <a:p>
            <a:r>
              <a:rPr lang="en-US" altLang="zh-CN" dirty="0"/>
              <a:t>www.islide.cc</a:t>
            </a:r>
            <a:endParaRPr lang="zh-CN" altLang="en-US" dirty="0"/>
          </a:p>
        </p:txBody>
      </p:sp>
      <p:sp>
        <p:nvSpPr>
          <p:cNvPr id="5" name="Slide Number Placeholder 4">
            <a:extLst>
              <a:ext uri="{FF2B5EF4-FFF2-40B4-BE49-F238E27FC236}">
                <a16:creationId xmlns:a16="http://schemas.microsoft.com/office/drawing/2014/main" id="{8371151B-F790-4A9F-962F-B8718A9560A9}"/>
              </a:ext>
            </a:extLst>
          </p:cNvPr>
          <p:cNvSpPr>
            <a:spLocks noGrp="1"/>
          </p:cNvSpPr>
          <p:nvPr>
            <p:ph type="sldNum" sz="quarter" idx="12"/>
          </p:nvPr>
        </p:nvSpPr>
        <p:spPr>
          <a:xfrm>
            <a:off x="8599488" y="6240463"/>
            <a:ext cx="2909888" cy="206381"/>
          </a:xfrm>
          <a:prstGeom prst="rect">
            <a:avLst/>
          </a:prstGeom>
        </p:spPr>
        <p:txBody>
          <a:bodyPr/>
          <a:lstStyle/>
          <a:p>
            <a:fld id="{5DD3DB80-B894-403A-B48E-6FDC1A72010E}" type="slidenum">
              <a:rPr lang="zh-CN" altLang="en-US" smtClean="0"/>
              <a:pPr/>
              <a:t>‹#›</a:t>
            </a:fld>
            <a:endParaRPr lang="zh-CN" altLang="en-US" dirty="0"/>
          </a:p>
        </p:txBody>
      </p:sp>
      <p:pic>
        <p:nvPicPr>
          <p:cNvPr id="6" name="图片 5" descr="C:\Users\DarkNin\AppData\Local\Microsoft\Windows\INetCache\Content.Word\20180723141939.jpg"/>
          <p:cNvPicPr/>
          <p:nvPr userDrawn="1"/>
        </p:nvPicPr>
        <p:blipFill>
          <a:blip r:embed="rId2" cstate="email">
            <a:extLst>
              <a:ext uri="{28A0092B-C50C-407E-A947-70E740481C1C}">
                <a14:useLocalDpi xmlns:a14="http://schemas.microsoft.com/office/drawing/2010/main" val="0"/>
              </a:ext>
            </a:extLst>
          </a:blip>
          <a:srcRect/>
          <a:stretch>
            <a:fillRect/>
          </a:stretch>
        </p:blipFill>
        <p:spPr bwMode="auto">
          <a:xfrm>
            <a:off x="9154536" y="514350"/>
            <a:ext cx="1799792" cy="445364"/>
          </a:xfrm>
          <a:prstGeom prst="rect">
            <a:avLst/>
          </a:prstGeom>
          <a:noFill/>
          <a:ln>
            <a:noFill/>
          </a:ln>
        </p:spPr>
      </p:pic>
    </p:spTree>
    <p:extLst>
      <p:ext uri="{BB962C8B-B14F-4D97-AF65-F5344CB8AC3E}">
        <p14:creationId xmlns:p14="http://schemas.microsoft.com/office/powerpoint/2010/main" val="294542748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blank" preserve="1">
  <p:cSld name="空白">
    <p:spTree>
      <p:nvGrpSpPr>
        <p:cNvPr id="1" name=""/>
        <p:cNvGrpSpPr/>
        <p:nvPr/>
      </p:nvGrpSpPr>
      <p:grpSpPr>
        <a:xfrm>
          <a:off x="0" y="0"/>
          <a:ext cx="0" cy="0"/>
          <a:chOff x="0" y="0"/>
          <a:chExt cx="0" cy="0"/>
        </a:xfrm>
      </p:grpSpPr>
    </p:spTree>
    <p:extLst>
      <p:ext uri="{BB962C8B-B14F-4D97-AF65-F5344CB8AC3E}">
        <p14:creationId xmlns:p14="http://schemas.microsoft.com/office/powerpoint/2010/main" val="341772862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末尾幻灯片">
    <p:spTree>
      <p:nvGrpSpPr>
        <p:cNvPr id="1" name=""/>
        <p:cNvGrpSpPr/>
        <p:nvPr/>
      </p:nvGrpSpPr>
      <p:grpSpPr>
        <a:xfrm>
          <a:off x="0" y="0"/>
          <a:ext cx="0" cy="0"/>
          <a:chOff x="0" y="0"/>
          <a:chExt cx="0" cy="0"/>
        </a:xfrm>
      </p:grpSpPr>
      <p:sp>
        <p:nvSpPr>
          <p:cNvPr id="69" name="图片占位符 68">
            <a:extLst>
              <a:ext uri="{FF2B5EF4-FFF2-40B4-BE49-F238E27FC236}">
                <a16:creationId xmlns:a16="http://schemas.microsoft.com/office/drawing/2014/main" id="{17DCCBA1-CDE1-4A2D-861B-782D47E49E72}"/>
              </a:ext>
            </a:extLst>
          </p:cNvPr>
          <p:cNvSpPr>
            <a:spLocks noGrp="1"/>
          </p:cNvSpPr>
          <p:nvPr>
            <p:ph type="pic" sz="quarter" idx="19"/>
          </p:nvPr>
        </p:nvSpPr>
        <p:spPr>
          <a:xfrm>
            <a:off x="0" y="0"/>
            <a:ext cx="4927057" cy="6866909"/>
          </a:xfrm>
          <a:custGeom>
            <a:avLst/>
            <a:gdLst>
              <a:gd name="connsiteX0" fmla="*/ 0 w 4927057"/>
              <a:gd name="connsiteY0" fmla="*/ 0 h 6866909"/>
              <a:gd name="connsiteX1" fmla="*/ 4547560 w 4927057"/>
              <a:gd name="connsiteY1" fmla="*/ 0 h 6866909"/>
              <a:gd name="connsiteX2" fmla="*/ 4816571 w 4927057"/>
              <a:gd name="connsiteY2" fmla="*/ 103308 h 6866909"/>
              <a:gd name="connsiteX3" fmla="*/ 4816571 w 4927057"/>
              <a:gd name="connsiteY3" fmla="*/ 613768 h 6866909"/>
              <a:gd name="connsiteX4" fmla="*/ 2331425 w 4927057"/>
              <a:gd name="connsiteY4" fmla="*/ 2971609 h 6866909"/>
              <a:gd name="connsiteX5" fmla="*/ 2331425 w 4927057"/>
              <a:gd name="connsiteY5" fmla="*/ 3475993 h 6866909"/>
              <a:gd name="connsiteX6" fmla="*/ 3843009 w 4927057"/>
              <a:gd name="connsiteY6" fmla="*/ 4916221 h 6866909"/>
              <a:gd name="connsiteX7" fmla="*/ 3843009 w 4927057"/>
              <a:gd name="connsiteY7" fmla="*/ 5420605 h 6866909"/>
              <a:gd name="connsiteX8" fmla="*/ 2433906 w 4927057"/>
              <a:gd name="connsiteY8" fmla="*/ 6763602 h 6866909"/>
              <a:gd name="connsiteX9" fmla="*/ 2164895 w 4927057"/>
              <a:gd name="connsiteY9" fmla="*/ 6866909 h 6866909"/>
              <a:gd name="connsiteX10" fmla="*/ 0 w 4927057"/>
              <a:gd name="connsiteY10" fmla="*/ 6866909 h 6866909"/>
              <a:gd name="connsiteX11" fmla="*/ 0 w 4927057"/>
              <a:gd name="connsiteY11" fmla="*/ 0 h 68669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927057" h="6866909">
                <a:moveTo>
                  <a:pt x="0" y="0"/>
                </a:moveTo>
                <a:lnTo>
                  <a:pt x="4547560" y="0"/>
                </a:lnTo>
                <a:cubicBezTo>
                  <a:pt x="4650041" y="0"/>
                  <a:pt x="4746116" y="36462"/>
                  <a:pt x="4816571" y="103308"/>
                </a:cubicBezTo>
                <a:cubicBezTo>
                  <a:pt x="4963886" y="243077"/>
                  <a:pt x="4963886" y="473999"/>
                  <a:pt x="4816571" y="613768"/>
                </a:cubicBezTo>
                <a:cubicBezTo>
                  <a:pt x="4816571" y="613768"/>
                  <a:pt x="4816571" y="613768"/>
                  <a:pt x="2331425" y="2971609"/>
                </a:cubicBezTo>
                <a:cubicBezTo>
                  <a:pt x="2184110" y="3111379"/>
                  <a:pt x="2184110" y="3336224"/>
                  <a:pt x="2331425" y="3475993"/>
                </a:cubicBezTo>
                <a:cubicBezTo>
                  <a:pt x="2331425" y="3475993"/>
                  <a:pt x="2331425" y="3475993"/>
                  <a:pt x="3843009" y="4916221"/>
                </a:cubicBezTo>
                <a:cubicBezTo>
                  <a:pt x="3990324" y="5055990"/>
                  <a:pt x="3990324" y="5280836"/>
                  <a:pt x="3843009" y="5420605"/>
                </a:cubicBezTo>
                <a:cubicBezTo>
                  <a:pt x="3843009" y="5420605"/>
                  <a:pt x="3843009" y="5420605"/>
                  <a:pt x="2433906" y="6763602"/>
                </a:cubicBezTo>
                <a:cubicBezTo>
                  <a:pt x="2363450" y="6830448"/>
                  <a:pt x="2267375" y="6866909"/>
                  <a:pt x="2164895" y="6866909"/>
                </a:cubicBezTo>
                <a:cubicBezTo>
                  <a:pt x="2164895" y="6866909"/>
                  <a:pt x="2164895" y="6866909"/>
                  <a:pt x="0" y="6866909"/>
                </a:cubicBezTo>
                <a:cubicBezTo>
                  <a:pt x="0" y="6866909"/>
                  <a:pt x="0" y="6866909"/>
                  <a:pt x="0" y="0"/>
                </a:cubicBezTo>
                <a:close/>
              </a:path>
            </a:pathLst>
          </a:custGeom>
        </p:spPr>
        <p:txBody>
          <a:bodyPr wrap="square">
            <a:noAutofit/>
          </a:bodyPr>
          <a:lstStyle/>
          <a:p>
            <a:endParaRPr lang="zh-CN" altLang="en-US"/>
          </a:p>
        </p:txBody>
      </p:sp>
      <p:sp>
        <p:nvSpPr>
          <p:cNvPr id="66" name="任意多边形: 形状 65">
            <a:extLst>
              <a:ext uri="{FF2B5EF4-FFF2-40B4-BE49-F238E27FC236}">
                <a16:creationId xmlns:a16="http://schemas.microsoft.com/office/drawing/2014/main" id="{9E1C5DA2-4F8B-48E1-A5AD-97BD81CAFB01}"/>
              </a:ext>
            </a:extLst>
          </p:cNvPr>
          <p:cNvSpPr>
            <a:spLocks/>
          </p:cNvSpPr>
          <p:nvPr userDrawn="1"/>
        </p:nvSpPr>
        <p:spPr bwMode="auto">
          <a:xfrm>
            <a:off x="0" y="-8909"/>
            <a:ext cx="146229" cy="6866909"/>
          </a:xfrm>
          <a:custGeom>
            <a:avLst/>
            <a:gdLst>
              <a:gd name="connsiteX0" fmla="*/ 0 w 146229"/>
              <a:gd name="connsiteY0" fmla="*/ 0 h 6866909"/>
              <a:gd name="connsiteX1" fmla="*/ 146229 w 146229"/>
              <a:gd name="connsiteY1" fmla="*/ 0 h 6866909"/>
              <a:gd name="connsiteX2" fmla="*/ 146229 w 146229"/>
              <a:gd name="connsiteY2" fmla="*/ 6866909 h 6866909"/>
              <a:gd name="connsiteX3" fmla="*/ 0 w 146229"/>
              <a:gd name="connsiteY3" fmla="*/ 6866909 h 6866909"/>
              <a:gd name="connsiteX4" fmla="*/ 0 w 146229"/>
              <a:gd name="connsiteY4" fmla="*/ 0 h 68669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229" h="6866909">
                <a:moveTo>
                  <a:pt x="0" y="0"/>
                </a:moveTo>
                <a:lnTo>
                  <a:pt x="146229" y="0"/>
                </a:lnTo>
                <a:cubicBezTo>
                  <a:pt x="146229" y="6866909"/>
                  <a:pt x="146229" y="6866909"/>
                  <a:pt x="146229" y="6866909"/>
                </a:cubicBezTo>
                <a:lnTo>
                  <a:pt x="0" y="6866909"/>
                </a:lnTo>
                <a:cubicBezTo>
                  <a:pt x="0" y="6866909"/>
                  <a:pt x="0" y="6866909"/>
                  <a:pt x="0" y="0"/>
                </a:cubicBezTo>
                <a:close/>
              </a:path>
            </a:pathLst>
          </a:custGeom>
          <a:solidFill>
            <a:srgbClr val="00AD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zh-CN" altLang="en-US"/>
          </a:p>
        </p:txBody>
      </p:sp>
      <p:sp>
        <p:nvSpPr>
          <p:cNvPr id="65" name="任意多边形: 形状 64">
            <a:extLst>
              <a:ext uri="{FF2B5EF4-FFF2-40B4-BE49-F238E27FC236}">
                <a16:creationId xmlns:a16="http://schemas.microsoft.com/office/drawing/2014/main" id="{38B3C36C-0FBE-4F43-B2A7-D03D74F471D6}"/>
              </a:ext>
            </a:extLst>
          </p:cNvPr>
          <p:cNvSpPr>
            <a:spLocks/>
          </p:cNvSpPr>
          <p:nvPr userDrawn="1"/>
        </p:nvSpPr>
        <p:spPr bwMode="auto">
          <a:xfrm>
            <a:off x="2490525" y="0"/>
            <a:ext cx="2946441" cy="6866909"/>
          </a:xfrm>
          <a:custGeom>
            <a:avLst/>
            <a:gdLst>
              <a:gd name="connsiteX0" fmla="*/ 2253196 w 2946441"/>
              <a:gd name="connsiteY0" fmla="*/ 0 h 6866909"/>
              <a:gd name="connsiteX1" fmla="*/ 2592682 w 2946441"/>
              <a:gd name="connsiteY1" fmla="*/ 0 h 6866909"/>
              <a:gd name="connsiteX2" fmla="*/ 2841680 w 2946441"/>
              <a:gd name="connsiteY2" fmla="*/ 103307 h 6866909"/>
              <a:gd name="connsiteX3" fmla="*/ 2841680 w 2946441"/>
              <a:gd name="connsiteY3" fmla="*/ 613768 h 6866909"/>
              <a:gd name="connsiteX4" fmla="*/ 485308 w 2946441"/>
              <a:gd name="connsiteY4" fmla="*/ 2971609 h 6866909"/>
              <a:gd name="connsiteX5" fmla="*/ 485308 w 2946441"/>
              <a:gd name="connsiteY5" fmla="*/ 3475993 h 6866909"/>
              <a:gd name="connsiteX6" fmla="*/ 1924638 w 2946441"/>
              <a:gd name="connsiteY6" fmla="*/ 4916221 h 6866909"/>
              <a:gd name="connsiteX7" fmla="*/ 1924638 w 2946441"/>
              <a:gd name="connsiteY7" fmla="*/ 5420605 h 6866909"/>
              <a:gd name="connsiteX8" fmla="*/ 588551 w 2946441"/>
              <a:gd name="connsiteY8" fmla="*/ 6763602 h 6866909"/>
              <a:gd name="connsiteX9" fmla="*/ 333479 w 2946441"/>
              <a:gd name="connsiteY9" fmla="*/ 6866909 h 6866909"/>
              <a:gd name="connsiteX10" fmla="*/ 42616 w 2946441"/>
              <a:gd name="connsiteY10" fmla="*/ 6866909 h 6866909"/>
              <a:gd name="connsiteX11" fmla="*/ 0 w 2946441"/>
              <a:gd name="connsiteY11" fmla="*/ 6866909 h 6866909"/>
              <a:gd name="connsiteX12" fmla="*/ 255079 w 2946441"/>
              <a:gd name="connsiteY12" fmla="*/ 6763602 h 6866909"/>
              <a:gd name="connsiteX13" fmla="*/ 1591205 w 2946441"/>
              <a:gd name="connsiteY13" fmla="*/ 5420605 h 6866909"/>
              <a:gd name="connsiteX14" fmla="*/ 1591205 w 2946441"/>
              <a:gd name="connsiteY14" fmla="*/ 4916221 h 6866909"/>
              <a:gd name="connsiteX15" fmla="*/ 151833 w 2946441"/>
              <a:gd name="connsiteY15" fmla="*/ 3475993 h 6866909"/>
              <a:gd name="connsiteX16" fmla="*/ 151833 w 2946441"/>
              <a:gd name="connsiteY16" fmla="*/ 2971609 h 6866909"/>
              <a:gd name="connsiteX17" fmla="*/ 2508274 w 2946441"/>
              <a:gd name="connsiteY17" fmla="*/ 613768 h 6866909"/>
              <a:gd name="connsiteX18" fmla="*/ 2508274 w 2946441"/>
              <a:gd name="connsiteY18" fmla="*/ 103307 h 6866909"/>
              <a:gd name="connsiteX19" fmla="*/ 2253196 w 2946441"/>
              <a:gd name="connsiteY19" fmla="*/ 0 h 68669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946441" h="6866909">
                <a:moveTo>
                  <a:pt x="2253196" y="0"/>
                </a:moveTo>
                <a:lnTo>
                  <a:pt x="2592682" y="0"/>
                </a:lnTo>
                <a:cubicBezTo>
                  <a:pt x="2683779" y="0"/>
                  <a:pt x="2774876" y="36461"/>
                  <a:pt x="2841680" y="103307"/>
                </a:cubicBezTo>
                <a:cubicBezTo>
                  <a:pt x="2981362" y="243076"/>
                  <a:pt x="2981362" y="473999"/>
                  <a:pt x="2841680" y="613768"/>
                </a:cubicBezTo>
                <a:cubicBezTo>
                  <a:pt x="2841680" y="613768"/>
                  <a:pt x="2841680" y="613768"/>
                  <a:pt x="485308" y="2971609"/>
                </a:cubicBezTo>
                <a:cubicBezTo>
                  <a:pt x="345626" y="3111378"/>
                  <a:pt x="345626" y="3336224"/>
                  <a:pt x="485308" y="3475993"/>
                </a:cubicBezTo>
                <a:cubicBezTo>
                  <a:pt x="485308" y="3475993"/>
                  <a:pt x="485308" y="3475993"/>
                  <a:pt x="1924638" y="4916221"/>
                </a:cubicBezTo>
                <a:cubicBezTo>
                  <a:pt x="2064320" y="5055990"/>
                  <a:pt x="2064320" y="5280836"/>
                  <a:pt x="1924638" y="5420605"/>
                </a:cubicBezTo>
                <a:cubicBezTo>
                  <a:pt x="1924638" y="5420605"/>
                  <a:pt x="1924638" y="5420605"/>
                  <a:pt x="588551" y="6763602"/>
                </a:cubicBezTo>
                <a:cubicBezTo>
                  <a:pt x="521746" y="6830448"/>
                  <a:pt x="430649" y="6866909"/>
                  <a:pt x="333479" y="6866909"/>
                </a:cubicBezTo>
                <a:cubicBezTo>
                  <a:pt x="333479" y="6866909"/>
                  <a:pt x="333479" y="6866909"/>
                  <a:pt x="42616" y="6866909"/>
                </a:cubicBezTo>
                <a:lnTo>
                  <a:pt x="0" y="6866909"/>
                </a:lnTo>
                <a:cubicBezTo>
                  <a:pt x="97173" y="6866909"/>
                  <a:pt x="188272" y="6830448"/>
                  <a:pt x="255079" y="6763602"/>
                </a:cubicBezTo>
                <a:cubicBezTo>
                  <a:pt x="1591205" y="5420605"/>
                  <a:pt x="1591205" y="5420605"/>
                  <a:pt x="1591205" y="5420605"/>
                </a:cubicBezTo>
                <a:cubicBezTo>
                  <a:pt x="1730891" y="5280836"/>
                  <a:pt x="1730891" y="5055990"/>
                  <a:pt x="1591205" y="4916221"/>
                </a:cubicBezTo>
                <a:cubicBezTo>
                  <a:pt x="151833" y="3475993"/>
                  <a:pt x="151833" y="3475993"/>
                  <a:pt x="151833" y="3475993"/>
                </a:cubicBezTo>
                <a:cubicBezTo>
                  <a:pt x="12147" y="3336224"/>
                  <a:pt x="12147" y="3111378"/>
                  <a:pt x="151833" y="2971609"/>
                </a:cubicBezTo>
                <a:cubicBezTo>
                  <a:pt x="2508274" y="613768"/>
                  <a:pt x="2508274" y="613768"/>
                  <a:pt x="2508274" y="613768"/>
                </a:cubicBezTo>
                <a:cubicBezTo>
                  <a:pt x="2647960" y="473999"/>
                  <a:pt x="2647960" y="243076"/>
                  <a:pt x="2508274" y="103307"/>
                </a:cubicBezTo>
                <a:cubicBezTo>
                  <a:pt x="2441468" y="36461"/>
                  <a:pt x="2350368" y="0"/>
                  <a:pt x="2253196" y="0"/>
                </a:cubicBezTo>
                <a:close/>
              </a:path>
            </a:pathLst>
          </a:custGeom>
          <a:solidFill>
            <a:srgbClr val="00AD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zh-CN" altLang="en-US"/>
          </a:p>
        </p:txBody>
      </p:sp>
      <p:sp>
        <p:nvSpPr>
          <p:cNvPr id="59" name="Freeform 52">
            <a:extLst>
              <a:ext uri="{FF2B5EF4-FFF2-40B4-BE49-F238E27FC236}">
                <a16:creationId xmlns:a16="http://schemas.microsoft.com/office/drawing/2014/main" id="{140CA74E-FF57-4DED-95E1-15757996C113}"/>
              </a:ext>
            </a:extLst>
          </p:cNvPr>
          <p:cNvSpPr>
            <a:spLocks/>
          </p:cNvSpPr>
          <p:nvPr userDrawn="1"/>
        </p:nvSpPr>
        <p:spPr bwMode="auto">
          <a:xfrm>
            <a:off x="3497795" y="6004160"/>
            <a:ext cx="1836635" cy="862751"/>
          </a:xfrm>
          <a:custGeom>
            <a:avLst/>
            <a:gdLst>
              <a:gd name="T0" fmla="*/ 302 w 302"/>
              <a:gd name="T1" fmla="*/ 142 h 142"/>
              <a:gd name="T2" fmla="*/ 173 w 302"/>
              <a:gd name="T3" fmla="*/ 12 h 142"/>
              <a:gd name="T4" fmla="*/ 129 w 302"/>
              <a:gd name="T5" fmla="*/ 12 h 142"/>
              <a:gd name="T6" fmla="*/ 0 w 302"/>
              <a:gd name="T7" fmla="*/ 142 h 142"/>
              <a:gd name="T8" fmla="*/ 302 w 302"/>
              <a:gd name="T9" fmla="*/ 142 h 142"/>
            </a:gdLst>
            <a:ahLst/>
            <a:cxnLst>
              <a:cxn ang="0">
                <a:pos x="T0" y="T1"/>
              </a:cxn>
              <a:cxn ang="0">
                <a:pos x="T2" y="T3"/>
              </a:cxn>
              <a:cxn ang="0">
                <a:pos x="T4" y="T5"/>
              </a:cxn>
              <a:cxn ang="0">
                <a:pos x="T6" y="T7"/>
              </a:cxn>
              <a:cxn ang="0">
                <a:pos x="T8" y="T9"/>
              </a:cxn>
            </a:cxnLst>
            <a:rect l="0" t="0" r="r" b="b"/>
            <a:pathLst>
              <a:path w="302" h="142">
                <a:moveTo>
                  <a:pt x="302" y="142"/>
                </a:moveTo>
                <a:cubicBezTo>
                  <a:pt x="173" y="12"/>
                  <a:pt x="173" y="12"/>
                  <a:pt x="173" y="12"/>
                </a:cubicBezTo>
                <a:cubicBezTo>
                  <a:pt x="161" y="0"/>
                  <a:pt x="142" y="0"/>
                  <a:pt x="129" y="12"/>
                </a:cubicBezTo>
                <a:cubicBezTo>
                  <a:pt x="0" y="142"/>
                  <a:pt x="0" y="142"/>
                  <a:pt x="0" y="142"/>
                </a:cubicBezTo>
                <a:lnTo>
                  <a:pt x="302" y="142"/>
                </a:lnTo>
                <a:close/>
              </a:path>
            </a:pathLst>
          </a:cu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58" name="Freeform 51">
            <a:extLst>
              <a:ext uri="{FF2B5EF4-FFF2-40B4-BE49-F238E27FC236}">
                <a16:creationId xmlns:a16="http://schemas.microsoft.com/office/drawing/2014/main" id="{8E35EC59-7131-4881-8A77-09EF54507C3F}"/>
              </a:ext>
            </a:extLst>
          </p:cNvPr>
          <p:cNvSpPr>
            <a:spLocks/>
          </p:cNvSpPr>
          <p:nvPr userDrawn="1"/>
        </p:nvSpPr>
        <p:spPr bwMode="auto">
          <a:xfrm>
            <a:off x="8940801" y="-1"/>
            <a:ext cx="1121717" cy="521688"/>
          </a:xfrm>
          <a:custGeom>
            <a:avLst/>
            <a:gdLst>
              <a:gd name="T0" fmla="*/ 0 w 303"/>
              <a:gd name="T1" fmla="*/ 0 h 141"/>
              <a:gd name="T2" fmla="*/ 130 w 303"/>
              <a:gd name="T3" fmla="*/ 129 h 141"/>
              <a:gd name="T4" fmla="*/ 173 w 303"/>
              <a:gd name="T5" fmla="*/ 129 h 141"/>
              <a:gd name="T6" fmla="*/ 303 w 303"/>
              <a:gd name="T7" fmla="*/ 0 h 141"/>
              <a:gd name="T8" fmla="*/ 0 w 303"/>
              <a:gd name="T9" fmla="*/ 0 h 141"/>
            </a:gdLst>
            <a:ahLst/>
            <a:cxnLst>
              <a:cxn ang="0">
                <a:pos x="T0" y="T1"/>
              </a:cxn>
              <a:cxn ang="0">
                <a:pos x="T2" y="T3"/>
              </a:cxn>
              <a:cxn ang="0">
                <a:pos x="T4" y="T5"/>
              </a:cxn>
              <a:cxn ang="0">
                <a:pos x="T6" y="T7"/>
              </a:cxn>
              <a:cxn ang="0">
                <a:pos x="T8" y="T9"/>
              </a:cxn>
            </a:cxnLst>
            <a:rect l="0" t="0" r="r" b="b"/>
            <a:pathLst>
              <a:path w="303" h="141">
                <a:moveTo>
                  <a:pt x="0" y="0"/>
                </a:moveTo>
                <a:cubicBezTo>
                  <a:pt x="130" y="129"/>
                  <a:pt x="130" y="129"/>
                  <a:pt x="130" y="129"/>
                </a:cubicBezTo>
                <a:cubicBezTo>
                  <a:pt x="142" y="141"/>
                  <a:pt x="161" y="141"/>
                  <a:pt x="173" y="129"/>
                </a:cubicBezTo>
                <a:cubicBezTo>
                  <a:pt x="303" y="0"/>
                  <a:pt x="303" y="0"/>
                  <a:pt x="303" y="0"/>
                </a:cubicBezTo>
                <a:lnTo>
                  <a:pt x="0" y="0"/>
                </a:lnTo>
                <a:close/>
              </a:path>
            </a:pathLst>
          </a:cu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60" name="Freeform 53">
            <a:extLst>
              <a:ext uri="{FF2B5EF4-FFF2-40B4-BE49-F238E27FC236}">
                <a16:creationId xmlns:a16="http://schemas.microsoft.com/office/drawing/2014/main" id="{2868BB98-B4DA-4E11-918C-DB7C8B50DAB3}"/>
              </a:ext>
            </a:extLst>
          </p:cNvPr>
          <p:cNvSpPr>
            <a:spLocks/>
          </p:cNvSpPr>
          <p:nvPr userDrawn="1"/>
        </p:nvSpPr>
        <p:spPr bwMode="auto">
          <a:xfrm>
            <a:off x="9417976" y="-1"/>
            <a:ext cx="2774025" cy="3876157"/>
          </a:xfrm>
          <a:custGeom>
            <a:avLst/>
            <a:gdLst>
              <a:gd name="T0" fmla="*/ 23 w 750"/>
              <a:gd name="T1" fmla="*/ 237 h 1048"/>
              <a:gd name="T2" fmla="*/ 243 w 750"/>
              <a:gd name="T3" fmla="*/ 17 h 1048"/>
              <a:gd name="T4" fmla="*/ 285 w 750"/>
              <a:gd name="T5" fmla="*/ 0 h 1048"/>
              <a:gd name="T6" fmla="*/ 750 w 750"/>
              <a:gd name="T7" fmla="*/ 0 h 1048"/>
              <a:gd name="T8" fmla="*/ 750 w 750"/>
              <a:gd name="T9" fmla="*/ 1048 h 1048"/>
              <a:gd name="T10" fmla="*/ 23 w 750"/>
              <a:gd name="T11" fmla="*/ 321 h 1048"/>
              <a:gd name="T12" fmla="*/ 23 w 750"/>
              <a:gd name="T13" fmla="*/ 237 h 1048"/>
            </a:gdLst>
            <a:ahLst/>
            <a:cxnLst>
              <a:cxn ang="0">
                <a:pos x="T0" y="T1"/>
              </a:cxn>
              <a:cxn ang="0">
                <a:pos x="T2" y="T3"/>
              </a:cxn>
              <a:cxn ang="0">
                <a:pos x="T4" y="T5"/>
              </a:cxn>
              <a:cxn ang="0">
                <a:pos x="T6" y="T7"/>
              </a:cxn>
              <a:cxn ang="0">
                <a:pos x="T8" y="T9"/>
              </a:cxn>
              <a:cxn ang="0">
                <a:pos x="T10" y="T11"/>
              </a:cxn>
              <a:cxn ang="0">
                <a:pos x="T12" y="T13"/>
              </a:cxn>
            </a:cxnLst>
            <a:rect l="0" t="0" r="r" b="b"/>
            <a:pathLst>
              <a:path w="750" h="1048">
                <a:moveTo>
                  <a:pt x="23" y="237"/>
                </a:moveTo>
                <a:cubicBezTo>
                  <a:pt x="243" y="17"/>
                  <a:pt x="243" y="17"/>
                  <a:pt x="243" y="17"/>
                </a:cubicBezTo>
                <a:cubicBezTo>
                  <a:pt x="254" y="6"/>
                  <a:pt x="269" y="0"/>
                  <a:pt x="285" y="0"/>
                </a:cubicBezTo>
                <a:cubicBezTo>
                  <a:pt x="750" y="0"/>
                  <a:pt x="750" y="0"/>
                  <a:pt x="750" y="0"/>
                </a:cubicBezTo>
                <a:cubicBezTo>
                  <a:pt x="750" y="1048"/>
                  <a:pt x="750" y="1048"/>
                  <a:pt x="750" y="1048"/>
                </a:cubicBezTo>
                <a:cubicBezTo>
                  <a:pt x="23" y="321"/>
                  <a:pt x="23" y="321"/>
                  <a:pt x="23" y="321"/>
                </a:cubicBezTo>
                <a:cubicBezTo>
                  <a:pt x="0" y="298"/>
                  <a:pt x="0" y="260"/>
                  <a:pt x="23" y="237"/>
                </a:cubicBezTo>
                <a:close/>
              </a:path>
            </a:pathLst>
          </a:custGeom>
          <a:solidFill>
            <a:srgbClr val="FFB53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64" name="椭圆 63">
            <a:extLst>
              <a:ext uri="{FF2B5EF4-FFF2-40B4-BE49-F238E27FC236}">
                <a16:creationId xmlns:a16="http://schemas.microsoft.com/office/drawing/2014/main" id="{9751308C-2CB1-459B-89DB-3A4531608854}"/>
              </a:ext>
            </a:extLst>
          </p:cNvPr>
          <p:cNvSpPr/>
          <p:nvPr userDrawn="1"/>
        </p:nvSpPr>
        <p:spPr>
          <a:xfrm>
            <a:off x="10062518" y="1675446"/>
            <a:ext cx="1279178" cy="127917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2" name="标题 1">
            <a:extLst>
              <a:ext uri="{FF2B5EF4-FFF2-40B4-BE49-F238E27FC236}">
                <a16:creationId xmlns:a16="http://schemas.microsoft.com/office/drawing/2014/main" id="{BFAEB5CF-34AC-49E0-88C9-BC61C99E740B}"/>
              </a:ext>
            </a:extLst>
          </p:cNvPr>
          <p:cNvSpPr>
            <a:spLocks noGrp="1"/>
          </p:cNvSpPr>
          <p:nvPr>
            <p:ph type="ctrTitle" hasCustomPrompt="1"/>
          </p:nvPr>
        </p:nvSpPr>
        <p:spPr>
          <a:xfrm>
            <a:off x="4475845" y="2368777"/>
            <a:ext cx="5426076" cy="1621509"/>
          </a:xfrm>
          <a:prstGeom prst="rect">
            <a:avLst/>
          </a:prstGeom>
        </p:spPr>
        <p:txBody>
          <a:bodyPr anchor="b">
            <a:normAutofit/>
          </a:bodyPr>
          <a:lstStyle>
            <a:lvl1pPr marL="0" indent="0" algn="l">
              <a:buFont typeface="Arial" panose="020B0604020202020204" pitchFamily="34" charset="0"/>
              <a:buNone/>
              <a:defRPr sz="3200">
                <a:solidFill>
                  <a:schemeClr val="tx1"/>
                </a:solidFill>
              </a:defRPr>
            </a:lvl1pPr>
          </a:lstStyle>
          <a:p>
            <a:r>
              <a:rPr lang="en-US" altLang="zh-CN" dirty="0"/>
              <a:t>Conclusion</a:t>
            </a:r>
            <a:endParaRPr lang="zh-CN" altLang="en-US" dirty="0"/>
          </a:p>
        </p:txBody>
      </p:sp>
      <p:sp>
        <p:nvSpPr>
          <p:cNvPr id="13" name="文本占位符 62">
            <a:extLst>
              <a:ext uri="{FF2B5EF4-FFF2-40B4-BE49-F238E27FC236}">
                <a16:creationId xmlns:a16="http://schemas.microsoft.com/office/drawing/2014/main" id="{E54A68FA-5892-4AED-9D99-BF7746D1E64F}"/>
              </a:ext>
            </a:extLst>
          </p:cNvPr>
          <p:cNvSpPr>
            <a:spLocks noGrp="1"/>
          </p:cNvSpPr>
          <p:nvPr>
            <p:ph type="body" sz="quarter" idx="18" hasCustomPrompt="1"/>
          </p:nvPr>
        </p:nvSpPr>
        <p:spPr>
          <a:xfrm>
            <a:off x="4475845" y="4675013"/>
            <a:ext cx="5426076" cy="310871"/>
          </a:xfrm>
          <a:prstGeom prst="rect">
            <a:avLst/>
          </a:prstGeom>
        </p:spPr>
        <p:txBody>
          <a:bodyPr vert="horz" lIns="91440" tIns="45720" rIns="91440" bIns="45720" rtlCol="0">
            <a:normAutofit/>
          </a:bodyPr>
          <a:lstStyle>
            <a:lvl1pPr marL="0" indent="0" algn="l">
              <a:buNone/>
              <a:defRPr lang="zh-CN" altLang="en-US" sz="1500" smtClean="0">
                <a:solidFill>
                  <a:schemeClr val="tx1"/>
                </a:solidFill>
              </a:defRPr>
            </a:lvl1pPr>
            <a:lvl2pPr>
              <a:defRPr lang="zh-CN" altLang="en-US" sz="2000" smtClean="0"/>
            </a:lvl2pPr>
            <a:lvl3pPr>
              <a:defRPr lang="zh-CN" altLang="en-US" sz="1800" smtClean="0"/>
            </a:lvl3pPr>
            <a:lvl4pPr>
              <a:defRPr lang="zh-CN" altLang="en-US" sz="1600" smtClean="0"/>
            </a:lvl4pPr>
            <a:lvl5pPr>
              <a:defRPr lang="zh-CN" altLang="en-US" sz="1600"/>
            </a:lvl5pPr>
          </a:lstStyle>
          <a:p>
            <a:pPr marL="228589" marR="0" lvl="0" indent="-228589" fontAlgn="auto">
              <a:spcAft>
                <a:spcPts val="0"/>
              </a:spcAft>
              <a:buClrTx/>
              <a:buSzTx/>
              <a:tabLst/>
            </a:pPr>
            <a:r>
              <a:rPr lang="en-US" altLang="zh-CN" dirty="0"/>
              <a:t>Data</a:t>
            </a:r>
          </a:p>
        </p:txBody>
      </p:sp>
      <p:sp>
        <p:nvSpPr>
          <p:cNvPr id="14" name="文本占位符 13">
            <a:extLst>
              <a:ext uri="{FF2B5EF4-FFF2-40B4-BE49-F238E27FC236}">
                <a16:creationId xmlns:a16="http://schemas.microsoft.com/office/drawing/2014/main" id="{897B519E-C472-4AAF-98C8-9ED2D16BEA05}"/>
              </a:ext>
            </a:extLst>
          </p:cNvPr>
          <p:cNvSpPr>
            <a:spLocks noGrp="1"/>
          </p:cNvSpPr>
          <p:nvPr>
            <p:ph type="body" sz="quarter" idx="10" hasCustomPrompt="1"/>
          </p:nvPr>
        </p:nvSpPr>
        <p:spPr>
          <a:xfrm>
            <a:off x="4475846" y="4378742"/>
            <a:ext cx="5426076" cy="296271"/>
          </a:xfrm>
          <a:prstGeom prst="rect">
            <a:avLst/>
          </a:prstGeom>
        </p:spPr>
        <p:txBody>
          <a:bodyPr vert="horz" anchor="ctr">
            <a:noAutofit/>
          </a:bodyPr>
          <a:lstStyle>
            <a:lvl1pPr marL="0" indent="0" algn="l">
              <a:buNone/>
              <a:defRPr sz="1500" b="0">
                <a:solidFill>
                  <a:schemeClr val="tx1"/>
                </a:solidFill>
              </a:defRPr>
            </a:lvl1pPr>
            <a:lvl2pPr marL="457177" indent="0">
              <a:buNone/>
              <a:defRPr/>
            </a:lvl2pPr>
            <a:lvl3pPr marL="914353" indent="0">
              <a:buNone/>
              <a:defRPr/>
            </a:lvl3pPr>
            <a:lvl4pPr marL="1371531" indent="0">
              <a:buNone/>
              <a:defRPr/>
            </a:lvl4pPr>
            <a:lvl5pPr marL="1828709" indent="0">
              <a:buNone/>
              <a:defRPr/>
            </a:lvl5pPr>
          </a:lstStyle>
          <a:p>
            <a:pPr lvl="0"/>
            <a:r>
              <a:rPr lang="en-US" altLang="zh-CN" dirty="0"/>
              <a:t>Signature</a:t>
            </a:r>
          </a:p>
        </p:txBody>
      </p:sp>
    </p:spTree>
    <p:extLst>
      <p:ext uri="{BB962C8B-B14F-4D97-AF65-F5344CB8AC3E}">
        <p14:creationId xmlns:p14="http://schemas.microsoft.com/office/powerpoint/2010/main" val="2378658405"/>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userDrawn="1">
  <p:cSld name="1_末尾幻灯片">
    <p:spTree>
      <p:nvGrpSpPr>
        <p:cNvPr id="1" name=""/>
        <p:cNvGrpSpPr/>
        <p:nvPr/>
      </p:nvGrpSpPr>
      <p:grpSpPr>
        <a:xfrm>
          <a:off x="0" y="0"/>
          <a:ext cx="0" cy="0"/>
          <a:chOff x="0" y="0"/>
          <a:chExt cx="0" cy="0"/>
        </a:xfrm>
      </p:grpSpPr>
      <p:sp>
        <p:nvSpPr>
          <p:cNvPr id="13" name="标题 1"/>
          <p:cNvSpPr>
            <a:spLocks noGrp="1"/>
          </p:cNvSpPr>
          <p:nvPr userDrawn="1">
            <p:ph type="ctrTitle" hasCustomPrompt="1"/>
          </p:nvPr>
        </p:nvSpPr>
        <p:spPr>
          <a:xfrm>
            <a:off x="3382963" y="1898655"/>
            <a:ext cx="5426076" cy="1621509"/>
          </a:xfrm>
        </p:spPr>
        <p:txBody>
          <a:bodyPr anchor="b">
            <a:normAutofit/>
          </a:bodyPr>
          <a:lstStyle>
            <a:lvl1pPr marL="0" indent="0" algn="ctr">
              <a:buFont typeface="Arial" panose="020B0604020202020204" pitchFamily="34" charset="0"/>
              <a:buNone/>
              <a:defRPr sz="2400">
                <a:solidFill>
                  <a:schemeClr val="tx1"/>
                </a:solidFill>
              </a:defRPr>
            </a:lvl1pPr>
          </a:lstStyle>
          <a:p>
            <a:r>
              <a:rPr lang="en-US" altLang="zh-CN" dirty="0"/>
              <a:t>Conclusion</a:t>
            </a:r>
            <a:endParaRPr lang="zh-CN" altLang="en-US" dirty="0"/>
          </a:p>
        </p:txBody>
      </p:sp>
      <p:sp>
        <p:nvSpPr>
          <p:cNvPr id="15" name="文本占位符 62"/>
          <p:cNvSpPr>
            <a:spLocks noGrp="1"/>
          </p:cNvSpPr>
          <p:nvPr userDrawn="1">
            <p:ph type="body" sz="quarter" idx="18" hasCustomPrompt="1"/>
          </p:nvPr>
        </p:nvSpPr>
        <p:spPr>
          <a:xfrm>
            <a:off x="3382963" y="4204891"/>
            <a:ext cx="5426076" cy="310871"/>
          </a:xfrm>
        </p:spPr>
        <p:txBody>
          <a:bodyPr vert="horz" lIns="91440" tIns="45720" rIns="91440" bIns="45720" rtlCol="0">
            <a:normAutofit/>
          </a:bodyPr>
          <a:lstStyle>
            <a:lvl1pPr marL="0" indent="0" algn="ctr">
              <a:buNone/>
              <a:defRPr lang="zh-CN" altLang="en-US" sz="1200" smtClean="0">
                <a:solidFill>
                  <a:schemeClr val="tx1"/>
                </a:solidFill>
              </a:defRPr>
            </a:lvl1pPr>
            <a:lvl2pPr>
              <a:defRPr lang="zh-CN" altLang="en-US" sz="1500" smtClean="0"/>
            </a:lvl2pPr>
            <a:lvl3pPr>
              <a:defRPr lang="zh-CN" altLang="en-US" sz="1350" smtClean="0"/>
            </a:lvl3pPr>
            <a:lvl4pPr>
              <a:defRPr lang="zh-CN" altLang="en-US" sz="1200" smtClean="0"/>
            </a:lvl4pPr>
            <a:lvl5pPr>
              <a:defRPr lang="zh-CN" altLang="en-US" sz="1200"/>
            </a:lvl5pPr>
          </a:lstStyle>
          <a:p>
            <a:pPr marL="171438" marR="0" lvl="0" indent="-171438" fontAlgn="auto">
              <a:spcAft>
                <a:spcPts val="0"/>
              </a:spcAft>
              <a:buClrTx/>
              <a:buSzTx/>
              <a:tabLst/>
            </a:pPr>
            <a:r>
              <a:rPr lang="en-US" altLang="zh-CN" dirty="0"/>
              <a:t>Data</a:t>
            </a:r>
          </a:p>
        </p:txBody>
      </p:sp>
      <p:sp>
        <p:nvSpPr>
          <p:cNvPr id="6" name="文本占位符 13">
            <a:extLst>
              <a:ext uri="{FF2B5EF4-FFF2-40B4-BE49-F238E27FC236}">
                <a16:creationId xmlns:a16="http://schemas.microsoft.com/office/drawing/2014/main" id="{05EBDA4F-7210-4CAE-8333-80DB24212E78}"/>
              </a:ext>
            </a:extLst>
          </p:cNvPr>
          <p:cNvSpPr>
            <a:spLocks noGrp="1"/>
          </p:cNvSpPr>
          <p:nvPr userDrawn="1">
            <p:ph type="body" sz="quarter" idx="10" hasCustomPrompt="1"/>
          </p:nvPr>
        </p:nvSpPr>
        <p:spPr>
          <a:xfrm>
            <a:off x="3382963" y="3908620"/>
            <a:ext cx="5426076" cy="296271"/>
          </a:xfrm>
        </p:spPr>
        <p:txBody>
          <a:bodyPr vert="horz" anchor="ctr">
            <a:noAutofit/>
          </a:bodyPr>
          <a:lstStyle>
            <a:lvl1pPr marL="0" indent="0" algn="ctr">
              <a:buNone/>
              <a:defRPr sz="1200" b="0">
                <a:solidFill>
                  <a:schemeClr val="tx1"/>
                </a:solidFill>
              </a:defRPr>
            </a:lvl1pPr>
            <a:lvl2pPr marL="342875" indent="0">
              <a:buNone/>
              <a:defRPr/>
            </a:lvl2pPr>
            <a:lvl3pPr marL="685748" indent="0">
              <a:buNone/>
              <a:defRPr/>
            </a:lvl3pPr>
            <a:lvl4pPr marL="1028622" indent="0">
              <a:buNone/>
              <a:defRPr/>
            </a:lvl4pPr>
            <a:lvl5pPr marL="1371498" indent="0">
              <a:buNone/>
              <a:defRPr/>
            </a:lvl5pPr>
          </a:lstStyle>
          <a:p>
            <a:pPr lvl="0"/>
            <a:r>
              <a:rPr lang="en-US" altLang="zh-CN" dirty="0"/>
              <a:t>Signature</a:t>
            </a:r>
          </a:p>
        </p:txBody>
      </p:sp>
      <p:grpSp>
        <p:nvGrpSpPr>
          <p:cNvPr id="2" name="组合 1">
            <a:extLst>
              <a:ext uri="{FF2B5EF4-FFF2-40B4-BE49-F238E27FC236}">
                <a16:creationId xmlns:a16="http://schemas.microsoft.com/office/drawing/2014/main" id="{17DBEE42-68ED-4279-BE26-6E01A69BBEF2}"/>
              </a:ext>
            </a:extLst>
          </p:cNvPr>
          <p:cNvGrpSpPr/>
          <p:nvPr userDrawn="1"/>
        </p:nvGrpSpPr>
        <p:grpSpPr>
          <a:xfrm flipH="1">
            <a:off x="-2" y="0"/>
            <a:ext cx="12192001" cy="6858000"/>
            <a:chOff x="-2" y="0"/>
            <a:chExt cx="9144001" cy="6858000"/>
          </a:xfrm>
        </p:grpSpPr>
        <p:sp>
          <p:nvSpPr>
            <p:cNvPr id="14" name="直角三角形 13">
              <a:extLst>
                <a:ext uri="{FF2B5EF4-FFF2-40B4-BE49-F238E27FC236}">
                  <a16:creationId xmlns:a16="http://schemas.microsoft.com/office/drawing/2014/main" id="{54ED6A62-0BAE-4923-A147-9B9B0AA8CC4B}"/>
                </a:ext>
              </a:extLst>
            </p:cNvPr>
            <p:cNvSpPr/>
            <p:nvPr userDrawn="1"/>
          </p:nvSpPr>
          <p:spPr>
            <a:xfrm flipV="1">
              <a:off x="-2" y="0"/>
              <a:ext cx="1737007" cy="1898651"/>
            </a:xfrm>
            <a:prstGeom prst="rtTriangl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sz="1800"/>
            </a:p>
          </p:txBody>
        </p:sp>
        <p:sp>
          <p:nvSpPr>
            <p:cNvPr id="16" name="任意多边形: 形状 15">
              <a:extLst>
                <a:ext uri="{FF2B5EF4-FFF2-40B4-BE49-F238E27FC236}">
                  <a16:creationId xmlns:a16="http://schemas.microsoft.com/office/drawing/2014/main" id="{A0486DD4-6EB4-4C04-B057-433CEA079B61}"/>
                </a:ext>
              </a:extLst>
            </p:cNvPr>
            <p:cNvSpPr/>
            <p:nvPr userDrawn="1"/>
          </p:nvSpPr>
          <p:spPr>
            <a:xfrm>
              <a:off x="0" y="1021740"/>
              <a:ext cx="3274370" cy="5836260"/>
            </a:xfrm>
            <a:custGeom>
              <a:avLst/>
              <a:gdLst>
                <a:gd name="connsiteX0" fmla="*/ 0 w 3274370"/>
                <a:gd name="connsiteY0" fmla="*/ 0 h 5836260"/>
                <a:gd name="connsiteX1" fmla="*/ 3274370 w 3274370"/>
                <a:gd name="connsiteY1" fmla="*/ 5836260 h 5836260"/>
                <a:gd name="connsiteX2" fmla="*/ 0 w 3274370"/>
                <a:gd name="connsiteY2" fmla="*/ 5836260 h 5836260"/>
              </a:gdLst>
              <a:ahLst/>
              <a:cxnLst>
                <a:cxn ang="0">
                  <a:pos x="connsiteX0" y="connsiteY0"/>
                </a:cxn>
                <a:cxn ang="0">
                  <a:pos x="connsiteX1" y="connsiteY1"/>
                </a:cxn>
                <a:cxn ang="0">
                  <a:pos x="connsiteX2" y="connsiteY2"/>
                </a:cxn>
              </a:cxnLst>
              <a:rect l="l" t="t" r="r" b="b"/>
              <a:pathLst>
                <a:path w="3274370" h="5836260">
                  <a:moveTo>
                    <a:pt x="0" y="0"/>
                  </a:moveTo>
                  <a:lnTo>
                    <a:pt x="3274370" y="5836260"/>
                  </a:lnTo>
                  <a:lnTo>
                    <a:pt x="0" y="583626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sz="1800" dirty="0"/>
            </a:p>
          </p:txBody>
        </p:sp>
        <p:grpSp>
          <p:nvGrpSpPr>
            <p:cNvPr id="17" name="组合 16">
              <a:extLst>
                <a:ext uri="{FF2B5EF4-FFF2-40B4-BE49-F238E27FC236}">
                  <a16:creationId xmlns:a16="http://schemas.microsoft.com/office/drawing/2014/main" id="{4853B012-5DAA-417E-97C6-16A07F531A55}"/>
                </a:ext>
              </a:extLst>
            </p:cNvPr>
            <p:cNvGrpSpPr/>
            <p:nvPr userDrawn="1"/>
          </p:nvGrpSpPr>
          <p:grpSpPr>
            <a:xfrm>
              <a:off x="5869631" y="3619734"/>
              <a:ext cx="3274368" cy="3238265"/>
              <a:chOff x="5407096" y="3162300"/>
              <a:chExt cx="3736903" cy="3695700"/>
            </a:xfrm>
          </p:grpSpPr>
          <p:sp>
            <p:nvSpPr>
              <p:cNvPr id="18" name="任意多边形: 形状 17">
                <a:extLst>
                  <a:ext uri="{FF2B5EF4-FFF2-40B4-BE49-F238E27FC236}">
                    <a16:creationId xmlns:a16="http://schemas.microsoft.com/office/drawing/2014/main" id="{5E2349C7-34AE-41BF-88F2-89A2543E53EC}"/>
                  </a:ext>
                </a:extLst>
              </p:cNvPr>
              <p:cNvSpPr/>
              <p:nvPr userDrawn="1"/>
            </p:nvSpPr>
            <p:spPr>
              <a:xfrm flipH="1">
                <a:off x="5407096" y="3162300"/>
                <a:ext cx="3736903" cy="3695700"/>
              </a:xfrm>
              <a:custGeom>
                <a:avLst/>
                <a:gdLst>
                  <a:gd name="connsiteX0" fmla="*/ 0 w 3736900"/>
                  <a:gd name="connsiteY0" fmla="*/ 0 h 3861022"/>
                  <a:gd name="connsiteX1" fmla="*/ 0 w 3736900"/>
                  <a:gd name="connsiteY1" fmla="*/ 3861022 h 3861022"/>
                  <a:gd name="connsiteX2" fmla="*/ 3736900 w 3736900"/>
                  <a:gd name="connsiteY2" fmla="*/ 3861022 h 3861022"/>
                </a:gdLst>
                <a:ahLst/>
                <a:cxnLst>
                  <a:cxn ang="0">
                    <a:pos x="connsiteX0" y="connsiteY0"/>
                  </a:cxn>
                  <a:cxn ang="0">
                    <a:pos x="connsiteX1" y="connsiteY1"/>
                  </a:cxn>
                  <a:cxn ang="0">
                    <a:pos x="connsiteX2" y="connsiteY2"/>
                  </a:cxn>
                </a:cxnLst>
                <a:rect l="l" t="t" r="r" b="b"/>
                <a:pathLst>
                  <a:path w="3736900" h="3861022">
                    <a:moveTo>
                      <a:pt x="0" y="0"/>
                    </a:moveTo>
                    <a:lnTo>
                      <a:pt x="0" y="3861022"/>
                    </a:lnTo>
                    <a:lnTo>
                      <a:pt x="3736900" y="3861022"/>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sz="1800"/>
              </a:p>
            </p:txBody>
          </p:sp>
          <p:sp>
            <p:nvSpPr>
              <p:cNvPr id="19" name="直角三角形 18">
                <a:extLst>
                  <a:ext uri="{FF2B5EF4-FFF2-40B4-BE49-F238E27FC236}">
                    <a16:creationId xmlns:a16="http://schemas.microsoft.com/office/drawing/2014/main" id="{6B70EC56-D07C-4952-9987-84F09E677805}"/>
                  </a:ext>
                </a:extLst>
              </p:cNvPr>
              <p:cNvSpPr/>
              <p:nvPr userDrawn="1"/>
            </p:nvSpPr>
            <p:spPr>
              <a:xfrm flipH="1">
                <a:off x="5617024" y="4019550"/>
                <a:ext cx="3526973" cy="2838450"/>
              </a:xfrm>
              <a:prstGeom prst="r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sz="1800"/>
              </a:p>
            </p:txBody>
          </p:sp>
        </p:grpSp>
        <p:cxnSp>
          <p:nvCxnSpPr>
            <p:cNvPr id="20" name="直接连接符 19">
              <a:extLst>
                <a:ext uri="{FF2B5EF4-FFF2-40B4-BE49-F238E27FC236}">
                  <a16:creationId xmlns:a16="http://schemas.microsoft.com/office/drawing/2014/main" id="{618FDB69-63B3-4AEB-AEBA-A85B662BA63B}"/>
                </a:ext>
              </a:extLst>
            </p:cNvPr>
            <p:cNvCxnSpPr>
              <a:cxnSpLocks/>
              <a:stCxn id="16" idx="0"/>
            </p:cNvCxnSpPr>
            <p:nvPr userDrawn="1"/>
          </p:nvCxnSpPr>
          <p:spPr>
            <a:xfrm>
              <a:off x="0" y="1021740"/>
              <a:ext cx="3484300" cy="583626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301383204"/>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8" name="标题占位符 1">
            <a:extLst>
              <a:ext uri="{FF2B5EF4-FFF2-40B4-BE49-F238E27FC236}">
                <a16:creationId xmlns:a16="http://schemas.microsoft.com/office/drawing/2014/main" id="{A3A308DC-D9A2-4CD1-A67D-C113A4C863ED}"/>
              </a:ext>
            </a:extLst>
          </p:cNvPr>
          <p:cNvSpPr>
            <a:spLocks noGrp="1"/>
          </p:cNvSpPr>
          <p:nvPr>
            <p:ph type="title"/>
          </p:nvPr>
        </p:nvSpPr>
        <p:spPr>
          <a:xfrm>
            <a:off x="669924" y="1"/>
            <a:ext cx="10850563" cy="1028699"/>
          </a:xfrm>
          <a:prstGeom prst="rect">
            <a:avLst/>
          </a:prstGeom>
        </p:spPr>
        <p:txBody>
          <a:bodyPr vert="horz" lIns="91440" tIns="45720" rIns="91440" bIns="45720" rtlCol="0" anchor="b">
            <a:normAutofit/>
          </a:bodyPr>
          <a:lstStyle/>
          <a:p>
            <a:r>
              <a:rPr lang="en-US" altLang="zh-CN" dirty="0"/>
              <a:t>Click to edit Master title style</a:t>
            </a:r>
            <a:endParaRPr lang="zh-CN" altLang="en-US" dirty="0"/>
          </a:p>
        </p:txBody>
      </p:sp>
      <p:sp>
        <p:nvSpPr>
          <p:cNvPr id="10" name="文本占位符 2">
            <a:extLst>
              <a:ext uri="{FF2B5EF4-FFF2-40B4-BE49-F238E27FC236}">
                <a16:creationId xmlns:a16="http://schemas.microsoft.com/office/drawing/2014/main" id="{91EBDFE1-4735-40CD-9A9A-D6CDB8908534}"/>
              </a:ext>
            </a:extLst>
          </p:cNvPr>
          <p:cNvSpPr>
            <a:spLocks noGrp="1"/>
          </p:cNvSpPr>
          <p:nvPr>
            <p:ph type="body" idx="1"/>
          </p:nvPr>
        </p:nvSpPr>
        <p:spPr>
          <a:xfrm>
            <a:off x="669924" y="1123950"/>
            <a:ext cx="10850563" cy="5019675"/>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zh-CN" altLang="en-US" dirty="0"/>
          </a:p>
        </p:txBody>
      </p:sp>
      <p:cxnSp>
        <p:nvCxnSpPr>
          <p:cNvPr id="11" name="直接连接符 10">
            <a:extLst>
              <a:ext uri="{FF2B5EF4-FFF2-40B4-BE49-F238E27FC236}">
                <a16:creationId xmlns:a16="http://schemas.microsoft.com/office/drawing/2014/main" id="{6A84999E-46D2-4DF8-B5CF-032EE8420F42}"/>
              </a:ext>
            </a:extLst>
          </p:cNvPr>
          <p:cNvCxnSpPr/>
          <p:nvPr userDrawn="1"/>
        </p:nvCxnSpPr>
        <p:spPr>
          <a:xfrm>
            <a:off x="669924" y="1028700"/>
            <a:ext cx="10850563" cy="0"/>
          </a:xfrm>
          <a:prstGeom prst="line">
            <a:avLst/>
          </a:prstGeom>
          <a:ln w="317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2" name="日期占位符 3">
            <a:extLst>
              <a:ext uri="{FF2B5EF4-FFF2-40B4-BE49-F238E27FC236}">
                <a16:creationId xmlns:a16="http://schemas.microsoft.com/office/drawing/2014/main" id="{2078AD44-CFA4-4130-BF7C-4419FB83BDE0}"/>
              </a:ext>
            </a:extLst>
          </p:cNvPr>
          <p:cNvSpPr>
            <a:spLocks noGrp="1"/>
          </p:cNvSpPr>
          <p:nvPr>
            <p:ph type="dt" sz="half" idx="2"/>
          </p:nvPr>
        </p:nvSpPr>
        <p:spPr>
          <a:xfrm>
            <a:off x="5401732" y="6240463"/>
            <a:ext cx="1388536" cy="206381"/>
          </a:xfrm>
          <a:prstGeom prst="rect">
            <a:avLst/>
          </a:prstGeom>
        </p:spPr>
        <p:txBody>
          <a:bodyPr vert="horz" lIns="91440" tIns="45720" rIns="91440" bIns="45720" rtlCol="0" anchor="ctr"/>
          <a:lstStyle>
            <a:lvl1pPr algn="ctr">
              <a:defRPr sz="1000">
                <a:solidFill>
                  <a:schemeClr val="tx1">
                    <a:lumMod val="50000"/>
                    <a:lumOff val="50000"/>
                  </a:schemeClr>
                </a:solidFill>
              </a:defRPr>
            </a:lvl1pPr>
          </a:lstStyle>
          <a:p>
            <a:fld id="{6489D9C7-5DC6-4263-87FF-7C99F6FB63C3}" type="datetime1">
              <a:rPr lang="zh-CN" altLang="en-US" smtClean="0"/>
              <a:pPr/>
              <a:t>2018/7/25</a:t>
            </a:fld>
            <a:endParaRPr lang="zh-CN" altLang="en-US"/>
          </a:p>
        </p:txBody>
      </p:sp>
      <p:sp>
        <p:nvSpPr>
          <p:cNvPr id="13" name="页脚占位符 4">
            <a:extLst>
              <a:ext uri="{FF2B5EF4-FFF2-40B4-BE49-F238E27FC236}">
                <a16:creationId xmlns:a16="http://schemas.microsoft.com/office/drawing/2014/main" id="{34C36216-262D-4DB0-A11F-8AB8BAF24643}"/>
              </a:ext>
            </a:extLst>
          </p:cNvPr>
          <p:cNvSpPr>
            <a:spLocks noGrp="1"/>
          </p:cNvSpPr>
          <p:nvPr>
            <p:ph type="ftr" sz="quarter" idx="3"/>
          </p:nvPr>
        </p:nvSpPr>
        <p:spPr>
          <a:xfrm>
            <a:off x="669924" y="6240463"/>
            <a:ext cx="4140201" cy="206381"/>
          </a:xfrm>
          <a:prstGeom prst="rect">
            <a:avLst/>
          </a:prstGeom>
        </p:spPr>
        <p:txBody>
          <a:bodyPr vert="horz" lIns="91440" tIns="45720" rIns="91440" bIns="45720" rtlCol="0" anchor="ctr"/>
          <a:lstStyle>
            <a:lvl1pPr algn="l">
              <a:defRPr sz="1000">
                <a:solidFill>
                  <a:schemeClr val="tx1">
                    <a:lumMod val="50000"/>
                    <a:lumOff val="50000"/>
                  </a:schemeClr>
                </a:solidFill>
              </a:defRPr>
            </a:lvl1pPr>
          </a:lstStyle>
          <a:p>
            <a:r>
              <a:rPr lang="en-US" altLang="zh-CN" dirty="0"/>
              <a:t>www.islide.cc</a:t>
            </a:r>
            <a:endParaRPr lang="zh-CN" altLang="en-US" dirty="0"/>
          </a:p>
        </p:txBody>
      </p:sp>
      <p:sp>
        <p:nvSpPr>
          <p:cNvPr id="14" name="灯片编号占位符 5">
            <a:extLst>
              <a:ext uri="{FF2B5EF4-FFF2-40B4-BE49-F238E27FC236}">
                <a16:creationId xmlns:a16="http://schemas.microsoft.com/office/drawing/2014/main" id="{CAE28F09-5D32-456A-984D-F19C5147AB8D}"/>
              </a:ext>
            </a:extLst>
          </p:cNvPr>
          <p:cNvSpPr>
            <a:spLocks noGrp="1"/>
          </p:cNvSpPr>
          <p:nvPr>
            <p:ph type="sldNum" sz="quarter" idx="4"/>
          </p:nvPr>
        </p:nvSpPr>
        <p:spPr>
          <a:xfrm>
            <a:off x="8610599" y="6240463"/>
            <a:ext cx="2909888" cy="206381"/>
          </a:xfrm>
          <a:prstGeom prst="rect">
            <a:avLst/>
          </a:prstGeom>
        </p:spPr>
        <p:txBody>
          <a:bodyPr vert="horz" lIns="91440" tIns="45720" rIns="91440" bIns="45720" rtlCol="0" anchor="ctr"/>
          <a:lstStyle>
            <a:lvl1pPr algn="r">
              <a:defRPr sz="1000">
                <a:solidFill>
                  <a:schemeClr val="tx1">
                    <a:lumMod val="50000"/>
                    <a:lumOff val="50000"/>
                  </a:schemeClr>
                </a:solidFill>
              </a:defRPr>
            </a:lvl1pPr>
          </a:lstStyle>
          <a:p>
            <a:fld id="{5DD3DB80-B894-403A-B48E-6FDC1A72010E}" type="slidenum">
              <a:rPr lang="zh-CN" altLang="en-US" smtClean="0"/>
              <a:pPr/>
              <a:t>‹#›</a:t>
            </a:fld>
            <a:endParaRPr lang="zh-CN" altLang="en-US"/>
          </a:p>
        </p:txBody>
      </p:sp>
    </p:spTree>
    <p:extLst>
      <p:ext uri="{BB962C8B-B14F-4D97-AF65-F5344CB8AC3E}">
        <p14:creationId xmlns:p14="http://schemas.microsoft.com/office/powerpoint/2010/main" val="3784027784"/>
      </p:ext>
    </p:extLst>
  </p:cSld>
  <p:clrMap bg1="lt1" tx1="dk1" bg2="lt2" tx2="dk2" accent1="accent1" accent2="accent2" accent3="accent3" accent4="accent4" accent5="accent5" accent6="accent6" hlink="hlink" folHlink="folHlink"/>
  <p:sldLayoutIdLst>
    <p:sldLayoutId id="2147483660" r:id="rId1"/>
    <p:sldLayoutId id="2147483651" r:id="rId2"/>
    <p:sldLayoutId id="2147483662" r:id="rId3"/>
    <p:sldLayoutId id="2147483663" r:id="rId4"/>
    <p:sldLayoutId id="2147483655" r:id="rId5"/>
    <p:sldLayoutId id="2147483661" r:id="rId6"/>
    <p:sldLayoutId id="2147483664" r:id="rId7"/>
  </p:sldLayoutIdLst>
  <p:hf hdr="0" dt="0"/>
  <p:txStyles>
    <p:titleStyle>
      <a:lvl1pPr algn="l" defTabSz="914354" rtl="0" eaLnBrk="1" latinLnBrk="0" hangingPunct="1">
        <a:lnSpc>
          <a:spcPct val="90000"/>
        </a:lnSpc>
        <a:spcBef>
          <a:spcPct val="0"/>
        </a:spcBef>
        <a:buNone/>
        <a:defRPr sz="2800" b="1" kern="1200">
          <a:solidFill>
            <a:schemeClr val="tx1"/>
          </a:solidFill>
          <a:latin typeface="+mj-lt"/>
          <a:ea typeface="+mj-ea"/>
          <a:cs typeface="+mj-cs"/>
        </a:defRPr>
      </a:lvl1pPr>
    </p:titleStyle>
    <p:bodyStyle>
      <a:lvl1pPr marL="228589" indent="-228589" algn="l" defTabSz="914354"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1pPr>
      <a:lvl2pPr marL="68576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2942" indent="-228589" algn="l" defTabSz="914354"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120" indent="-228589" algn="l" defTabSz="914354"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298" indent="-228589" algn="l" defTabSz="914354"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354" rtl="0" eaLnBrk="1" latinLnBrk="0" hangingPunct="1">
        <a:defRPr sz="1800" kern="1200">
          <a:solidFill>
            <a:schemeClr val="tx1"/>
          </a:solidFill>
          <a:latin typeface="+mn-lt"/>
          <a:ea typeface="+mn-ea"/>
          <a:cs typeface="+mn-cs"/>
        </a:defRPr>
      </a:lvl1pPr>
      <a:lvl2pPr marL="457178" algn="l" defTabSz="914354" rtl="0" eaLnBrk="1" latinLnBrk="0" hangingPunct="1">
        <a:defRPr sz="1800" kern="1200">
          <a:solidFill>
            <a:schemeClr val="tx1"/>
          </a:solidFill>
          <a:latin typeface="+mn-lt"/>
          <a:ea typeface="+mn-ea"/>
          <a:cs typeface="+mn-cs"/>
        </a:defRPr>
      </a:lvl2pPr>
      <a:lvl3pPr marL="914354" algn="l" defTabSz="914354" rtl="0" eaLnBrk="1" latinLnBrk="0" hangingPunct="1">
        <a:defRPr sz="1800" kern="1200">
          <a:solidFill>
            <a:schemeClr val="tx1"/>
          </a:solidFill>
          <a:latin typeface="+mn-lt"/>
          <a:ea typeface="+mn-ea"/>
          <a:cs typeface="+mn-cs"/>
        </a:defRPr>
      </a:lvl3pPr>
      <a:lvl4pPr marL="1371532" algn="l" defTabSz="914354" rtl="0" eaLnBrk="1" latinLnBrk="0" hangingPunct="1">
        <a:defRPr sz="1800" kern="1200">
          <a:solidFill>
            <a:schemeClr val="tx1"/>
          </a:solidFill>
          <a:latin typeface="+mn-lt"/>
          <a:ea typeface="+mn-ea"/>
          <a:cs typeface="+mn-cs"/>
        </a:defRPr>
      </a:lvl4pPr>
      <a:lvl5pPr marL="1828709" algn="l" defTabSz="914354" rtl="0" eaLnBrk="1" latinLnBrk="0" hangingPunct="1">
        <a:defRPr sz="1800" kern="1200">
          <a:solidFill>
            <a:schemeClr val="tx1"/>
          </a:solidFill>
          <a:latin typeface="+mn-lt"/>
          <a:ea typeface="+mn-ea"/>
          <a:cs typeface="+mn-cs"/>
        </a:defRPr>
      </a:lvl5pPr>
      <a:lvl6pPr marL="2285886" algn="l" defTabSz="914354" rtl="0" eaLnBrk="1" latinLnBrk="0" hangingPunct="1">
        <a:defRPr sz="1800" kern="1200">
          <a:solidFill>
            <a:schemeClr val="tx1"/>
          </a:solidFill>
          <a:latin typeface="+mn-lt"/>
          <a:ea typeface="+mn-ea"/>
          <a:cs typeface="+mn-cs"/>
        </a:defRPr>
      </a:lvl6pPr>
      <a:lvl7pPr marL="2743062" algn="l" defTabSz="914354" rtl="0" eaLnBrk="1" latinLnBrk="0" hangingPunct="1">
        <a:defRPr sz="1800" kern="1200">
          <a:solidFill>
            <a:schemeClr val="tx1"/>
          </a:solidFill>
          <a:latin typeface="+mn-lt"/>
          <a:ea typeface="+mn-ea"/>
          <a:cs typeface="+mn-cs"/>
        </a:defRPr>
      </a:lvl7pPr>
      <a:lvl8pPr marL="3200240" algn="l" defTabSz="914354" rtl="0" eaLnBrk="1" latinLnBrk="0" hangingPunct="1">
        <a:defRPr sz="1800" kern="1200">
          <a:solidFill>
            <a:schemeClr val="tx1"/>
          </a:solidFill>
          <a:latin typeface="+mn-lt"/>
          <a:ea typeface="+mn-ea"/>
          <a:cs typeface="+mn-cs"/>
        </a:defRPr>
      </a:lvl8pPr>
      <a:lvl9pPr marL="3657418" algn="l" defTabSz="914354"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415" userDrawn="1">
          <p15:clr>
            <a:srgbClr val="F26B43"/>
          </p15:clr>
        </p15:guide>
        <p15:guide id="2" pos="7257" userDrawn="1">
          <p15:clr>
            <a:srgbClr val="F26B43"/>
          </p15:clr>
        </p15:guide>
        <p15:guide id="3" orient="horz" pos="648" userDrawn="1">
          <p15:clr>
            <a:srgbClr val="F26B43"/>
          </p15:clr>
        </p15:guide>
        <p15:guide id="4" orient="horz" pos="708" userDrawn="1">
          <p15:clr>
            <a:srgbClr val="F26B43"/>
          </p15:clr>
        </p15:guide>
        <p15:guide id="5" orient="horz" pos="3931" userDrawn="1">
          <p15:clr>
            <a:srgbClr val="F26B43"/>
          </p15:clr>
        </p15:guide>
        <p15:guide id="6" orient="horz" pos="3870"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themeOverride" Target="../theme/themeOverride1.xml"/><Relationship Id="rId4" Type="http://schemas.openxmlformats.org/officeDocument/2006/relationships/image" Target="../media/image2.jpeg"/></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image" Target="../media/image10.jpeg"/><Relationship Id="rId1" Type="http://schemas.openxmlformats.org/officeDocument/2006/relationships/slideLayout" Target="../slideLayouts/slideLayout4.xml"/><Relationship Id="rId5" Type="http://schemas.openxmlformats.org/officeDocument/2006/relationships/image" Target="../media/image13.jpeg"/><Relationship Id="rId4" Type="http://schemas.openxmlformats.org/officeDocument/2006/relationships/image" Target="../media/image12.jpeg"/></Relationships>
</file>

<file path=ppt/slides/_rels/slide12.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8.xml"/><Relationship Id="rId1" Type="http://schemas.openxmlformats.org/officeDocument/2006/relationships/slideLayout" Target="../slideLayouts/slideLayout4.xml"/><Relationship Id="rId4" Type="http://schemas.openxmlformats.org/officeDocument/2006/relationships/image" Target="../media/image15.png"/></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0.xml"/><Relationship Id="rId1" Type="http://schemas.openxmlformats.org/officeDocument/2006/relationships/slideLayout" Target="../slideLayouts/slideLayout4.xml"/><Relationship Id="rId4" Type="http://schemas.openxmlformats.org/officeDocument/2006/relationships/image" Target="../media/image17.jpeg"/></Relationships>
</file>

<file path=ppt/slides/_rels/slide15.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11.xml"/><Relationship Id="rId1" Type="http://schemas.openxmlformats.org/officeDocument/2006/relationships/slideLayout" Target="../slideLayouts/slideLayout4.xml"/><Relationship Id="rId5" Type="http://schemas.openxmlformats.org/officeDocument/2006/relationships/image" Target="../media/image20.png"/><Relationship Id="rId4" Type="http://schemas.openxmlformats.org/officeDocument/2006/relationships/image" Target="../media/image19.jpeg"/></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4.xml"/><Relationship Id="rId1" Type="http://schemas.openxmlformats.org/officeDocument/2006/relationships/tags" Target="../tags/tag5.xml"/><Relationship Id="rId5" Type="http://schemas.openxmlformats.org/officeDocument/2006/relationships/image" Target="../media/image22.jpeg"/><Relationship Id="rId4" Type="http://schemas.openxmlformats.org/officeDocument/2006/relationships/image" Target="../media/image21.png"/></Relationships>
</file>

<file path=ppt/slides/_rels/slide17.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notesSlide" Target="../notesSlides/notesSlide13.xml"/><Relationship Id="rId1" Type="http://schemas.openxmlformats.org/officeDocument/2006/relationships/slideLayout" Target="../slideLayouts/slideLayout4.xml"/><Relationship Id="rId5" Type="http://schemas.openxmlformats.org/officeDocument/2006/relationships/image" Target="../media/image25.png"/><Relationship Id="rId4" Type="http://schemas.openxmlformats.org/officeDocument/2006/relationships/image" Target="../media/image24.png"/></Relationships>
</file>

<file path=ppt/slides/_rels/slide18.xml.rels><?xml version="1.0" encoding="UTF-8" standalone="yes"?>
<Relationships xmlns="http://schemas.openxmlformats.org/package/2006/relationships"><Relationship Id="rId3" Type="http://schemas.openxmlformats.org/officeDocument/2006/relationships/image" Target="../media/image26.jpeg"/><Relationship Id="rId2" Type="http://schemas.openxmlformats.org/officeDocument/2006/relationships/notesSlide" Target="../notesSlides/notesSlide14.xml"/><Relationship Id="rId1" Type="http://schemas.openxmlformats.org/officeDocument/2006/relationships/slideLayout" Target="../slideLayouts/slideLayout4.xml"/><Relationship Id="rId4" Type="http://schemas.openxmlformats.org/officeDocument/2006/relationships/image" Target="../media/image27.jpeg"/></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2.xml"/><Relationship Id="rId1" Type="http://schemas.openxmlformats.org/officeDocument/2006/relationships/themeOverride" Target="../theme/themeOverride2.xml"/></Relationships>
</file>

<file path=ppt/slides/_rels/slide20.xml.rels><?xml version="1.0" encoding="UTF-8" standalone="yes"?>
<Relationships xmlns="http://schemas.openxmlformats.org/package/2006/relationships"><Relationship Id="rId2" Type="http://schemas.openxmlformats.org/officeDocument/2006/relationships/slideLayout" Target="../slideLayouts/slideLayout4.xml"/><Relationship Id="rId1" Type="http://schemas.openxmlformats.org/officeDocument/2006/relationships/tags" Target="../tags/tag6.xml"/></Relationships>
</file>

<file path=ppt/slides/_rels/slide21.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png"/><Relationship Id="rId1" Type="http://schemas.openxmlformats.org/officeDocument/2006/relationships/slideLayout" Target="../slideLayouts/slideLayout4.xml"/><Relationship Id="rId5" Type="http://schemas.openxmlformats.org/officeDocument/2006/relationships/image" Target="../media/image31.png"/><Relationship Id="rId4" Type="http://schemas.openxmlformats.org/officeDocument/2006/relationships/image" Target="../media/image30.jpeg"/></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4.xml"/></Relationships>
</file>

<file path=ppt/slides/_rels/slide23.xml.rels><?xml version="1.0" encoding="UTF-8" standalone="yes"?>
<Relationships xmlns="http://schemas.openxmlformats.org/package/2006/relationships"><Relationship Id="rId3" Type="http://schemas.openxmlformats.org/officeDocument/2006/relationships/image" Target="../media/image33.jpeg"/><Relationship Id="rId2" Type="http://schemas.openxmlformats.org/officeDocument/2006/relationships/image" Target="../media/image32.png"/><Relationship Id="rId1" Type="http://schemas.openxmlformats.org/officeDocument/2006/relationships/slideLayout" Target="../slideLayouts/slideLayout4.xml"/><Relationship Id="rId4" Type="http://schemas.openxmlformats.org/officeDocument/2006/relationships/image" Target="../media/image34.png"/></Relationships>
</file>

<file path=ppt/slides/_rels/slide24.xml.rels><?xml version="1.0" encoding="UTF-8" standalone="yes"?>
<Relationships xmlns="http://schemas.openxmlformats.org/package/2006/relationships"><Relationship Id="rId3" Type="http://schemas.openxmlformats.org/officeDocument/2006/relationships/image" Target="../media/image36.jpg"/><Relationship Id="rId2" Type="http://schemas.openxmlformats.org/officeDocument/2006/relationships/image" Target="../media/image35.png"/><Relationship Id="rId1" Type="http://schemas.openxmlformats.org/officeDocument/2006/relationships/slideLayout" Target="../slideLayouts/slideLayout4.xml"/></Relationships>
</file>

<file path=ppt/slides/_rels/slide25.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17.xml"/><Relationship Id="rId1" Type="http://schemas.openxmlformats.org/officeDocument/2006/relationships/slideLayout" Target="../slideLayouts/slideLayout4.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4.xml"/></Relationships>
</file>

<file path=ppt/slides/_rels/slide27.xml.rels><?xml version="1.0" encoding="UTF-8" standalone="yes"?>
<Relationships xmlns="http://schemas.openxmlformats.org/package/2006/relationships"><Relationship Id="rId3" Type="http://schemas.openxmlformats.org/officeDocument/2006/relationships/image" Target="../media/image38.jpeg"/><Relationship Id="rId2" Type="http://schemas.openxmlformats.org/officeDocument/2006/relationships/image" Target="../media/image37.jpeg"/><Relationship Id="rId1" Type="http://schemas.openxmlformats.org/officeDocument/2006/relationships/slideLayout" Target="../slideLayouts/slideLayout4.xml"/><Relationship Id="rId4" Type="http://schemas.openxmlformats.org/officeDocument/2006/relationships/image" Target="../media/image39.jpeg"/></Relationships>
</file>

<file path=ppt/slides/_rels/slide28.xml.rels><?xml version="1.0" encoding="UTF-8" standalone="yes"?>
<Relationships xmlns="http://schemas.openxmlformats.org/package/2006/relationships"><Relationship Id="rId2" Type="http://schemas.openxmlformats.org/officeDocument/2006/relationships/slideLayout" Target="../slideLayouts/slideLayout4.xml"/><Relationship Id="rId1" Type="http://schemas.openxmlformats.org/officeDocument/2006/relationships/tags" Target="../tags/tag7.xml"/></Relationships>
</file>

<file path=ppt/slides/_rels/slide29.xml.rels><?xml version="1.0" encoding="UTF-8" standalone="yes"?>
<Relationships xmlns="http://schemas.openxmlformats.org/package/2006/relationships"><Relationship Id="rId2" Type="http://schemas.openxmlformats.org/officeDocument/2006/relationships/slideLayout" Target="../slideLayouts/slideLayout4.xml"/><Relationship Id="rId1" Type="http://schemas.openxmlformats.org/officeDocument/2006/relationships/tags" Target="../tags/tag8.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30.xml.rels><?xml version="1.0" encoding="UTF-8" standalone="yes"?>
<Relationships xmlns="http://schemas.openxmlformats.org/package/2006/relationships"><Relationship Id="rId2" Type="http://schemas.openxmlformats.org/officeDocument/2006/relationships/slideLayout" Target="../slideLayouts/slideLayout4.xml"/><Relationship Id="rId1" Type="http://schemas.openxmlformats.org/officeDocument/2006/relationships/tags" Target="../tags/tag9.xml"/></Relationships>
</file>

<file path=ppt/slides/_rels/slide31.xml.rels><?xml version="1.0" encoding="UTF-8" standalone="yes"?>
<Relationships xmlns="http://schemas.openxmlformats.org/package/2006/relationships"><Relationship Id="rId2" Type="http://schemas.openxmlformats.org/officeDocument/2006/relationships/slideLayout" Target="../slideLayouts/slideLayout4.xml"/><Relationship Id="rId1" Type="http://schemas.openxmlformats.org/officeDocument/2006/relationships/tags" Target="../tags/tag10.xml"/></Relationships>
</file>

<file path=ppt/slides/_rels/slide32.xml.rels><?xml version="1.0" encoding="UTF-8" standalone="yes"?>
<Relationships xmlns="http://schemas.openxmlformats.org/package/2006/relationships"><Relationship Id="rId2" Type="http://schemas.openxmlformats.org/officeDocument/2006/relationships/slideLayout" Target="../slideLayouts/slideLayout4.xml"/><Relationship Id="rId1" Type="http://schemas.openxmlformats.org/officeDocument/2006/relationships/tags" Target="../tags/tag11.xml"/></Relationships>
</file>

<file path=ppt/slides/_rels/slide33.xml.rels><?xml version="1.0" encoding="UTF-8" standalone="yes"?>
<Relationships xmlns="http://schemas.openxmlformats.org/package/2006/relationships"><Relationship Id="rId2" Type="http://schemas.openxmlformats.org/officeDocument/2006/relationships/chart" Target="../charts/chart2.xml"/><Relationship Id="rId1" Type="http://schemas.openxmlformats.org/officeDocument/2006/relationships/slideLayout" Target="../slideLayouts/slideLayout4.xml"/></Relationships>
</file>

<file path=ppt/slides/_rels/slide34.xml.rels><?xml version="1.0" encoding="UTF-8" standalone="yes"?>
<Relationships xmlns="http://schemas.openxmlformats.org/package/2006/relationships"><Relationship Id="rId3" Type="http://schemas.openxmlformats.org/officeDocument/2006/relationships/image" Target="../media/image40.jpeg"/><Relationship Id="rId2" Type="http://schemas.openxmlformats.org/officeDocument/2006/relationships/notesSlide" Target="../notesSlides/notesSlide19.xml"/><Relationship Id="rId1" Type="http://schemas.openxmlformats.org/officeDocument/2006/relationships/slideLayout" Target="../slideLayouts/slideLayout6.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slideLayout" Target="../slideLayouts/slideLayout4.xml"/><Relationship Id="rId1" Type="http://schemas.openxmlformats.org/officeDocument/2006/relationships/tags" Target="../tags/tag2.xml"/><Relationship Id="rId4" Type="http://schemas.openxmlformats.org/officeDocument/2006/relationships/image" Target="../media/image4.jpeg"/></Relationships>
</file>

<file path=ppt/slides/_rels/slide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Layout" Target="../slideLayouts/slideLayout4.xml"/><Relationship Id="rId5" Type="http://schemas.openxmlformats.org/officeDocument/2006/relationships/image" Target="../media/image8.jpeg"/><Relationship Id="rId4" Type="http://schemas.openxmlformats.org/officeDocument/2006/relationships/image" Target="../media/image7.png"/></Relationships>
</file>

<file path=ppt/slides/_rels/slide6.xml.rels><?xml version="1.0" encoding="UTF-8" standalone="yes"?>
<Relationships xmlns="http://schemas.openxmlformats.org/package/2006/relationships"><Relationship Id="rId3" Type="http://schemas.openxmlformats.org/officeDocument/2006/relationships/tags" Target="../tags/tag4.xml"/><Relationship Id="rId2" Type="http://schemas.openxmlformats.org/officeDocument/2006/relationships/tags" Target="../tags/tag3.xml"/><Relationship Id="rId1" Type="http://schemas.openxmlformats.org/officeDocument/2006/relationships/vmlDrawing" Target="../drawings/vmlDrawing1.vml"/><Relationship Id="rId6" Type="http://schemas.openxmlformats.org/officeDocument/2006/relationships/image" Target="../media/image9.emf"/><Relationship Id="rId5" Type="http://schemas.openxmlformats.org/officeDocument/2006/relationships/oleObject" Target="../embeddings/oleObject1.bin"/><Relationship Id="rId4"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6.xml"/><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文本框 20">
            <a:extLst>
              <a:ext uri="{FF2B5EF4-FFF2-40B4-BE49-F238E27FC236}">
                <a16:creationId xmlns:a16="http://schemas.microsoft.com/office/drawing/2014/main" id="{CA614439-BE79-4DD5-B998-190D717C7EB8}"/>
              </a:ext>
            </a:extLst>
          </p:cNvPr>
          <p:cNvSpPr txBox="1"/>
          <p:nvPr/>
        </p:nvSpPr>
        <p:spPr>
          <a:xfrm>
            <a:off x="1105812" y="5543578"/>
            <a:ext cx="2462104" cy="521419"/>
          </a:xfrm>
          <a:prstGeom prst="rect">
            <a:avLst/>
          </a:prstGeom>
          <a:noFill/>
        </p:spPr>
        <p:txBody>
          <a:bodyPr wrap="none" rtlCol="0">
            <a:prstTxWarp prst="textPlain">
              <a:avLst/>
            </a:prstTxWarp>
            <a:spAutoFit/>
          </a:bodyPr>
          <a:lstStyle/>
          <a:p>
            <a:r>
              <a:rPr lang="en-US" altLang="zh-CN" sz="16600" b="1" dirty="0">
                <a:solidFill>
                  <a:schemeClr val="bg1"/>
                </a:solidFill>
                <a:latin typeface="+mn-lt"/>
              </a:rPr>
              <a:t>REPORT</a:t>
            </a:r>
            <a:endParaRPr lang="zh-CN" altLang="en-US" sz="16600" b="1" dirty="0">
              <a:solidFill>
                <a:schemeClr val="bg1"/>
              </a:solidFill>
              <a:latin typeface="+mn-lt"/>
            </a:endParaRPr>
          </a:p>
        </p:txBody>
      </p:sp>
      <p:sp>
        <p:nvSpPr>
          <p:cNvPr id="22" name="矩形 21">
            <a:extLst>
              <a:ext uri="{FF2B5EF4-FFF2-40B4-BE49-F238E27FC236}">
                <a16:creationId xmlns:a16="http://schemas.microsoft.com/office/drawing/2014/main" id="{917E3518-E251-4E7B-9C88-524F00235DFD}"/>
              </a:ext>
            </a:extLst>
          </p:cNvPr>
          <p:cNvSpPr/>
          <p:nvPr/>
        </p:nvSpPr>
        <p:spPr>
          <a:xfrm>
            <a:off x="1105812" y="5217739"/>
            <a:ext cx="1203536" cy="184754"/>
          </a:xfrm>
          <a:prstGeom prst="rect">
            <a:avLst/>
          </a:prstGeom>
          <a:noFill/>
        </p:spPr>
        <p:txBody>
          <a:bodyPr wrap="none" numCol="1" rtlCol="0">
            <a:prstTxWarp prst="textPlain">
              <a:avLst/>
            </a:prstTxWarp>
            <a:spAutoFit/>
          </a:bodyPr>
          <a:lstStyle/>
          <a:p>
            <a:pPr lvl="0"/>
            <a:r>
              <a:rPr lang="en-US" altLang="zh-CN" sz="16600" noProof="0" dirty="0" smtClean="0">
                <a:solidFill>
                  <a:schemeClr val="bg1"/>
                </a:solidFill>
                <a:latin typeface="+mn-lt"/>
              </a:rPr>
              <a:t>SMT</a:t>
            </a:r>
            <a:endParaRPr lang="en-US" altLang="zh-CN" sz="16600" noProof="0" dirty="0">
              <a:solidFill>
                <a:schemeClr val="bg1"/>
              </a:solidFill>
              <a:latin typeface="+mn-lt"/>
            </a:endParaRPr>
          </a:p>
        </p:txBody>
      </p:sp>
      <p:sp>
        <p:nvSpPr>
          <p:cNvPr id="17" name="文本框 16">
            <a:extLst>
              <a:ext uri="{FF2B5EF4-FFF2-40B4-BE49-F238E27FC236}">
                <a16:creationId xmlns:a16="http://schemas.microsoft.com/office/drawing/2014/main" id="{29EFAEA8-A3B6-47E9-BF82-C40C9FDACB10}"/>
              </a:ext>
            </a:extLst>
          </p:cNvPr>
          <p:cNvSpPr txBox="1"/>
          <p:nvPr/>
        </p:nvSpPr>
        <p:spPr>
          <a:xfrm>
            <a:off x="2547853" y="5112124"/>
            <a:ext cx="945187" cy="349416"/>
          </a:xfrm>
          <a:prstGeom prst="rect">
            <a:avLst/>
          </a:prstGeom>
          <a:noFill/>
        </p:spPr>
        <p:txBody>
          <a:bodyPr wrap="none" rtlCol="0">
            <a:prstTxWarp prst="textPlain">
              <a:avLst/>
            </a:prstTxWarp>
            <a:spAutoFit/>
          </a:bodyPr>
          <a:lstStyle/>
          <a:p>
            <a:r>
              <a:rPr lang="en-US" altLang="zh-CN" sz="9600" dirty="0">
                <a:solidFill>
                  <a:schemeClr val="bg1"/>
                </a:solidFill>
                <a:latin typeface="Impact" panose="020B0806030902050204" pitchFamily="34" charset="0"/>
              </a:rPr>
              <a:t>2018</a:t>
            </a:r>
            <a:endParaRPr lang="zh-CN" altLang="en-US" sz="9600" dirty="0">
              <a:solidFill>
                <a:schemeClr val="bg1"/>
              </a:solidFill>
              <a:latin typeface="Impact" panose="020B0806030902050204" pitchFamily="34" charset="0"/>
            </a:endParaRPr>
          </a:p>
        </p:txBody>
      </p:sp>
      <p:cxnSp>
        <p:nvCxnSpPr>
          <p:cNvPr id="12" name="直接连接符 11">
            <a:extLst>
              <a:ext uri="{FF2B5EF4-FFF2-40B4-BE49-F238E27FC236}">
                <a16:creationId xmlns:a16="http://schemas.microsoft.com/office/drawing/2014/main" id="{B39867D7-FA11-4E96-8335-ED02191C2349}"/>
              </a:ext>
            </a:extLst>
          </p:cNvPr>
          <p:cNvCxnSpPr/>
          <p:nvPr/>
        </p:nvCxnSpPr>
        <p:spPr>
          <a:xfrm>
            <a:off x="1093334" y="5112124"/>
            <a:ext cx="1401372"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3" name="直接连接符 12">
            <a:extLst>
              <a:ext uri="{FF2B5EF4-FFF2-40B4-BE49-F238E27FC236}">
                <a16:creationId xmlns:a16="http://schemas.microsoft.com/office/drawing/2014/main" id="{1E6A353B-DD72-4658-8E5B-8F4C3880296B}"/>
              </a:ext>
            </a:extLst>
          </p:cNvPr>
          <p:cNvCxnSpPr/>
          <p:nvPr/>
        </p:nvCxnSpPr>
        <p:spPr>
          <a:xfrm>
            <a:off x="1093334" y="5461542"/>
            <a:ext cx="1401372"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4" name="椭圆 3">
            <a:extLst>
              <a:ext uri="{FF2B5EF4-FFF2-40B4-BE49-F238E27FC236}">
                <a16:creationId xmlns:a16="http://schemas.microsoft.com/office/drawing/2014/main" id="{9783870B-2270-46BD-B3F9-0C373B915E77}"/>
              </a:ext>
            </a:extLst>
          </p:cNvPr>
          <p:cNvSpPr/>
          <p:nvPr/>
        </p:nvSpPr>
        <p:spPr>
          <a:xfrm>
            <a:off x="10010814" y="4200336"/>
            <a:ext cx="1150294" cy="1150294"/>
          </a:xfrm>
          <a:prstGeom prst="ellipse">
            <a:avLst/>
          </a:prstGeom>
          <a:solidFill>
            <a:srgbClr val="FFB53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28" name="图片占位符 27" descr="图片包含 建筑物, 户外&#10;&#10;已生成极高可信度的说明">
            <a:extLst>
              <a:ext uri="{FF2B5EF4-FFF2-40B4-BE49-F238E27FC236}">
                <a16:creationId xmlns:a16="http://schemas.microsoft.com/office/drawing/2014/main" id="{754D53DA-93DA-4BFA-A28E-433A5DB033C9}"/>
              </a:ext>
            </a:extLst>
          </p:cNvPr>
          <p:cNvPicPr>
            <a:picLocks noGrp="1" noChangeAspect="1"/>
          </p:cNvPicPr>
          <p:nvPr>
            <p:ph type="pic" sz="quarter" idx="12"/>
          </p:nvPr>
        </p:nvPicPr>
        <p:blipFill rotWithShape="1">
          <a:blip r:embed="rId4" cstate="email">
            <a:extLst>
              <a:ext uri="{28A0092B-C50C-407E-A947-70E740481C1C}">
                <a14:useLocalDpi xmlns:a14="http://schemas.microsoft.com/office/drawing/2010/main"/>
              </a:ext>
            </a:extLst>
          </a:blip>
          <a:srcRect/>
          <a:stretch/>
        </p:blipFill>
        <p:spPr/>
      </p:pic>
      <p:sp>
        <p:nvSpPr>
          <p:cNvPr id="20" name="椭圆 19">
            <a:extLst/>
          </p:cNvPr>
          <p:cNvSpPr/>
          <p:nvPr/>
        </p:nvSpPr>
        <p:spPr>
          <a:xfrm>
            <a:off x="1070757" y="2283148"/>
            <a:ext cx="1150294" cy="1150294"/>
          </a:xfrm>
          <a:prstGeom prst="ellipse">
            <a:avLst/>
          </a:prstGeom>
          <a:solidFill>
            <a:schemeClr val="bg1">
              <a:lumMod val="95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b"/>
          <a:lstStyle/>
          <a:p>
            <a:pPr algn="ctr"/>
            <a:r>
              <a:rPr lang="en-US" altLang="zh-CN" sz="3200" dirty="0" smtClean="0">
                <a:solidFill>
                  <a:schemeClr val="bg1">
                    <a:lumMod val="65000"/>
                  </a:schemeClr>
                </a:solidFill>
                <a:latin typeface="Impact" panose="020B0806030902050204" pitchFamily="34" charset="0"/>
              </a:rPr>
              <a:t>JIMI</a:t>
            </a:r>
            <a:endParaRPr lang="en-US" altLang="zh-CN" sz="3200" dirty="0">
              <a:solidFill>
                <a:schemeClr val="bg1">
                  <a:lumMod val="65000"/>
                </a:schemeClr>
              </a:solidFill>
              <a:latin typeface="Impact" panose="020B0806030902050204" pitchFamily="34" charset="0"/>
            </a:endParaRPr>
          </a:p>
          <a:p>
            <a:pPr algn="ctr"/>
            <a:endParaRPr lang="zh-CN" altLang="en-US" sz="700" dirty="0">
              <a:solidFill>
                <a:schemeClr val="bg1">
                  <a:lumMod val="65000"/>
                </a:schemeClr>
              </a:solidFill>
              <a:latin typeface="Impact" panose="020B0806030902050204" pitchFamily="34" charset="0"/>
            </a:endParaRPr>
          </a:p>
        </p:txBody>
      </p:sp>
      <p:sp>
        <p:nvSpPr>
          <p:cNvPr id="23" name="副标题 4">
            <a:extLst>
              <a:ext uri="{FF2B5EF4-FFF2-40B4-BE49-F238E27FC236}">
                <a16:creationId xmlns:a16="http://schemas.microsoft.com/office/drawing/2014/main" id="{3AA8C298-3BAB-4B26-9478-AADE848F037C}"/>
              </a:ext>
            </a:extLst>
          </p:cNvPr>
          <p:cNvSpPr>
            <a:spLocks noGrp="1"/>
          </p:cNvSpPr>
          <p:nvPr>
            <p:ph type="subTitle" idx="1"/>
          </p:nvPr>
        </p:nvSpPr>
        <p:spPr>
          <a:xfrm>
            <a:off x="3845397" y="3979808"/>
            <a:ext cx="5430120" cy="558799"/>
          </a:xfrm>
        </p:spPr>
        <p:txBody>
          <a:bodyPr/>
          <a:lstStyle/>
          <a:p>
            <a:pPr algn="r"/>
            <a:r>
              <a:rPr lang="en-US" altLang="zh-CN" dirty="0" smtClean="0">
                <a:solidFill>
                  <a:schemeClr val="tx2"/>
                </a:solidFill>
              </a:rPr>
              <a:t>--</a:t>
            </a:r>
            <a:r>
              <a:rPr lang="zh-CN" altLang="en-US" dirty="0" smtClean="0">
                <a:solidFill>
                  <a:schemeClr val="tx2"/>
                </a:solidFill>
              </a:rPr>
              <a:t>几米物联自动化部</a:t>
            </a:r>
            <a:endParaRPr lang="en-US" dirty="0">
              <a:solidFill>
                <a:schemeClr val="tx2"/>
              </a:solidFill>
            </a:endParaRPr>
          </a:p>
        </p:txBody>
      </p:sp>
      <p:sp>
        <p:nvSpPr>
          <p:cNvPr id="24" name="标题 3">
            <a:extLst>
              <a:ext uri="{FF2B5EF4-FFF2-40B4-BE49-F238E27FC236}">
                <a16:creationId xmlns:a16="http://schemas.microsoft.com/office/drawing/2014/main" id="{5A0523BD-6589-42CF-9DC2-F4EB1CFAB751}"/>
              </a:ext>
            </a:extLst>
          </p:cNvPr>
          <p:cNvSpPr>
            <a:spLocks noGrp="1"/>
          </p:cNvSpPr>
          <p:nvPr>
            <p:ph type="ctrTitle"/>
          </p:nvPr>
        </p:nvSpPr>
        <p:spPr>
          <a:xfrm>
            <a:off x="3845397" y="2648511"/>
            <a:ext cx="5430120" cy="1331298"/>
          </a:xfrm>
        </p:spPr>
        <p:txBody>
          <a:bodyPr>
            <a:normAutofit/>
          </a:bodyPr>
          <a:lstStyle/>
          <a:p>
            <a:r>
              <a:rPr lang="en-US" altLang="zh-CN" dirty="0" smtClean="0">
                <a:latin typeface="黑体" panose="02010609060101010101" pitchFamily="49" charset="-122"/>
                <a:ea typeface="黑体" panose="02010609060101010101" pitchFamily="49" charset="-122"/>
              </a:rPr>
              <a:t>SMT</a:t>
            </a:r>
            <a:r>
              <a:rPr lang="zh-CN" altLang="en-US" dirty="0" smtClean="0">
                <a:latin typeface="黑体" panose="02010609060101010101" pitchFamily="49" charset="-122"/>
                <a:ea typeface="黑体" panose="02010609060101010101" pitchFamily="49" charset="-122"/>
              </a:rPr>
              <a:t>防错料系统</a:t>
            </a:r>
            <a:endParaRPr lang="zh-CN" altLang="en-US" dirty="0"/>
          </a:p>
        </p:txBody>
      </p:sp>
    </p:spTree>
    <p:extLst>
      <p:ext uri="{BB962C8B-B14F-4D97-AF65-F5344CB8AC3E}">
        <p14:creationId xmlns:p14="http://schemas.microsoft.com/office/powerpoint/2010/main" val="2271741893"/>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E7A4CF6E-436E-4275-AFD6-F9F19476909F}"/>
              </a:ext>
            </a:extLst>
          </p:cNvPr>
          <p:cNvSpPr>
            <a:spLocks noGrp="1"/>
          </p:cNvSpPr>
          <p:nvPr>
            <p:ph type="title"/>
          </p:nvPr>
        </p:nvSpPr>
        <p:spPr/>
        <p:txBody>
          <a:bodyPr/>
          <a:lstStyle/>
          <a:p>
            <a:r>
              <a:rPr lang="en-US" altLang="zh-CN" dirty="0" smtClean="0"/>
              <a:t>SMT</a:t>
            </a:r>
            <a:r>
              <a:rPr lang="zh-CN" altLang="en-US" dirty="0" smtClean="0"/>
              <a:t>防错料系统结构</a:t>
            </a:r>
            <a:endParaRPr lang="zh-CN" altLang="en-US" dirty="0"/>
          </a:p>
        </p:txBody>
      </p:sp>
      <p:sp>
        <p:nvSpPr>
          <p:cNvPr id="6" name="iṩḻïďé">
            <a:extLst>
              <a:ext uri="{FF2B5EF4-FFF2-40B4-BE49-F238E27FC236}">
                <a16:creationId xmlns:a16="http://schemas.microsoft.com/office/drawing/2014/main" id="{99509F24-FAD5-46DB-9DA4-C6D269E7C03F}"/>
              </a:ext>
            </a:extLst>
          </p:cNvPr>
          <p:cNvSpPr/>
          <p:nvPr/>
        </p:nvSpPr>
        <p:spPr bwMode="auto">
          <a:xfrm>
            <a:off x="4854565" y="2661655"/>
            <a:ext cx="2514304" cy="2107992"/>
          </a:xfrm>
          <a:prstGeom prst="hexagon">
            <a:avLst>
              <a:gd name="adj" fmla="val 29819"/>
              <a:gd name="vf" fmla="val 115470"/>
            </a:avLst>
          </a:prstGeom>
          <a:solidFill>
            <a:schemeClr val="hlink"/>
          </a:solidFill>
          <a:ln>
            <a:noFill/>
          </a:ln>
          <a:effectLst/>
          <a:extLst>
            <a:ext uri="{91240B29-F687-4F45-9708-019B960494DF}">
              <a14:hiddenLine xmlns:a14="http://schemas.microsoft.com/office/drawing/2010/main" w="25400">
                <a:solidFill>
                  <a:schemeClr val="accent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lvl1pPr>
              <a:defRPr sz="1300" b="1">
                <a:solidFill>
                  <a:srgbClr val="000000"/>
                </a:solidFill>
              </a:defRPr>
            </a:lvl1pPr>
            <a:lvl2pPr marL="742950" indent="-285750">
              <a:defRPr sz="1300" b="1">
                <a:solidFill>
                  <a:srgbClr val="000000"/>
                </a:solidFill>
              </a:defRPr>
            </a:lvl2pPr>
            <a:lvl3pPr marL="1143000" indent="-228600">
              <a:defRPr sz="1300" b="1">
                <a:solidFill>
                  <a:srgbClr val="000000"/>
                </a:solidFill>
              </a:defRPr>
            </a:lvl3pPr>
            <a:lvl4pPr marL="1600200" indent="-228600">
              <a:defRPr sz="1300" b="1">
                <a:solidFill>
                  <a:srgbClr val="000000"/>
                </a:solidFill>
              </a:defRPr>
            </a:lvl4pPr>
            <a:lvl5pPr marL="2057400" indent="-228600">
              <a:defRPr sz="1300" b="1">
                <a:solidFill>
                  <a:srgbClr val="000000"/>
                </a:solidFill>
              </a:defRPr>
            </a:lvl5pPr>
            <a:lvl6pPr marL="2514600" indent="-228600" eaLnBrk="0" fontAlgn="base" hangingPunct="0">
              <a:spcBef>
                <a:spcPct val="0"/>
              </a:spcBef>
              <a:spcAft>
                <a:spcPct val="0"/>
              </a:spcAft>
              <a:defRPr sz="1300" b="1">
                <a:solidFill>
                  <a:srgbClr val="000000"/>
                </a:solidFill>
              </a:defRPr>
            </a:lvl6pPr>
            <a:lvl7pPr marL="2971800" indent="-228600" eaLnBrk="0" fontAlgn="base" hangingPunct="0">
              <a:spcBef>
                <a:spcPct val="0"/>
              </a:spcBef>
              <a:spcAft>
                <a:spcPct val="0"/>
              </a:spcAft>
              <a:defRPr sz="1300" b="1">
                <a:solidFill>
                  <a:srgbClr val="000000"/>
                </a:solidFill>
              </a:defRPr>
            </a:lvl7pPr>
            <a:lvl8pPr marL="3429000" indent="-228600" eaLnBrk="0" fontAlgn="base" hangingPunct="0">
              <a:spcBef>
                <a:spcPct val="0"/>
              </a:spcBef>
              <a:spcAft>
                <a:spcPct val="0"/>
              </a:spcAft>
              <a:defRPr sz="1300" b="1">
                <a:solidFill>
                  <a:srgbClr val="000000"/>
                </a:solidFill>
              </a:defRPr>
            </a:lvl8pPr>
            <a:lvl9pPr marL="3886200" indent="-228600" eaLnBrk="0" fontAlgn="base" hangingPunct="0">
              <a:spcBef>
                <a:spcPct val="0"/>
              </a:spcBef>
              <a:spcAft>
                <a:spcPct val="0"/>
              </a:spcAft>
              <a:defRPr sz="1300" b="1">
                <a:solidFill>
                  <a:srgbClr val="000000"/>
                </a:solidFill>
              </a:defRPr>
            </a:lvl9pPr>
          </a:lstStyle>
          <a:p>
            <a:endParaRPr lang="zh-CN" altLang="en-US"/>
          </a:p>
        </p:txBody>
      </p:sp>
      <p:sp>
        <p:nvSpPr>
          <p:cNvPr id="7" name="iṡliḑé">
            <a:extLst>
              <a:ext uri="{FF2B5EF4-FFF2-40B4-BE49-F238E27FC236}">
                <a16:creationId xmlns:a16="http://schemas.microsoft.com/office/drawing/2014/main" id="{EF1A45EA-7966-4BC8-822E-73B9EDF3CE4D}"/>
              </a:ext>
            </a:extLst>
          </p:cNvPr>
          <p:cNvSpPr/>
          <p:nvPr/>
        </p:nvSpPr>
        <p:spPr bwMode="auto">
          <a:xfrm>
            <a:off x="6763426" y="1754495"/>
            <a:ext cx="4757062" cy="901126"/>
          </a:xfrm>
          <a:custGeom>
            <a:avLst/>
            <a:gdLst>
              <a:gd name="T0" fmla="*/ 0 w 2365"/>
              <a:gd name="T1" fmla="*/ 2147483646 h 448"/>
              <a:gd name="T2" fmla="*/ 2147483646 w 2365"/>
              <a:gd name="T3" fmla="*/ 0 h 448"/>
              <a:gd name="T4" fmla="*/ 2147483646 w 2365"/>
              <a:gd name="T5" fmla="*/ 0 h 448"/>
              <a:gd name="T6" fmla="*/ 0 60000 65536"/>
              <a:gd name="T7" fmla="*/ 0 60000 65536"/>
              <a:gd name="T8" fmla="*/ 0 60000 65536"/>
            </a:gdLst>
            <a:ahLst/>
            <a:cxnLst>
              <a:cxn ang="T6">
                <a:pos x="T0" y="T1"/>
              </a:cxn>
              <a:cxn ang="T7">
                <a:pos x="T2" y="T3"/>
              </a:cxn>
              <a:cxn ang="T8">
                <a:pos x="T4" y="T5"/>
              </a:cxn>
            </a:cxnLst>
            <a:rect l="0" t="0" r="r" b="b"/>
            <a:pathLst>
              <a:path w="2365" h="448">
                <a:moveTo>
                  <a:pt x="0" y="448"/>
                </a:moveTo>
                <a:lnTo>
                  <a:pt x="349" y="0"/>
                </a:lnTo>
                <a:lnTo>
                  <a:pt x="2365" y="0"/>
                </a:lnTo>
              </a:path>
            </a:pathLst>
          </a:custGeom>
          <a:noFill/>
          <a:ln w="22225" cap="flat" cmpd="sng">
            <a:solidFill>
              <a:schemeClr val="bg1">
                <a:lumMod val="75000"/>
              </a:schemeClr>
            </a:solidFill>
            <a:prstDash val="solid"/>
            <a:round/>
            <a:headEnd type="triangle" w="med" len="lg"/>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endParaRPr lang="zh-CN" altLang="en-US"/>
          </a:p>
        </p:txBody>
      </p:sp>
      <p:sp>
        <p:nvSpPr>
          <p:cNvPr id="8" name="íśľîḍè">
            <a:extLst>
              <a:ext uri="{FF2B5EF4-FFF2-40B4-BE49-F238E27FC236}">
                <a16:creationId xmlns:a16="http://schemas.microsoft.com/office/drawing/2014/main" id="{BF9ACD96-D480-4F44-8E7F-418A45438160}"/>
              </a:ext>
            </a:extLst>
          </p:cNvPr>
          <p:cNvSpPr/>
          <p:nvPr/>
        </p:nvSpPr>
        <p:spPr bwMode="auto">
          <a:xfrm flipH="1">
            <a:off x="696913" y="3717663"/>
            <a:ext cx="4149607" cy="0"/>
          </a:xfrm>
          <a:prstGeom prst="line">
            <a:avLst/>
          </a:prstGeom>
          <a:noFill/>
          <a:ln w="22225">
            <a:solidFill>
              <a:schemeClr val="bg1">
                <a:lumMod val="75000"/>
              </a:schemeClr>
            </a:solidFill>
            <a:round/>
            <a:headEnd type="triangle" w="med" len="lg"/>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endParaRPr lang="zh-CN" altLang="en-US"/>
          </a:p>
        </p:txBody>
      </p:sp>
      <p:sp>
        <p:nvSpPr>
          <p:cNvPr id="9" name="isḻîḋe">
            <a:extLst>
              <a:ext uri="{FF2B5EF4-FFF2-40B4-BE49-F238E27FC236}">
                <a16:creationId xmlns:a16="http://schemas.microsoft.com/office/drawing/2014/main" id="{0526EF74-282B-4B0B-B33F-ECB29E99713A}"/>
              </a:ext>
            </a:extLst>
          </p:cNvPr>
          <p:cNvSpPr/>
          <p:nvPr/>
        </p:nvSpPr>
        <p:spPr bwMode="auto">
          <a:xfrm flipH="1">
            <a:off x="696913" y="1754495"/>
            <a:ext cx="4757062" cy="901126"/>
          </a:xfrm>
          <a:custGeom>
            <a:avLst/>
            <a:gdLst>
              <a:gd name="T0" fmla="*/ 0 w 2365"/>
              <a:gd name="T1" fmla="*/ 2147483646 h 448"/>
              <a:gd name="T2" fmla="*/ 2147483646 w 2365"/>
              <a:gd name="T3" fmla="*/ 0 h 448"/>
              <a:gd name="T4" fmla="*/ 2147483646 w 2365"/>
              <a:gd name="T5" fmla="*/ 0 h 448"/>
              <a:gd name="T6" fmla="*/ 0 60000 65536"/>
              <a:gd name="T7" fmla="*/ 0 60000 65536"/>
              <a:gd name="T8" fmla="*/ 0 60000 65536"/>
            </a:gdLst>
            <a:ahLst/>
            <a:cxnLst>
              <a:cxn ang="T6">
                <a:pos x="T0" y="T1"/>
              </a:cxn>
              <a:cxn ang="T7">
                <a:pos x="T2" y="T3"/>
              </a:cxn>
              <a:cxn ang="T8">
                <a:pos x="T4" y="T5"/>
              </a:cxn>
            </a:cxnLst>
            <a:rect l="0" t="0" r="r" b="b"/>
            <a:pathLst>
              <a:path w="2365" h="448">
                <a:moveTo>
                  <a:pt x="0" y="448"/>
                </a:moveTo>
                <a:lnTo>
                  <a:pt x="349" y="0"/>
                </a:lnTo>
                <a:lnTo>
                  <a:pt x="2365" y="0"/>
                </a:lnTo>
              </a:path>
            </a:pathLst>
          </a:custGeom>
          <a:noFill/>
          <a:ln w="22225" cap="flat" cmpd="sng">
            <a:solidFill>
              <a:schemeClr val="bg1">
                <a:lumMod val="75000"/>
              </a:schemeClr>
            </a:solidFill>
            <a:prstDash val="solid"/>
            <a:round/>
            <a:headEnd type="triangle" w="med" len="lg"/>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endParaRPr lang="zh-CN" altLang="en-US"/>
          </a:p>
        </p:txBody>
      </p:sp>
      <p:sp>
        <p:nvSpPr>
          <p:cNvPr id="10" name="ïṡliḋe">
            <a:extLst>
              <a:ext uri="{FF2B5EF4-FFF2-40B4-BE49-F238E27FC236}">
                <a16:creationId xmlns:a16="http://schemas.microsoft.com/office/drawing/2014/main" id="{11342F74-C5A2-4935-8104-42A54CF450A7}"/>
              </a:ext>
            </a:extLst>
          </p:cNvPr>
          <p:cNvSpPr/>
          <p:nvPr/>
        </p:nvSpPr>
        <p:spPr bwMode="auto">
          <a:xfrm flipV="1">
            <a:off x="6763426" y="4771660"/>
            <a:ext cx="4757062" cy="901126"/>
          </a:xfrm>
          <a:custGeom>
            <a:avLst/>
            <a:gdLst>
              <a:gd name="T0" fmla="*/ 0 w 2365"/>
              <a:gd name="T1" fmla="*/ 2147483646 h 448"/>
              <a:gd name="T2" fmla="*/ 2147483646 w 2365"/>
              <a:gd name="T3" fmla="*/ 0 h 448"/>
              <a:gd name="T4" fmla="*/ 2147483646 w 2365"/>
              <a:gd name="T5" fmla="*/ 0 h 448"/>
              <a:gd name="T6" fmla="*/ 0 60000 65536"/>
              <a:gd name="T7" fmla="*/ 0 60000 65536"/>
              <a:gd name="T8" fmla="*/ 0 60000 65536"/>
            </a:gdLst>
            <a:ahLst/>
            <a:cxnLst>
              <a:cxn ang="T6">
                <a:pos x="T0" y="T1"/>
              </a:cxn>
              <a:cxn ang="T7">
                <a:pos x="T2" y="T3"/>
              </a:cxn>
              <a:cxn ang="T8">
                <a:pos x="T4" y="T5"/>
              </a:cxn>
            </a:cxnLst>
            <a:rect l="0" t="0" r="r" b="b"/>
            <a:pathLst>
              <a:path w="2365" h="448">
                <a:moveTo>
                  <a:pt x="0" y="448"/>
                </a:moveTo>
                <a:lnTo>
                  <a:pt x="349" y="0"/>
                </a:lnTo>
                <a:lnTo>
                  <a:pt x="2365" y="0"/>
                </a:lnTo>
              </a:path>
            </a:pathLst>
          </a:custGeom>
          <a:noFill/>
          <a:ln w="22225" cap="flat" cmpd="sng">
            <a:solidFill>
              <a:schemeClr val="bg1">
                <a:lumMod val="75000"/>
              </a:schemeClr>
            </a:solidFill>
            <a:prstDash val="solid"/>
            <a:round/>
            <a:headEnd type="triangle" w="med" len="lg"/>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endParaRPr lang="zh-CN" altLang="en-US"/>
          </a:p>
        </p:txBody>
      </p:sp>
      <p:sp>
        <p:nvSpPr>
          <p:cNvPr id="11" name="işḷiḓê">
            <a:extLst>
              <a:ext uri="{FF2B5EF4-FFF2-40B4-BE49-F238E27FC236}">
                <a16:creationId xmlns:a16="http://schemas.microsoft.com/office/drawing/2014/main" id="{C6FA7F57-DBD4-4E58-8B1F-48CF149FC646}"/>
              </a:ext>
            </a:extLst>
          </p:cNvPr>
          <p:cNvSpPr/>
          <p:nvPr/>
        </p:nvSpPr>
        <p:spPr bwMode="auto">
          <a:xfrm flipH="1" flipV="1">
            <a:off x="696913" y="4771660"/>
            <a:ext cx="4757062" cy="901126"/>
          </a:xfrm>
          <a:custGeom>
            <a:avLst/>
            <a:gdLst>
              <a:gd name="T0" fmla="*/ 0 w 2365"/>
              <a:gd name="T1" fmla="*/ 2147483646 h 448"/>
              <a:gd name="T2" fmla="*/ 2147483646 w 2365"/>
              <a:gd name="T3" fmla="*/ 0 h 448"/>
              <a:gd name="T4" fmla="*/ 2147483646 w 2365"/>
              <a:gd name="T5" fmla="*/ 0 h 448"/>
              <a:gd name="T6" fmla="*/ 0 60000 65536"/>
              <a:gd name="T7" fmla="*/ 0 60000 65536"/>
              <a:gd name="T8" fmla="*/ 0 60000 65536"/>
            </a:gdLst>
            <a:ahLst/>
            <a:cxnLst>
              <a:cxn ang="T6">
                <a:pos x="T0" y="T1"/>
              </a:cxn>
              <a:cxn ang="T7">
                <a:pos x="T2" y="T3"/>
              </a:cxn>
              <a:cxn ang="T8">
                <a:pos x="T4" y="T5"/>
              </a:cxn>
            </a:cxnLst>
            <a:rect l="0" t="0" r="r" b="b"/>
            <a:pathLst>
              <a:path w="2365" h="448">
                <a:moveTo>
                  <a:pt x="0" y="448"/>
                </a:moveTo>
                <a:lnTo>
                  <a:pt x="349" y="0"/>
                </a:lnTo>
                <a:lnTo>
                  <a:pt x="2365" y="0"/>
                </a:lnTo>
              </a:path>
            </a:pathLst>
          </a:custGeom>
          <a:noFill/>
          <a:ln w="22225" cap="flat" cmpd="sng">
            <a:solidFill>
              <a:schemeClr val="bg1">
                <a:lumMod val="75000"/>
              </a:schemeClr>
            </a:solidFill>
            <a:prstDash val="solid"/>
            <a:round/>
            <a:headEnd type="triangle" w="med" len="lg"/>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endParaRPr lang="zh-CN" altLang="en-US"/>
          </a:p>
        </p:txBody>
      </p:sp>
      <p:sp>
        <p:nvSpPr>
          <p:cNvPr id="12" name="íṡḷïḍê">
            <a:extLst>
              <a:ext uri="{FF2B5EF4-FFF2-40B4-BE49-F238E27FC236}">
                <a16:creationId xmlns:a16="http://schemas.microsoft.com/office/drawing/2014/main" id="{6706807B-E1E7-4D69-B2A1-688DA62A0256}"/>
              </a:ext>
            </a:extLst>
          </p:cNvPr>
          <p:cNvSpPr/>
          <p:nvPr/>
        </p:nvSpPr>
        <p:spPr bwMode="auto">
          <a:xfrm>
            <a:off x="7370881" y="3717663"/>
            <a:ext cx="4149607" cy="0"/>
          </a:xfrm>
          <a:prstGeom prst="line">
            <a:avLst/>
          </a:prstGeom>
          <a:noFill/>
          <a:ln w="22225">
            <a:solidFill>
              <a:schemeClr val="bg1">
                <a:lumMod val="75000"/>
              </a:schemeClr>
            </a:solidFill>
            <a:round/>
            <a:headEnd type="triangle" w="med" len="lg"/>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endParaRPr lang="zh-CN" altLang="en-US"/>
          </a:p>
        </p:txBody>
      </p:sp>
      <p:sp>
        <p:nvSpPr>
          <p:cNvPr id="26" name="iŝḷîdè">
            <a:extLst>
              <a:ext uri="{FF2B5EF4-FFF2-40B4-BE49-F238E27FC236}">
                <a16:creationId xmlns:a16="http://schemas.microsoft.com/office/drawing/2014/main" id="{51CA1981-DC97-416F-B172-E80B79AE3F24}"/>
              </a:ext>
            </a:extLst>
          </p:cNvPr>
          <p:cNvSpPr/>
          <p:nvPr/>
        </p:nvSpPr>
        <p:spPr>
          <a:xfrm>
            <a:off x="5619143" y="3231037"/>
            <a:ext cx="1033897" cy="407772"/>
          </a:xfrm>
          <a:prstGeom prst="rect">
            <a:avLst/>
          </a:prstGeom>
        </p:spPr>
        <p:txBody>
          <a:bodyPr wrap="none">
            <a:prstTxWarp prst="textPlain">
              <a:avLst/>
            </a:prstTxWarp>
            <a:spAutoFit/>
          </a:bodyPr>
          <a:lstStyle/>
          <a:p>
            <a:pPr algn="ctr"/>
            <a:r>
              <a:rPr lang="en-US" altLang="zh-CN" sz="3200" b="1" dirty="0" smtClean="0">
                <a:solidFill>
                  <a:schemeClr val="bg1"/>
                </a:solidFill>
              </a:rPr>
              <a:t>SMT</a:t>
            </a:r>
            <a:endParaRPr lang="en-US" altLang="zh-CN" sz="3200" b="1" dirty="0">
              <a:solidFill>
                <a:schemeClr val="bg1"/>
              </a:solidFill>
            </a:endParaRPr>
          </a:p>
        </p:txBody>
      </p:sp>
      <p:sp>
        <p:nvSpPr>
          <p:cNvPr id="27" name="îṣḻíḓè">
            <a:extLst>
              <a:ext uri="{FF2B5EF4-FFF2-40B4-BE49-F238E27FC236}">
                <a16:creationId xmlns:a16="http://schemas.microsoft.com/office/drawing/2014/main" id="{4F2A5462-B36D-4886-9852-AE3CB43FEC32}"/>
              </a:ext>
            </a:extLst>
          </p:cNvPr>
          <p:cNvSpPr txBox="1"/>
          <p:nvPr/>
        </p:nvSpPr>
        <p:spPr bwMode="auto">
          <a:xfrm>
            <a:off x="5520988" y="3646132"/>
            <a:ext cx="1181458" cy="4192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0000" tIns="46800" rIns="90000" bIns="46800" anchor="ctr">
            <a:normAutofit/>
          </a:bodyPr>
          <a:lstStyle>
            <a:defPPr>
              <a:defRPr lang="zh-CN"/>
            </a:defPPr>
            <a:lvl1pPr>
              <a:lnSpc>
                <a:spcPct val="100000"/>
              </a:lnSpc>
              <a:spcBef>
                <a:spcPct val="0"/>
              </a:spcBef>
              <a:buFontTx/>
              <a:buNone/>
              <a:defRPr b="1">
                <a:solidFill>
                  <a:schemeClr val="accent2"/>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algn="ctr"/>
            <a:r>
              <a:rPr lang="zh-CN" altLang="en-US" sz="2000" dirty="0">
                <a:solidFill>
                  <a:schemeClr val="bg1"/>
                </a:solidFill>
              </a:rPr>
              <a:t>防错</a:t>
            </a:r>
            <a:r>
              <a:rPr lang="zh-CN" altLang="en-US" sz="2000" dirty="0" smtClean="0">
                <a:solidFill>
                  <a:schemeClr val="bg1"/>
                </a:solidFill>
              </a:rPr>
              <a:t>料系统</a:t>
            </a:r>
            <a:endParaRPr lang="en-US" altLang="zh-CN" sz="2000" dirty="0">
              <a:solidFill>
                <a:schemeClr val="bg1"/>
              </a:solidFill>
            </a:endParaRPr>
          </a:p>
        </p:txBody>
      </p:sp>
      <p:sp>
        <p:nvSpPr>
          <p:cNvPr id="14" name="íṣlîďé">
            <a:extLst>
              <a:ext uri="{FF2B5EF4-FFF2-40B4-BE49-F238E27FC236}">
                <a16:creationId xmlns:a16="http://schemas.microsoft.com/office/drawing/2014/main" id="{5401B95A-D9B5-49CF-B3A3-4D578B6AC23D}"/>
              </a:ext>
            </a:extLst>
          </p:cNvPr>
          <p:cNvSpPr txBox="1"/>
          <p:nvPr/>
        </p:nvSpPr>
        <p:spPr bwMode="auto">
          <a:xfrm>
            <a:off x="679358" y="1283636"/>
            <a:ext cx="3707200" cy="4128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0000" tIns="46800" rIns="90000" bIns="46800">
            <a:no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eaLnBrk="1" hangingPunct="1">
              <a:lnSpc>
                <a:spcPct val="100000"/>
              </a:lnSpc>
              <a:spcBef>
                <a:spcPct val="0"/>
              </a:spcBef>
              <a:buFontTx/>
              <a:buNone/>
            </a:pPr>
            <a:r>
              <a:rPr lang="zh-CN" altLang="en-US" sz="2800" b="1" dirty="0" smtClean="0"/>
              <a:t>后台管理系统</a:t>
            </a:r>
            <a:endParaRPr lang="en-US" altLang="zh-CN" sz="2800" b="1" dirty="0"/>
          </a:p>
        </p:txBody>
      </p:sp>
      <p:sp>
        <p:nvSpPr>
          <p:cNvPr id="15" name="íS1idé">
            <a:extLst>
              <a:ext uri="{FF2B5EF4-FFF2-40B4-BE49-F238E27FC236}">
                <a16:creationId xmlns:a16="http://schemas.microsoft.com/office/drawing/2014/main" id="{2744D442-F069-419C-A014-778A7B92F037}"/>
              </a:ext>
            </a:extLst>
          </p:cNvPr>
          <p:cNvSpPr/>
          <p:nvPr/>
        </p:nvSpPr>
        <p:spPr bwMode="auto">
          <a:xfrm>
            <a:off x="679358" y="1754496"/>
            <a:ext cx="1742612" cy="765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0000" tIns="46800" rIns="90000" bIns="46800" anchor="t" anchorCtr="0">
            <a:no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marL="171450" indent="-171450">
              <a:lnSpc>
                <a:spcPct val="160000"/>
              </a:lnSpc>
              <a:buFont typeface="Arial" panose="020B0604020202020204" pitchFamily="34" charset="0"/>
              <a:buChar char="•"/>
            </a:pPr>
            <a:r>
              <a:rPr lang="zh-CN" altLang="en-US" sz="1400" dirty="0" smtClean="0"/>
              <a:t>用户管理</a:t>
            </a:r>
            <a:r>
              <a:rPr lang="en-US" altLang="zh-CN" sz="1400" dirty="0" smtClean="0"/>
              <a:t>.</a:t>
            </a:r>
            <a:endParaRPr lang="en-US" altLang="zh-CN" sz="1400" dirty="0"/>
          </a:p>
          <a:p>
            <a:pPr marL="171450" indent="-171450">
              <a:lnSpc>
                <a:spcPct val="160000"/>
              </a:lnSpc>
              <a:buFont typeface="Arial" panose="020B0604020202020204" pitchFamily="34" charset="0"/>
              <a:buChar char="•"/>
            </a:pPr>
            <a:r>
              <a:rPr lang="zh-CN" altLang="en-US" sz="1400" dirty="0"/>
              <a:t>站位</a:t>
            </a:r>
            <a:r>
              <a:rPr lang="zh-CN" altLang="en-US" sz="1400" dirty="0" smtClean="0"/>
              <a:t>表管理</a:t>
            </a:r>
            <a:endParaRPr lang="en-US" altLang="zh-CN" sz="1400" dirty="0"/>
          </a:p>
        </p:txBody>
      </p:sp>
      <p:sp>
        <p:nvSpPr>
          <p:cNvPr id="16" name="î$ļíde">
            <a:extLst>
              <a:ext uri="{FF2B5EF4-FFF2-40B4-BE49-F238E27FC236}">
                <a16:creationId xmlns:a16="http://schemas.microsoft.com/office/drawing/2014/main" id="{C92E397B-DDBC-4A55-A7A8-AA8634DFC974}"/>
              </a:ext>
            </a:extLst>
          </p:cNvPr>
          <p:cNvSpPr txBox="1"/>
          <p:nvPr/>
        </p:nvSpPr>
        <p:spPr bwMode="auto">
          <a:xfrm>
            <a:off x="7813288" y="1283636"/>
            <a:ext cx="3707200" cy="4128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0000" tIns="46800" rIns="90000" bIns="46800">
            <a:no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algn="r" eaLnBrk="1" hangingPunct="1">
              <a:lnSpc>
                <a:spcPct val="100000"/>
              </a:lnSpc>
              <a:spcBef>
                <a:spcPct val="0"/>
              </a:spcBef>
              <a:buFontTx/>
              <a:buNone/>
            </a:pPr>
            <a:r>
              <a:rPr lang="zh-CN" altLang="en-US" sz="2800" b="1" dirty="0" smtClean="0"/>
              <a:t>仓库料盘标签打印系统</a:t>
            </a:r>
            <a:endParaRPr lang="en-US" altLang="zh-CN" sz="2800" b="1" dirty="0"/>
          </a:p>
        </p:txBody>
      </p:sp>
      <p:sp>
        <p:nvSpPr>
          <p:cNvPr id="17" name="íśļiḍé">
            <a:extLst>
              <a:ext uri="{FF2B5EF4-FFF2-40B4-BE49-F238E27FC236}">
                <a16:creationId xmlns:a16="http://schemas.microsoft.com/office/drawing/2014/main" id="{882CDBF2-DA2D-4767-A7B9-775683F15196}"/>
              </a:ext>
            </a:extLst>
          </p:cNvPr>
          <p:cNvSpPr/>
          <p:nvPr/>
        </p:nvSpPr>
        <p:spPr bwMode="auto">
          <a:xfrm>
            <a:off x="7813288" y="1754496"/>
            <a:ext cx="3707200" cy="765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0000" tIns="46800" rIns="90000" bIns="46800" anchor="t" anchorCtr="0">
            <a:no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marL="285750" indent="-285750">
              <a:lnSpc>
                <a:spcPct val="160000"/>
              </a:lnSpc>
              <a:buFont typeface="Arial" panose="020B0604020202020204" pitchFamily="34" charset="0"/>
              <a:buChar char="•"/>
            </a:pPr>
            <a:r>
              <a:rPr lang="zh-CN" altLang="en-US" sz="1400" dirty="0" smtClean="0"/>
              <a:t>打印料盘标签（需扫描员工工号）</a:t>
            </a:r>
            <a:endParaRPr lang="en-US" altLang="zh-CN" sz="1400" dirty="0" smtClean="0"/>
          </a:p>
          <a:p>
            <a:pPr marL="285750" indent="-285750">
              <a:lnSpc>
                <a:spcPct val="160000"/>
              </a:lnSpc>
              <a:buFont typeface="Arial" panose="020B0604020202020204" pitchFamily="34" charset="0"/>
              <a:buChar char="•"/>
            </a:pPr>
            <a:r>
              <a:rPr lang="zh-CN" altLang="en-US" sz="1400" dirty="0" smtClean="0"/>
              <a:t>打印记录保存</a:t>
            </a:r>
            <a:endParaRPr lang="en-US" altLang="zh-CN" sz="1400" dirty="0"/>
          </a:p>
        </p:txBody>
      </p:sp>
      <p:sp>
        <p:nvSpPr>
          <p:cNvPr id="18" name="íṩlïḑé">
            <a:extLst>
              <a:ext uri="{FF2B5EF4-FFF2-40B4-BE49-F238E27FC236}">
                <a16:creationId xmlns:a16="http://schemas.microsoft.com/office/drawing/2014/main" id="{D8EDE9EE-8C20-4E46-8DB1-04418D6D0676}"/>
              </a:ext>
            </a:extLst>
          </p:cNvPr>
          <p:cNvSpPr txBox="1"/>
          <p:nvPr/>
        </p:nvSpPr>
        <p:spPr bwMode="auto">
          <a:xfrm>
            <a:off x="679358" y="3231037"/>
            <a:ext cx="3707200" cy="4128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0000" tIns="46800" rIns="90000" bIns="46800">
            <a:no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eaLnBrk="1" hangingPunct="1">
              <a:lnSpc>
                <a:spcPct val="100000"/>
              </a:lnSpc>
              <a:spcBef>
                <a:spcPct val="0"/>
              </a:spcBef>
              <a:buFontTx/>
              <a:buNone/>
            </a:pPr>
            <a:r>
              <a:rPr lang="zh-CN" altLang="en-US" sz="2800" b="1" dirty="0" smtClean="0"/>
              <a:t>中央控制模块</a:t>
            </a:r>
            <a:endParaRPr lang="en-US" altLang="zh-CN" sz="2800" b="1" dirty="0"/>
          </a:p>
        </p:txBody>
      </p:sp>
      <p:sp>
        <p:nvSpPr>
          <p:cNvPr id="19" name="iŝlíḑe">
            <a:extLst>
              <a:ext uri="{FF2B5EF4-FFF2-40B4-BE49-F238E27FC236}">
                <a16:creationId xmlns:a16="http://schemas.microsoft.com/office/drawing/2014/main" id="{82ACEE50-1456-4637-B24B-62FC9951F087}"/>
              </a:ext>
            </a:extLst>
          </p:cNvPr>
          <p:cNvSpPr/>
          <p:nvPr/>
        </p:nvSpPr>
        <p:spPr bwMode="auto">
          <a:xfrm>
            <a:off x="679358" y="3717663"/>
            <a:ext cx="3707200" cy="765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0000" tIns="46800" rIns="90000" bIns="46800" anchor="t" anchorCtr="0">
            <a:norm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marL="171450" indent="-171450">
              <a:lnSpc>
                <a:spcPct val="160000"/>
              </a:lnSpc>
              <a:buFont typeface="Arial" panose="020B0604020202020204" pitchFamily="34" charset="0"/>
              <a:buChar char="•"/>
            </a:pPr>
            <a:r>
              <a:rPr lang="zh-CN" altLang="en-US" sz="1400" dirty="0" smtClean="0"/>
              <a:t>接驳台</a:t>
            </a:r>
            <a:r>
              <a:rPr lang="en-US" altLang="zh-CN" sz="1400" dirty="0" smtClean="0"/>
              <a:t>+</a:t>
            </a:r>
            <a:r>
              <a:rPr lang="zh-CN" altLang="en-US" sz="1400" dirty="0" smtClean="0"/>
              <a:t>报警灯：</a:t>
            </a:r>
            <a:r>
              <a:rPr lang="zh-CN" altLang="en-US" sz="1400" dirty="0" smtClean="0"/>
              <a:t>实时出错</a:t>
            </a:r>
            <a:r>
              <a:rPr lang="zh-CN" altLang="en-US" sz="1400" dirty="0" smtClean="0"/>
              <a:t>报警</a:t>
            </a:r>
            <a:endParaRPr lang="en-US" altLang="zh-CN" sz="1400" dirty="0"/>
          </a:p>
        </p:txBody>
      </p:sp>
      <p:sp>
        <p:nvSpPr>
          <p:cNvPr id="20" name="ïŝľiḍè">
            <a:extLst>
              <a:ext uri="{FF2B5EF4-FFF2-40B4-BE49-F238E27FC236}">
                <a16:creationId xmlns:a16="http://schemas.microsoft.com/office/drawing/2014/main" id="{5FF64A22-F6DF-46D2-8D40-025AD0AA972F}"/>
              </a:ext>
            </a:extLst>
          </p:cNvPr>
          <p:cNvSpPr txBox="1"/>
          <p:nvPr/>
        </p:nvSpPr>
        <p:spPr bwMode="auto">
          <a:xfrm>
            <a:off x="7813288" y="3231037"/>
            <a:ext cx="3707200" cy="4128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0000" tIns="46800" rIns="90000" bIns="46800">
            <a:no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algn="r" eaLnBrk="1" hangingPunct="1">
              <a:lnSpc>
                <a:spcPct val="100000"/>
              </a:lnSpc>
              <a:spcBef>
                <a:spcPct val="0"/>
              </a:spcBef>
              <a:buFontTx/>
              <a:buNone/>
            </a:pPr>
            <a:r>
              <a:rPr lang="zh-CN" altLang="en-US" sz="2800" b="1" dirty="0" smtClean="0"/>
              <a:t>产线车间实时监控</a:t>
            </a:r>
            <a:endParaRPr lang="en-US" altLang="zh-CN" sz="2800" b="1" dirty="0"/>
          </a:p>
        </p:txBody>
      </p:sp>
      <p:sp>
        <p:nvSpPr>
          <p:cNvPr id="21" name="ïsļiḓê">
            <a:extLst>
              <a:ext uri="{FF2B5EF4-FFF2-40B4-BE49-F238E27FC236}">
                <a16:creationId xmlns:a16="http://schemas.microsoft.com/office/drawing/2014/main" id="{18E75EF2-F6E7-4641-9203-1F13A10D6A23}"/>
              </a:ext>
            </a:extLst>
          </p:cNvPr>
          <p:cNvSpPr/>
          <p:nvPr/>
        </p:nvSpPr>
        <p:spPr bwMode="auto">
          <a:xfrm>
            <a:off x="9482328" y="3725708"/>
            <a:ext cx="730794" cy="765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0000" tIns="46800" rIns="90000" bIns="46800" anchor="t" anchorCtr="0">
            <a:no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marL="171450" indent="-171450" algn="r">
              <a:lnSpc>
                <a:spcPct val="160000"/>
              </a:lnSpc>
              <a:buFont typeface="Arial" panose="020B0604020202020204" pitchFamily="34" charset="0"/>
              <a:buChar char="•"/>
            </a:pPr>
            <a:r>
              <a:rPr lang="zh-CN" altLang="en-US" sz="1400" dirty="0"/>
              <a:t>上</a:t>
            </a:r>
            <a:r>
              <a:rPr lang="zh-CN" altLang="en-US" sz="1400" dirty="0" smtClean="0"/>
              <a:t>料</a:t>
            </a:r>
            <a:endParaRPr lang="en-US" altLang="zh-CN" sz="1400" dirty="0" smtClean="0"/>
          </a:p>
          <a:p>
            <a:pPr marL="171450" indent="-171450" algn="r">
              <a:lnSpc>
                <a:spcPct val="160000"/>
              </a:lnSpc>
              <a:buFont typeface="Arial" panose="020B0604020202020204" pitchFamily="34" charset="0"/>
              <a:buChar char="•"/>
            </a:pPr>
            <a:r>
              <a:rPr lang="zh-CN" altLang="en-US" sz="1400" dirty="0" smtClean="0"/>
              <a:t>换料</a:t>
            </a:r>
            <a:endParaRPr lang="en-US" altLang="zh-CN" sz="1400" dirty="0" smtClean="0"/>
          </a:p>
        </p:txBody>
      </p:sp>
      <p:sp>
        <p:nvSpPr>
          <p:cNvPr id="22" name="ïsľïḓé">
            <a:extLst>
              <a:ext uri="{FF2B5EF4-FFF2-40B4-BE49-F238E27FC236}">
                <a16:creationId xmlns:a16="http://schemas.microsoft.com/office/drawing/2014/main" id="{7DA0C9C9-B1E0-4A3F-A3D8-F61F2BDBBBAC}"/>
              </a:ext>
            </a:extLst>
          </p:cNvPr>
          <p:cNvSpPr txBox="1"/>
          <p:nvPr/>
        </p:nvSpPr>
        <p:spPr bwMode="auto">
          <a:xfrm>
            <a:off x="679358" y="5178438"/>
            <a:ext cx="3707200" cy="4128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0000" tIns="46800" rIns="90000" bIns="46800">
            <a:no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eaLnBrk="1" hangingPunct="1">
              <a:lnSpc>
                <a:spcPct val="100000"/>
              </a:lnSpc>
              <a:spcBef>
                <a:spcPct val="0"/>
              </a:spcBef>
              <a:buFontTx/>
              <a:buNone/>
            </a:pPr>
            <a:r>
              <a:rPr lang="zh-CN" altLang="en-US" sz="2800" b="1" dirty="0" smtClean="0"/>
              <a:t>移动</a:t>
            </a:r>
            <a:r>
              <a:rPr lang="en-US" altLang="zh-CN" sz="2800" b="1" dirty="0" smtClean="0"/>
              <a:t>APP</a:t>
            </a:r>
            <a:r>
              <a:rPr lang="zh-CN" altLang="en-US" sz="2800" b="1" dirty="0" smtClean="0"/>
              <a:t>客户端</a:t>
            </a:r>
            <a:endParaRPr lang="en-US" altLang="zh-CN" sz="2800" b="1" dirty="0"/>
          </a:p>
        </p:txBody>
      </p:sp>
      <p:sp>
        <p:nvSpPr>
          <p:cNvPr id="23" name="ïṩlîḋé">
            <a:extLst>
              <a:ext uri="{FF2B5EF4-FFF2-40B4-BE49-F238E27FC236}">
                <a16:creationId xmlns:a16="http://schemas.microsoft.com/office/drawing/2014/main" id="{464D7D43-88B0-4E13-B95F-C04D63D51E41}"/>
              </a:ext>
            </a:extLst>
          </p:cNvPr>
          <p:cNvSpPr/>
          <p:nvPr/>
        </p:nvSpPr>
        <p:spPr bwMode="auto">
          <a:xfrm>
            <a:off x="679358" y="5680830"/>
            <a:ext cx="1937718" cy="765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0000" tIns="46800" rIns="90000" bIns="46800" anchor="t" anchorCtr="0">
            <a:no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marL="171450" indent="-171450">
              <a:lnSpc>
                <a:spcPct val="160000"/>
              </a:lnSpc>
              <a:buFont typeface="Arial" panose="020B0604020202020204" pitchFamily="34" charset="0"/>
              <a:buChar char="•"/>
            </a:pPr>
            <a:r>
              <a:rPr lang="zh-CN" altLang="en-US" sz="1400" dirty="0" smtClean="0"/>
              <a:t>检查用料是否正确</a:t>
            </a:r>
            <a:endParaRPr lang="en-US" altLang="zh-CN" sz="1400" dirty="0" smtClean="0"/>
          </a:p>
          <a:p>
            <a:pPr marL="171450" indent="-171450">
              <a:lnSpc>
                <a:spcPct val="160000"/>
              </a:lnSpc>
              <a:buFont typeface="Arial" panose="020B0604020202020204" pitchFamily="34" charset="0"/>
              <a:buChar char="•"/>
            </a:pPr>
            <a:r>
              <a:rPr lang="zh-CN" altLang="en-US" sz="1400" dirty="0" smtClean="0"/>
              <a:t>保留操作记录</a:t>
            </a:r>
            <a:endParaRPr lang="en-US" altLang="zh-CN" sz="1400" dirty="0" smtClean="0"/>
          </a:p>
        </p:txBody>
      </p:sp>
      <p:sp>
        <p:nvSpPr>
          <p:cNvPr id="24" name="íŝľíďè">
            <a:extLst>
              <a:ext uri="{FF2B5EF4-FFF2-40B4-BE49-F238E27FC236}">
                <a16:creationId xmlns:a16="http://schemas.microsoft.com/office/drawing/2014/main" id="{BBE29649-22E4-4FC7-9DBE-05049D5F0585}"/>
              </a:ext>
            </a:extLst>
          </p:cNvPr>
          <p:cNvSpPr txBox="1"/>
          <p:nvPr/>
        </p:nvSpPr>
        <p:spPr bwMode="auto">
          <a:xfrm>
            <a:off x="7890969" y="5222223"/>
            <a:ext cx="3707200" cy="4128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0000" tIns="46800" rIns="90000" bIns="46800">
            <a:no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algn="r" eaLnBrk="1" hangingPunct="1">
              <a:lnSpc>
                <a:spcPct val="100000"/>
              </a:lnSpc>
              <a:spcBef>
                <a:spcPct val="0"/>
              </a:spcBef>
              <a:buFontTx/>
              <a:buNone/>
            </a:pPr>
            <a:r>
              <a:rPr lang="zh-CN" altLang="en-US" sz="2800" b="1" dirty="0" smtClean="0"/>
              <a:t>生产报表公众号</a:t>
            </a:r>
            <a:endParaRPr lang="en-US" altLang="zh-CN" sz="2800" b="1" dirty="0"/>
          </a:p>
        </p:txBody>
      </p:sp>
      <p:sp>
        <p:nvSpPr>
          <p:cNvPr id="25" name="îṩļîḑè">
            <a:extLst>
              <a:ext uri="{FF2B5EF4-FFF2-40B4-BE49-F238E27FC236}">
                <a16:creationId xmlns:a16="http://schemas.microsoft.com/office/drawing/2014/main" id="{9AFF0065-4795-4176-8668-2F62D3781ADA}"/>
              </a:ext>
            </a:extLst>
          </p:cNvPr>
          <p:cNvSpPr/>
          <p:nvPr/>
        </p:nvSpPr>
        <p:spPr bwMode="auto">
          <a:xfrm>
            <a:off x="7813288" y="5680830"/>
            <a:ext cx="3707200" cy="765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0000" tIns="46800" rIns="90000" bIns="46800" anchor="t" anchorCtr="0">
            <a:norm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marL="171450" indent="-171450" algn="r">
              <a:lnSpc>
                <a:spcPct val="160000"/>
              </a:lnSpc>
              <a:buFont typeface="Arial" panose="020B0604020202020204" pitchFamily="34" charset="0"/>
              <a:buChar char="•"/>
            </a:pPr>
            <a:r>
              <a:rPr lang="zh-CN" altLang="en-US" sz="1400" dirty="0" smtClean="0"/>
              <a:t>查看产线生产情况</a:t>
            </a:r>
            <a:r>
              <a:rPr lang="en-US" altLang="zh-CN" sz="1000" dirty="0" smtClean="0"/>
              <a:t>.</a:t>
            </a:r>
            <a:endParaRPr lang="en-US" altLang="zh-CN" sz="1000" dirty="0"/>
          </a:p>
        </p:txBody>
      </p:sp>
      <p:sp>
        <p:nvSpPr>
          <p:cNvPr id="28" name="ïsļiḓê">
            <a:extLst>
              <a:ext uri="{FF2B5EF4-FFF2-40B4-BE49-F238E27FC236}">
                <a16:creationId xmlns:a16="http://schemas.microsoft.com/office/drawing/2014/main" id="{18E75EF2-F6E7-4641-9203-1F13A10D6A23}"/>
              </a:ext>
            </a:extLst>
          </p:cNvPr>
          <p:cNvSpPr/>
          <p:nvPr/>
        </p:nvSpPr>
        <p:spPr bwMode="auto">
          <a:xfrm>
            <a:off x="10456679" y="3725708"/>
            <a:ext cx="1082569" cy="765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0000" tIns="46800" rIns="90000" bIns="46800" anchor="t" anchorCtr="0">
            <a:no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marL="171450" indent="-171450" algn="r">
              <a:lnSpc>
                <a:spcPct val="160000"/>
              </a:lnSpc>
              <a:buFont typeface="Arial" panose="020B0604020202020204" pitchFamily="34" charset="0"/>
              <a:buChar char="•"/>
            </a:pPr>
            <a:r>
              <a:rPr lang="zh-CN" altLang="en-US" sz="1400" dirty="0" smtClean="0"/>
              <a:t>核料</a:t>
            </a:r>
            <a:endParaRPr lang="en-US" altLang="zh-CN" sz="1400" dirty="0" smtClean="0"/>
          </a:p>
          <a:p>
            <a:pPr marL="171450" indent="-171450" algn="r">
              <a:lnSpc>
                <a:spcPct val="160000"/>
              </a:lnSpc>
              <a:buFont typeface="Arial" panose="020B0604020202020204" pitchFamily="34" charset="0"/>
              <a:buChar char="•"/>
            </a:pPr>
            <a:r>
              <a:rPr lang="zh-CN" altLang="en-US" sz="1400" dirty="0" smtClean="0"/>
              <a:t>全</a:t>
            </a:r>
            <a:r>
              <a:rPr lang="zh-CN" altLang="en-US" sz="1400" dirty="0"/>
              <a:t>检</a:t>
            </a:r>
            <a:endParaRPr lang="en-US" altLang="zh-CN" sz="1400" dirty="0"/>
          </a:p>
        </p:txBody>
      </p:sp>
      <p:sp>
        <p:nvSpPr>
          <p:cNvPr id="29" name="îSľíde">
            <a:extLst>
              <a:ext uri="{FF2B5EF4-FFF2-40B4-BE49-F238E27FC236}">
                <a16:creationId xmlns:a16="http://schemas.microsoft.com/office/drawing/2014/main" id="{6244A2C2-C5DA-432E-8A38-4869A6E11036}"/>
              </a:ext>
            </a:extLst>
          </p:cNvPr>
          <p:cNvSpPr/>
          <p:nvPr/>
        </p:nvSpPr>
        <p:spPr bwMode="auto">
          <a:xfrm>
            <a:off x="10213122" y="3819951"/>
            <a:ext cx="580941" cy="576514"/>
          </a:xfrm>
          <a:prstGeom prst="ellipse">
            <a:avLst/>
          </a:prstGeom>
          <a:solidFill>
            <a:schemeClr val="bg1">
              <a:lumMod val="85000"/>
            </a:schemeClr>
          </a:solidFill>
          <a:ln w="38100">
            <a:noFill/>
          </a:ln>
          <a:extLst/>
        </p:spPr>
        <p:style>
          <a:lnRef idx="2">
            <a:schemeClr val="dk1"/>
          </a:lnRef>
          <a:fillRef idx="1">
            <a:schemeClr val="lt1"/>
          </a:fillRef>
          <a:effectRef idx="0">
            <a:schemeClr val="dk1"/>
          </a:effectRef>
          <a:fontRef idx="minor">
            <a:schemeClr val="dk1"/>
          </a:fontRef>
        </p:style>
        <p:txBody>
          <a:bodyPr wrap="none" rtlCol="0" anchor="ctr">
            <a:normAutofit fontScale="92500" lnSpcReduction="10000"/>
          </a:bodyPr>
          <a:lstStyle/>
          <a:p>
            <a:pPr algn="ctr"/>
            <a:r>
              <a:rPr lang="zh-CN" altLang="en-US" sz="2400" b="1" dirty="0" smtClean="0">
                <a:solidFill>
                  <a:srgbClr val="FF0000"/>
                </a:solidFill>
              </a:rPr>
              <a:t>报警</a:t>
            </a:r>
            <a:endParaRPr lang="zh-CN" altLang="en-US" sz="2400" b="1" dirty="0">
              <a:solidFill>
                <a:srgbClr val="FF0000"/>
              </a:solidFill>
            </a:endParaRPr>
          </a:p>
        </p:txBody>
      </p:sp>
      <p:sp>
        <p:nvSpPr>
          <p:cNvPr id="5" name="矩形 4"/>
          <p:cNvSpPr/>
          <p:nvPr/>
        </p:nvSpPr>
        <p:spPr>
          <a:xfrm>
            <a:off x="2421970" y="5682155"/>
            <a:ext cx="2954073" cy="781752"/>
          </a:xfrm>
          <a:prstGeom prst="rect">
            <a:avLst/>
          </a:prstGeom>
        </p:spPr>
        <p:txBody>
          <a:bodyPr wrap="square">
            <a:spAutoFit/>
          </a:bodyPr>
          <a:lstStyle/>
          <a:p>
            <a:pPr marL="171450" indent="-171450">
              <a:lnSpc>
                <a:spcPct val="160000"/>
              </a:lnSpc>
              <a:buFont typeface="Arial" panose="020B0604020202020204" pitchFamily="34" charset="0"/>
              <a:buChar char="•"/>
            </a:pPr>
            <a:r>
              <a:rPr lang="zh-CN" altLang="en-US" sz="1400" dirty="0"/>
              <a:t>错料报警</a:t>
            </a:r>
            <a:endParaRPr lang="en-US" altLang="zh-CN" sz="1400" dirty="0"/>
          </a:p>
          <a:p>
            <a:pPr marL="171450" indent="-171450">
              <a:lnSpc>
                <a:spcPct val="160000"/>
              </a:lnSpc>
              <a:buFont typeface="Arial" panose="020B0604020202020204" pitchFamily="34" charset="0"/>
              <a:buChar char="•"/>
            </a:pPr>
            <a:r>
              <a:rPr lang="zh-CN" altLang="en-US" sz="1400" dirty="0"/>
              <a:t>流程报警</a:t>
            </a:r>
            <a:endParaRPr lang="en-US" altLang="zh-CN" sz="1400" dirty="0"/>
          </a:p>
        </p:txBody>
      </p:sp>
      <p:sp>
        <p:nvSpPr>
          <p:cNvPr id="30" name="íS1idé">
            <a:extLst>
              <a:ext uri="{FF2B5EF4-FFF2-40B4-BE49-F238E27FC236}">
                <a16:creationId xmlns:a16="http://schemas.microsoft.com/office/drawing/2014/main" id="{2744D442-F069-419C-A014-778A7B92F037}"/>
              </a:ext>
            </a:extLst>
          </p:cNvPr>
          <p:cNvSpPr/>
          <p:nvPr/>
        </p:nvSpPr>
        <p:spPr bwMode="auto">
          <a:xfrm>
            <a:off x="2266426" y="1749236"/>
            <a:ext cx="1742612" cy="765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0000" tIns="46800" rIns="90000" bIns="46800" anchor="t" anchorCtr="0">
            <a:no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marL="171450" indent="-171450">
              <a:lnSpc>
                <a:spcPct val="160000"/>
              </a:lnSpc>
              <a:buFont typeface="Arial" panose="020B0604020202020204" pitchFamily="34" charset="0"/>
              <a:buChar char="•"/>
            </a:pPr>
            <a:r>
              <a:rPr lang="zh-CN" altLang="en-US" sz="1400" dirty="0" smtClean="0"/>
              <a:t>报表生成</a:t>
            </a:r>
            <a:endParaRPr lang="en-US" altLang="zh-CN" sz="1400" dirty="0" smtClean="0"/>
          </a:p>
          <a:p>
            <a:pPr marL="171450" indent="-171450">
              <a:lnSpc>
                <a:spcPct val="160000"/>
              </a:lnSpc>
              <a:buFont typeface="Arial" panose="020B0604020202020204" pitchFamily="34" charset="0"/>
              <a:buChar char="•"/>
            </a:pPr>
            <a:r>
              <a:rPr lang="zh-CN" altLang="en-US" sz="1400" dirty="0"/>
              <a:t>报警</a:t>
            </a:r>
            <a:r>
              <a:rPr lang="zh-CN" altLang="en-US" sz="1400" dirty="0" smtClean="0"/>
              <a:t>配置管理</a:t>
            </a:r>
            <a:endParaRPr lang="en-US" altLang="zh-CN" sz="1400" dirty="0"/>
          </a:p>
        </p:txBody>
      </p:sp>
      <p:sp>
        <p:nvSpPr>
          <p:cNvPr id="3" name="文本框 2"/>
          <p:cNvSpPr txBox="1"/>
          <p:nvPr/>
        </p:nvSpPr>
        <p:spPr>
          <a:xfrm>
            <a:off x="7813288" y="3818680"/>
            <a:ext cx="1191352" cy="307777"/>
          </a:xfrm>
          <a:prstGeom prst="rect">
            <a:avLst/>
          </a:prstGeom>
          <a:noFill/>
        </p:spPr>
        <p:txBody>
          <a:bodyPr wrap="none" rtlCol="0">
            <a:spAutoFit/>
          </a:bodyPr>
          <a:lstStyle/>
          <a:p>
            <a:pPr marL="285750" indent="-285750">
              <a:buFont typeface="Arial" panose="020B0604020202020204" pitchFamily="34" charset="0"/>
              <a:buChar char="•"/>
            </a:pPr>
            <a:r>
              <a:rPr lang="zh-CN" altLang="en-US" sz="1400" dirty="0" smtClean="0"/>
              <a:t>数据大屏</a:t>
            </a:r>
            <a:endParaRPr lang="zh-CN" altLang="en-US" sz="1400" dirty="0"/>
          </a:p>
        </p:txBody>
      </p:sp>
    </p:spTree>
    <p:extLst>
      <p:ext uri="{BB962C8B-B14F-4D97-AF65-F5344CB8AC3E}">
        <p14:creationId xmlns:p14="http://schemas.microsoft.com/office/powerpoint/2010/main" val="3762972620"/>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smtClean="0"/>
              <a:t>硬件设备</a:t>
            </a:r>
            <a:endParaRPr lang="zh-CN" altLang="en-US" dirty="0"/>
          </a:p>
        </p:txBody>
      </p:sp>
      <p:grpSp>
        <p:nvGrpSpPr>
          <p:cNvPr id="40" name="8eb33742-6f39-44d0-a119-3b0c35c4d8db"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p:cNvGrpSpPr>
            <a:grpSpLocks noChangeAspect="1"/>
          </p:cNvGrpSpPr>
          <p:nvPr/>
        </p:nvGrpSpPr>
        <p:grpSpPr>
          <a:xfrm>
            <a:off x="669926" y="1459168"/>
            <a:ext cx="10383044" cy="4684457"/>
            <a:chOff x="669926" y="1459168"/>
            <a:chExt cx="10383044" cy="4684457"/>
          </a:xfrm>
        </p:grpSpPr>
        <p:sp>
          <p:nvSpPr>
            <p:cNvPr id="41" name="íslïḋe">
              <a:extLst>
                <a:ext uri="{FF2B5EF4-FFF2-40B4-BE49-F238E27FC236}">
                  <a16:creationId xmlns:a16="http://schemas.microsoft.com/office/drawing/2014/main" id="{24764C29-E7B3-40E5-8600-FC3B11D8C7F7}"/>
                </a:ext>
              </a:extLst>
            </p:cNvPr>
            <p:cNvSpPr/>
            <p:nvPr/>
          </p:nvSpPr>
          <p:spPr>
            <a:xfrm>
              <a:off x="4604586" y="2906683"/>
              <a:ext cx="2982820" cy="2982821"/>
            </a:xfrm>
            <a:prstGeom prst="ellipse">
              <a:avLst/>
            </a:prstGeom>
            <a:solidFill>
              <a:schemeClr val="tx2">
                <a:lumMod val="20000"/>
                <a:lumOff val="80000"/>
                <a:alpha val="40000"/>
              </a:schemeClr>
            </a:solidFill>
            <a:ln w="3175">
              <a:solidFill>
                <a:schemeClr val="bg1">
                  <a:lumMod val="8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zh-CN" altLang="en-US" sz="2000" b="1" dirty="0" smtClean="0">
                  <a:solidFill>
                    <a:schemeClr val="tx1"/>
                  </a:solidFill>
                </a:rPr>
                <a:t>硬   件</a:t>
              </a:r>
              <a:endParaRPr lang="zh-CN" altLang="en-US" sz="2000" b="1" dirty="0">
                <a:solidFill>
                  <a:schemeClr val="tx1"/>
                </a:solidFill>
              </a:endParaRPr>
            </a:p>
          </p:txBody>
        </p:sp>
        <p:sp>
          <p:nvSpPr>
            <p:cNvPr id="45" name="ïSliḓè">
              <a:extLst>
                <a:ext uri="{FF2B5EF4-FFF2-40B4-BE49-F238E27FC236}">
                  <a16:creationId xmlns:a16="http://schemas.microsoft.com/office/drawing/2014/main" id="{461564AE-8977-4EF7-9E27-A92A12D66532}"/>
                </a:ext>
              </a:extLst>
            </p:cNvPr>
            <p:cNvSpPr/>
            <p:nvPr/>
          </p:nvSpPr>
          <p:spPr>
            <a:xfrm>
              <a:off x="5543526" y="2311733"/>
              <a:ext cx="1104947" cy="1104945"/>
            </a:xfrm>
            <a:prstGeom prst="ellipse">
              <a:avLst/>
            </a:prstGeom>
            <a:solidFill>
              <a:schemeClr val="bg1">
                <a:lumMod val="95000"/>
              </a:schemeClr>
            </a:solidFill>
            <a:ln w="38100">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a:p>
          </p:txBody>
        </p:sp>
        <p:sp>
          <p:nvSpPr>
            <p:cNvPr id="64" name="iṧḻíḑe">
              <a:extLst>
                <a:ext uri="{FF2B5EF4-FFF2-40B4-BE49-F238E27FC236}">
                  <a16:creationId xmlns:a16="http://schemas.microsoft.com/office/drawing/2014/main" id="{40B6C4D6-9AA1-482C-9BCE-FCAE5F45C1DC}"/>
                </a:ext>
              </a:extLst>
            </p:cNvPr>
            <p:cNvSpPr/>
            <p:nvPr/>
          </p:nvSpPr>
          <p:spPr>
            <a:xfrm>
              <a:off x="6415035" y="5018684"/>
              <a:ext cx="1104947" cy="1104945"/>
            </a:xfrm>
            <a:prstGeom prst="ellipse">
              <a:avLst/>
            </a:prstGeom>
            <a:solidFill>
              <a:schemeClr val="bg1">
                <a:lumMod val="95000"/>
              </a:schemeClr>
            </a:solidFill>
            <a:ln w="38100">
              <a:solidFill>
                <a:schemeClr val="tx1">
                  <a:lumMod val="50000"/>
                  <a:lumOff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a:p>
          </p:txBody>
        </p:sp>
        <p:grpSp>
          <p:nvGrpSpPr>
            <p:cNvPr id="43" name="íś1ïḓé">
              <a:extLst>
                <a:ext uri="{FF2B5EF4-FFF2-40B4-BE49-F238E27FC236}">
                  <a16:creationId xmlns:a16="http://schemas.microsoft.com/office/drawing/2014/main" id="{A458D586-503D-435A-8938-D250E4B6A64E}"/>
                </a:ext>
              </a:extLst>
            </p:cNvPr>
            <p:cNvGrpSpPr/>
            <p:nvPr/>
          </p:nvGrpSpPr>
          <p:grpSpPr>
            <a:xfrm>
              <a:off x="4672019" y="2546428"/>
              <a:ext cx="1738151" cy="3597197"/>
              <a:chOff x="4833147" y="2008901"/>
              <a:chExt cx="1738151" cy="3597197"/>
            </a:xfrm>
          </p:grpSpPr>
          <p:sp>
            <p:nvSpPr>
              <p:cNvPr id="62" name="ïṧliḍè">
                <a:extLst>
                  <a:ext uri="{FF2B5EF4-FFF2-40B4-BE49-F238E27FC236}">
                    <a16:creationId xmlns:a16="http://schemas.microsoft.com/office/drawing/2014/main" id="{39B6B271-1347-4F10-9558-514C00730EFA}"/>
                  </a:ext>
                </a:extLst>
              </p:cNvPr>
              <p:cNvSpPr/>
              <p:nvPr/>
            </p:nvSpPr>
            <p:spPr>
              <a:xfrm>
                <a:off x="4833147" y="4501153"/>
                <a:ext cx="1104947" cy="1104945"/>
              </a:xfrm>
              <a:prstGeom prst="ellipse">
                <a:avLst/>
              </a:prstGeom>
              <a:solidFill>
                <a:schemeClr val="bg1">
                  <a:lumMod val="95000"/>
                </a:schemeClr>
              </a:solidFill>
              <a:ln w="38100">
                <a:solidFill>
                  <a:schemeClr val="tx1">
                    <a:lumMod val="50000"/>
                    <a:lumOff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a:p>
            </p:txBody>
          </p:sp>
          <p:sp>
            <p:nvSpPr>
              <p:cNvPr id="63" name="ïṩḻiḍe">
                <a:extLst>
                  <a:ext uri="{FF2B5EF4-FFF2-40B4-BE49-F238E27FC236}">
                    <a16:creationId xmlns:a16="http://schemas.microsoft.com/office/drawing/2014/main" id="{E36DD69F-89D2-4FDE-A881-4F47E3C17FA5}"/>
                  </a:ext>
                </a:extLst>
              </p:cNvPr>
              <p:cNvSpPr/>
              <p:nvPr/>
            </p:nvSpPr>
            <p:spPr bwMode="auto">
              <a:xfrm>
                <a:off x="5938094" y="2008901"/>
                <a:ext cx="633204" cy="632323"/>
              </a:xfrm>
              <a:custGeom>
                <a:avLst/>
                <a:gdLst>
                  <a:gd name="connsiteX0" fmla="*/ 438564 w 608697"/>
                  <a:gd name="connsiteY0" fmla="*/ 564383 h 607851"/>
                  <a:gd name="connsiteX1" fmla="*/ 453383 w 608697"/>
                  <a:gd name="connsiteY1" fmla="*/ 564383 h 607851"/>
                  <a:gd name="connsiteX2" fmla="*/ 453383 w 608697"/>
                  <a:gd name="connsiteY2" fmla="*/ 607851 h 607851"/>
                  <a:gd name="connsiteX3" fmla="*/ 438564 w 608697"/>
                  <a:gd name="connsiteY3" fmla="*/ 607851 h 607851"/>
                  <a:gd name="connsiteX4" fmla="*/ 367716 w 608697"/>
                  <a:gd name="connsiteY4" fmla="*/ 564383 h 607851"/>
                  <a:gd name="connsiteX5" fmla="*/ 382605 w 608697"/>
                  <a:gd name="connsiteY5" fmla="*/ 564383 h 607851"/>
                  <a:gd name="connsiteX6" fmla="*/ 382605 w 608697"/>
                  <a:gd name="connsiteY6" fmla="*/ 607851 h 607851"/>
                  <a:gd name="connsiteX7" fmla="*/ 367716 w 608697"/>
                  <a:gd name="connsiteY7" fmla="*/ 607851 h 607851"/>
                  <a:gd name="connsiteX8" fmla="*/ 296869 w 608697"/>
                  <a:gd name="connsiteY8" fmla="*/ 564383 h 607851"/>
                  <a:gd name="connsiteX9" fmla="*/ 311829 w 608697"/>
                  <a:gd name="connsiteY9" fmla="*/ 564383 h 607851"/>
                  <a:gd name="connsiteX10" fmla="*/ 311829 w 608697"/>
                  <a:gd name="connsiteY10" fmla="*/ 607851 h 607851"/>
                  <a:gd name="connsiteX11" fmla="*/ 296869 w 608697"/>
                  <a:gd name="connsiteY11" fmla="*/ 607851 h 607851"/>
                  <a:gd name="connsiteX12" fmla="*/ 226091 w 608697"/>
                  <a:gd name="connsiteY12" fmla="*/ 564383 h 607851"/>
                  <a:gd name="connsiteX13" fmla="*/ 241051 w 608697"/>
                  <a:gd name="connsiteY13" fmla="*/ 564383 h 607851"/>
                  <a:gd name="connsiteX14" fmla="*/ 241051 w 608697"/>
                  <a:gd name="connsiteY14" fmla="*/ 607851 h 607851"/>
                  <a:gd name="connsiteX15" fmla="*/ 226091 w 608697"/>
                  <a:gd name="connsiteY15" fmla="*/ 607851 h 607851"/>
                  <a:gd name="connsiteX16" fmla="*/ 155314 w 608697"/>
                  <a:gd name="connsiteY16" fmla="*/ 564383 h 607851"/>
                  <a:gd name="connsiteX17" fmla="*/ 170133 w 608697"/>
                  <a:gd name="connsiteY17" fmla="*/ 564383 h 607851"/>
                  <a:gd name="connsiteX18" fmla="*/ 170133 w 608697"/>
                  <a:gd name="connsiteY18" fmla="*/ 607851 h 607851"/>
                  <a:gd name="connsiteX19" fmla="*/ 155314 w 608697"/>
                  <a:gd name="connsiteY19" fmla="*/ 607851 h 607851"/>
                  <a:gd name="connsiteX20" fmla="*/ 565229 w 608697"/>
                  <a:gd name="connsiteY20" fmla="*/ 437929 h 607851"/>
                  <a:gd name="connsiteX21" fmla="*/ 608697 w 608697"/>
                  <a:gd name="connsiteY21" fmla="*/ 437929 h 607851"/>
                  <a:gd name="connsiteX22" fmla="*/ 608697 w 608697"/>
                  <a:gd name="connsiteY22" fmla="*/ 452748 h 607851"/>
                  <a:gd name="connsiteX23" fmla="*/ 565229 w 608697"/>
                  <a:gd name="connsiteY23" fmla="*/ 452748 h 607851"/>
                  <a:gd name="connsiteX24" fmla="*/ 0 w 608697"/>
                  <a:gd name="connsiteY24" fmla="*/ 437929 h 607851"/>
                  <a:gd name="connsiteX25" fmla="*/ 43468 w 608697"/>
                  <a:gd name="connsiteY25" fmla="*/ 437929 h 607851"/>
                  <a:gd name="connsiteX26" fmla="*/ 43468 w 608697"/>
                  <a:gd name="connsiteY26" fmla="*/ 452748 h 607851"/>
                  <a:gd name="connsiteX27" fmla="*/ 0 w 608697"/>
                  <a:gd name="connsiteY27" fmla="*/ 452748 h 607851"/>
                  <a:gd name="connsiteX28" fmla="*/ 565229 w 608697"/>
                  <a:gd name="connsiteY28" fmla="*/ 367152 h 607851"/>
                  <a:gd name="connsiteX29" fmla="*/ 608697 w 608697"/>
                  <a:gd name="connsiteY29" fmla="*/ 367152 h 607851"/>
                  <a:gd name="connsiteX30" fmla="*/ 608697 w 608697"/>
                  <a:gd name="connsiteY30" fmla="*/ 382041 h 607851"/>
                  <a:gd name="connsiteX31" fmla="*/ 565229 w 608697"/>
                  <a:gd name="connsiteY31" fmla="*/ 382041 h 607851"/>
                  <a:gd name="connsiteX32" fmla="*/ 0 w 608697"/>
                  <a:gd name="connsiteY32" fmla="*/ 367152 h 607851"/>
                  <a:gd name="connsiteX33" fmla="*/ 43468 w 608697"/>
                  <a:gd name="connsiteY33" fmla="*/ 367152 h 607851"/>
                  <a:gd name="connsiteX34" fmla="*/ 43468 w 608697"/>
                  <a:gd name="connsiteY34" fmla="*/ 382041 h 607851"/>
                  <a:gd name="connsiteX35" fmla="*/ 0 w 608697"/>
                  <a:gd name="connsiteY35" fmla="*/ 382041 h 607851"/>
                  <a:gd name="connsiteX36" fmla="*/ 565229 w 608697"/>
                  <a:gd name="connsiteY36" fmla="*/ 296446 h 607851"/>
                  <a:gd name="connsiteX37" fmla="*/ 608697 w 608697"/>
                  <a:gd name="connsiteY37" fmla="*/ 296446 h 607851"/>
                  <a:gd name="connsiteX38" fmla="*/ 608697 w 608697"/>
                  <a:gd name="connsiteY38" fmla="*/ 311335 h 607851"/>
                  <a:gd name="connsiteX39" fmla="*/ 565229 w 608697"/>
                  <a:gd name="connsiteY39" fmla="*/ 311335 h 607851"/>
                  <a:gd name="connsiteX40" fmla="*/ 0 w 608697"/>
                  <a:gd name="connsiteY40" fmla="*/ 296446 h 607851"/>
                  <a:gd name="connsiteX41" fmla="*/ 43468 w 608697"/>
                  <a:gd name="connsiteY41" fmla="*/ 296446 h 607851"/>
                  <a:gd name="connsiteX42" fmla="*/ 43468 w 608697"/>
                  <a:gd name="connsiteY42" fmla="*/ 311335 h 607851"/>
                  <a:gd name="connsiteX43" fmla="*/ 0 w 608697"/>
                  <a:gd name="connsiteY43" fmla="*/ 311335 h 607851"/>
                  <a:gd name="connsiteX44" fmla="*/ 565229 w 608697"/>
                  <a:gd name="connsiteY44" fmla="*/ 225739 h 607851"/>
                  <a:gd name="connsiteX45" fmla="*/ 608697 w 608697"/>
                  <a:gd name="connsiteY45" fmla="*/ 225739 h 607851"/>
                  <a:gd name="connsiteX46" fmla="*/ 608697 w 608697"/>
                  <a:gd name="connsiteY46" fmla="*/ 240699 h 607851"/>
                  <a:gd name="connsiteX47" fmla="*/ 565229 w 608697"/>
                  <a:gd name="connsiteY47" fmla="*/ 240699 h 607851"/>
                  <a:gd name="connsiteX48" fmla="*/ 0 w 608697"/>
                  <a:gd name="connsiteY48" fmla="*/ 225739 h 607851"/>
                  <a:gd name="connsiteX49" fmla="*/ 43468 w 608697"/>
                  <a:gd name="connsiteY49" fmla="*/ 225739 h 607851"/>
                  <a:gd name="connsiteX50" fmla="*/ 43468 w 608697"/>
                  <a:gd name="connsiteY50" fmla="*/ 240699 h 607851"/>
                  <a:gd name="connsiteX51" fmla="*/ 0 w 608697"/>
                  <a:gd name="connsiteY51" fmla="*/ 240699 h 607851"/>
                  <a:gd name="connsiteX52" fmla="*/ 565229 w 608697"/>
                  <a:gd name="connsiteY52" fmla="*/ 155103 h 607851"/>
                  <a:gd name="connsiteX53" fmla="*/ 608697 w 608697"/>
                  <a:gd name="connsiteY53" fmla="*/ 155103 h 607851"/>
                  <a:gd name="connsiteX54" fmla="*/ 608697 w 608697"/>
                  <a:gd name="connsiteY54" fmla="*/ 169922 h 607851"/>
                  <a:gd name="connsiteX55" fmla="*/ 565229 w 608697"/>
                  <a:gd name="connsiteY55" fmla="*/ 169922 h 607851"/>
                  <a:gd name="connsiteX56" fmla="*/ 0 w 608697"/>
                  <a:gd name="connsiteY56" fmla="*/ 155103 h 607851"/>
                  <a:gd name="connsiteX57" fmla="*/ 43468 w 608697"/>
                  <a:gd name="connsiteY57" fmla="*/ 155103 h 607851"/>
                  <a:gd name="connsiteX58" fmla="*/ 43468 w 608697"/>
                  <a:gd name="connsiteY58" fmla="*/ 169922 h 607851"/>
                  <a:gd name="connsiteX59" fmla="*/ 0 w 608697"/>
                  <a:gd name="connsiteY59" fmla="*/ 169922 h 607851"/>
                  <a:gd name="connsiteX60" fmla="*/ 170734 w 608697"/>
                  <a:gd name="connsiteY60" fmla="*/ 93005 h 607851"/>
                  <a:gd name="connsiteX61" fmla="*/ 437963 w 608697"/>
                  <a:gd name="connsiteY61" fmla="*/ 93005 h 607851"/>
                  <a:gd name="connsiteX62" fmla="*/ 515550 w 608697"/>
                  <a:gd name="connsiteY62" fmla="*/ 170476 h 607851"/>
                  <a:gd name="connsiteX63" fmla="*/ 515550 w 608697"/>
                  <a:gd name="connsiteY63" fmla="*/ 437304 h 607851"/>
                  <a:gd name="connsiteX64" fmla="*/ 437963 w 608697"/>
                  <a:gd name="connsiteY64" fmla="*/ 514775 h 607851"/>
                  <a:gd name="connsiteX65" fmla="*/ 170734 w 608697"/>
                  <a:gd name="connsiteY65" fmla="*/ 514775 h 607851"/>
                  <a:gd name="connsiteX66" fmla="*/ 93146 w 608697"/>
                  <a:gd name="connsiteY66" fmla="*/ 437304 h 607851"/>
                  <a:gd name="connsiteX67" fmla="*/ 93146 w 608697"/>
                  <a:gd name="connsiteY67" fmla="*/ 170476 h 607851"/>
                  <a:gd name="connsiteX68" fmla="*/ 160464 w 608697"/>
                  <a:gd name="connsiteY68" fmla="*/ 68256 h 607851"/>
                  <a:gd name="connsiteX69" fmla="*/ 68345 w 608697"/>
                  <a:gd name="connsiteY69" fmla="*/ 160244 h 607851"/>
                  <a:gd name="connsiteX70" fmla="*/ 68345 w 608697"/>
                  <a:gd name="connsiteY70" fmla="*/ 447605 h 607851"/>
                  <a:gd name="connsiteX71" fmla="*/ 160464 w 608697"/>
                  <a:gd name="connsiteY71" fmla="*/ 539594 h 607851"/>
                  <a:gd name="connsiteX72" fmla="*/ 448233 w 608697"/>
                  <a:gd name="connsiteY72" fmla="*/ 539594 h 607851"/>
                  <a:gd name="connsiteX73" fmla="*/ 540352 w 608697"/>
                  <a:gd name="connsiteY73" fmla="*/ 447605 h 607851"/>
                  <a:gd name="connsiteX74" fmla="*/ 540352 w 608697"/>
                  <a:gd name="connsiteY74" fmla="*/ 160244 h 607851"/>
                  <a:gd name="connsiteX75" fmla="*/ 448233 w 608697"/>
                  <a:gd name="connsiteY75" fmla="*/ 68256 h 607851"/>
                  <a:gd name="connsiteX76" fmla="*/ 155317 w 608697"/>
                  <a:gd name="connsiteY76" fmla="*/ 55817 h 607851"/>
                  <a:gd name="connsiteX77" fmla="*/ 453380 w 608697"/>
                  <a:gd name="connsiteY77" fmla="*/ 55817 h 607851"/>
                  <a:gd name="connsiteX78" fmla="*/ 552809 w 608697"/>
                  <a:gd name="connsiteY78" fmla="*/ 155105 h 607851"/>
                  <a:gd name="connsiteX79" fmla="*/ 552809 w 608697"/>
                  <a:gd name="connsiteY79" fmla="*/ 452745 h 607851"/>
                  <a:gd name="connsiteX80" fmla="*/ 453380 w 608697"/>
                  <a:gd name="connsiteY80" fmla="*/ 552033 h 607851"/>
                  <a:gd name="connsiteX81" fmla="*/ 155317 w 608697"/>
                  <a:gd name="connsiteY81" fmla="*/ 552033 h 607851"/>
                  <a:gd name="connsiteX82" fmla="*/ 55888 w 608697"/>
                  <a:gd name="connsiteY82" fmla="*/ 452745 h 607851"/>
                  <a:gd name="connsiteX83" fmla="*/ 55888 w 608697"/>
                  <a:gd name="connsiteY83" fmla="*/ 155105 h 607851"/>
                  <a:gd name="connsiteX84" fmla="*/ 438564 w 608697"/>
                  <a:gd name="connsiteY84" fmla="*/ 0 h 607851"/>
                  <a:gd name="connsiteX85" fmla="*/ 453383 w 608697"/>
                  <a:gd name="connsiteY85" fmla="*/ 0 h 607851"/>
                  <a:gd name="connsiteX86" fmla="*/ 453383 w 608697"/>
                  <a:gd name="connsiteY86" fmla="*/ 43398 h 607851"/>
                  <a:gd name="connsiteX87" fmla="*/ 438564 w 608697"/>
                  <a:gd name="connsiteY87" fmla="*/ 43398 h 607851"/>
                  <a:gd name="connsiteX88" fmla="*/ 367716 w 608697"/>
                  <a:gd name="connsiteY88" fmla="*/ 0 h 607851"/>
                  <a:gd name="connsiteX89" fmla="*/ 382605 w 608697"/>
                  <a:gd name="connsiteY89" fmla="*/ 0 h 607851"/>
                  <a:gd name="connsiteX90" fmla="*/ 382605 w 608697"/>
                  <a:gd name="connsiteY90" fmla="*/ 43398 h 607851"/>
                  <a:gd name="connsiteX91" fmla="*/ 367716 w 608697"/>
                  <a:gd name="connsiteY91" fmla="*/ 43398 h 607851"/>
                  <a:gd name="connsiteX92" fmla="*/ 296869 w 608697"/>
                  <a:gd name="connsiteY92" fmla="*/ 0 h 607851"/>
                  <a:gd name="connsiteX93" fmla="*/ 311829 w 608697"/>
                  <a:gd name="connsiteY93" fmla="*/ 0 h 607851"/>
                  <a:gd name="connsiteX94" fmla="*/ 311829 w 608697"/>
                  <a:gd name="connsiteY94" fmla="*/ 43398 h 607851"/>
                  <a:gd name="connsiteX95" fmla="*/ 296869 w 608697"/>
                  <a:gd name="connsiteY95" fmla="*/ 43398 h 607851"/>
                  <a:gd name="connsiteX96" fmla="*/ 226091 w 608697"/>
                  <a:gd name="connsiteY96" fmla="*/ 0 h 607851"/>
                  <a:gd name="connsiteX97" fmla="*/ 241051 w 608697"/>
                  <a:gd name="connsiteY97" fmla="*/ 0 h 607851"/>
                  <a:gd name="connsiteX98" fmla="*/ 241051 w 608697"/>
                  <a:gd name="connsiteY98" fmla="*/ 43398 h 607851"/>
                  <a:gd name="connsiteX99" fmla="*/ 226091 w 608697"/>
                  <a:gd name="connsiteY99" fmla="*/ 43398 h 607851"/>
                  <a:gd name="connsiteX100" fmla="*/ 155314 w 608697"/>
                  <a:gd name="connsiteY100" fmla="*/ 0 h 607851"/>
                  <a:gd name="connsiteX101" fmla="*/ 170133 w 608697"/>
                  <a:gd name="connsiteY101" fmla="*/ 0 h 607851"/>
                  <a:gd name="connsiteX102" fmla="*/ 170133 w 608697"/>
                  <a:gd name="connsiteY102" fmla="*/ 43398 h 607851"/>
                  <a:gd name="connsiteX103" fmla="*/ 155314 w 608697"/>
                  <a:gd name="connsiteY103" fmla="*/ 43398 h 6078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Lst>
                <a:rect l="l" t="t" r="r" b="b"/>
                <a:pathLst>
                  <a:path w="608697" h="607851">
                    <a:moveTo>
                      <a:pt x="438564" y="564383"/>
                    </a:moveTo>
                    <a:lnTo>
                      <a:pt x="453383" y="564383"/>
                    </a:lnTo>
                    <a:lnTo>
                      <a:pt x="453383" y="607851"/>
                    </a:lnTo>
                    <a:lnTo>
                      <a:pt x="438564" y="607851"/>
                    </a:lnTo>
                    <a:close/>
                    <a:moveTo>
                      <a:pt x="367716" y="564383"/>
                    </a:moveTo>
                    <a:lnTo>
                      <a:pt x="382605" y="564383"/>
                    </a:lnTo>
                    <a:lnTo>
                      <a:pt x="382605" y="607851"/>
                    </a:lnTo>
                    <a:lnTo>
                      <a:pt x="367716" y="607851"/>
                    </a:lnTo>
                    <a:close/>
                    <a:moveTo>
                      <a:pt x="296869" y="564383"/>
                    </a:moveTo>
                    <a:lnTo>
                      <a:pt x="311829" y="564383"/>
                    </a:lnTo>
                    <a:lnTo>
                      <a:pt x="311829" y="607851"/>
                    </a:lnTo>
                    <a:lnTo>
                      <a:pt x="296869" y="607851"/>
                    </a:lnTo>
                    <a:close/>
                    <a:moveTo>
                      <a:pt x="226091" y="564383"/>
                    </a:moveTo>
                    <a:lnTo>
                      <a:pt x="241051" y="564383"/>
                    </a:lnTo>
                    <a:lnTo>
                      <a:pt x="241051" y="607851"/>
                    </a:lnTo>
                    <a:lnTo>
                      <a:pt x="226091" y="607851"/>
                    </a:lnTo>
                    <a:close/>
                    <a:moveTo>
                      <a:pt x="155314" y="564383"/>
                    </a:moveTo>
                    <a:lnTo>
                      <a:pt x="170133" y="564383"/>
                    </a:lnTo>
                    <a:lnTo>
                      <a:pt x="170133" y="607851"/>
                    </a:lnTo>
                    <a:lnTo>
                      <a:pt x="155314" y="607851"/>
                    </a:lnTo>
                    <a:close/>
                    <a:moveTo>
                      <a:pt x="565229" y="437929"/>
                    </a:moveTo>
                    <a:lnTo>
                      <a:pt x="608697" y="437929"/>
                    </a:lnTo>
                    <a:lnTo>
                      <a:pt x="608697" y="452748"/>
                    </a:lnTo>
                    <a:lnTo>
                      <a:pt x="565229" y="452748"/>
                    </a:lnTo>
                    <a:close/>
                    <a:moveTo>
                      <a:pt x="0" y="437929"/>
                    </a:moveTo>
                    <a:lnTo>
                      <a:pt x="43468" y="437929"/>
                    </a:lnTo>
                    <a:lnTo>
                      <a:pt x="43468" y="452748"/>
                    </a:lnTo>
                    <a:lnTo>
                      <a:pt x="0" y="452748"/>
                    </a:lnTo>
                    <a:close/>
                    <a:moveTo>
                      <a:pt x="565229" y="367152"/>
                    </a:moveTo>
                    <a:lnTo>
                      <a:pt x="608697" y="367152"/>
                    </a:lnTo>
                    <a:lnTo>
                      <a:pt x="608697" y="382041"/>
                    </a:lnTo>
                    <a:lnTo>
                      <a:pt x="565229" y="382041"/>
                    </a:lnTo>
                    <a:close/>
                    <a:moveTo>
                      <a:pt x="0" y="367152"/>
                    </a:moveTo>
                    <a:lnTo>
                      <a:pt x="43468" y="367152"/>
                    </a:lnTo>
                    <a:lnTo>
                      <a:pt x="43468" y="382041"/>
                    </a:lnTo>
                    <a:lnTo>
                      <a:pt x="0" y="382041"/>
                    </a:lnTo>
                    <a:close/>
                    <a:moveTo>
                      <a:pt x="565229" y="296446"/>
                    </a:moveTo>
                    <a:lnTo>
                      <a:pt x="608697" y="296446"/>
                    </a:lnTo>
                    <a:lnTo>
                      <a:pt x="608697" y="311335"/>
                    </a:lnTo>
                    <a:lnTo>
                      <a:pt x="565229" y="311335"/>
                    </a:lnTo>
                    <a:close/>
                    <a:moveTo>
                      <a:pt x="0" y="296446"/>
                    </a:moveTo>
                    <a:lnTo>
                      <a:pt x="43468" y="296446"/>
                    </a:lnTo>
                    <a:lnTo>
                      <a:pt x="43468" y="311335"/>
                    </a:lnTo>
                    <a:lnTo>
                      <a:pt x="0" y="311335"/>
                    </a:lnTo>
                    <a:close/>
                    <a:moveTo>
                      <a:pt x="565229" y="225739"/>
                    </a:moveTo>
                    <a:lnTo>
                      <a:pt x="608697" y="225739"/>
                    </a:lnTo>
                    <a:lnTo>
                      <a:pt x="608697" y="240699"/>
                    </a:lnTo>
                    <a:lnTo>
                      <a:pt x="565229" y="240699"/>
                    </a:lnTo>
                    <a:close/>
                    <a:moveTo>
                      <a:pt x="0" y="225739"/>
                    </a:moveTo>
                    <a:lnTo>
                      <a:pt x="43468" y="225739"/>
                    </a:lnTo>
                    <a:lnTo>
                      <a:pt x="43468" y="240699"/>
                    </a:lnTo>
                    <a:lnTo>
                      <a:pt x="0" y="240699"/>
                    </a:lnTo>
                    <a:close/>
                    <a:moveTo>
                      <a:pt x="565229" y="155103"/>
                    </a:moveTo>
                    <a:lnTo>
                      <a:pt x="608697" y="155103"/>
                    </a:lnTo>
                    <a:lnTo>
                      <a:pt x="608697" y="169922"/>
                    </a:lnTo>
                    <a:lnTo>
                      <a:pt x="565229" y="169922"/>
                    </a:lnTo>
                    <a:close/>
                    <a:moveTo>
                      <a:pt x="0" y="155103"/>
                    </a:moveTo>
                    <a:lnTo>
                      <a:pt x="43468" y="155103"/>
                    </a:lnTo>
                    <a:lnTo>
                      <a:pt x="43468" y="169922"/>
                    </a:lnTo>
                    <a:lnTo>
                      <a:pt x="0" y="169922"/>
                    </a:lnTo>
                    <a:close/>
                    <a:moveTo>
                      <a:pt x="170734" y="93005"/>
                    </a:moveTo>
                    <a:lnTo>
                      <a:pt x="437963" y="93005"/>
                    </a:lnTo>
                    <a:lnTo>
                      <a:pt x="515550" y="170476"/>
                    </a:lnTo>
                    <a:lnTo>
                      <a:pt x="515550" y="437304"/>
                    </a:lnTo>
                    <a:lnTo>
                      <a:pt x="437963" y="514775"/>
                    </a:lnTo>
                    <a:lnTo>
                      <a:pt x="170734" y="514775"/>
                    </a:lnTo>
                    <a:lnTo>
                      <a:pt x="93146" y="437304"/>
                    </a:lnTo>
                    <a:lnTo>
                      <a:pt x="93146" y="170476"/>
                    </a:lnTo>
                    <a:close/>
                    <a:moveTo>
                      <a:pt x="160464" y="68256"/>
                    </a:moveTo>
                    <a:lnTo>
                      <a:pt x="68345" y="160244"/>
                    </a:lnTo>
                    <a:lnTo>
                      <a:pt x="68345" y="447605"/>
                    </a:lnTo>
                    <a:lnTo>
                      <a:pt x="160464" y="539594"/>
                    </a:lnTo>
                    <a:lnTo>
                      <a:pt x="448233" y="539594"/>
                    </a:lnTo>
                    <a:lnTo>
                      <a:pt x="540352" y="447605"/>
                    </a:lnTo>
                    <a:lnTo>
                      <a:pt x="540352" y="160244"/>
                    </a:lnTo>
                    <a:lnTo>
                      <a:pt x="448233" y="68256"/>
                    </a:lnTo>
                    <a:close/>
                    <a:moveTo>
                      <a:pt x="155317" y="55817"/>
                    </a:moveTo>
                    <a:lnTo>
                      <a:pt x="453380" y="55817"/>
                    </a:lnTo>
                    <a:lnTo>
                      <a:pt x="552809" y="155105"/>
                    </a:lnTo>
                    <a:lnTo>
                      <a:pt x="552809" y="452745"/>
                    </a:lnTo>
                    <a:lnTo>
                      <a:pt x="453380" y="552033"/>
                    </a:lnTo>
                    <a:lnTo>
                      <a:pt x="155317" y="552033"/>
                    </a:lnTo>
                    <a:lnTo>
                      <a:pt x="55888" y="452745"/>
                    </a:lnTo>
                    <a:lnTo>
                      <a:pt x="55888" y="155105"/>
                    </a:lnTo>
                    <a:close/>
                    <a:moveTo>
                      <a:pt x="438564" y="0"/>
                    </a:moveTo>
                    <a:lnTo>
                      <a:pt x="453383" y="0"/>
                    </a:lnTo>
                    <a:lnTo>
                      <a:pt x="453383" y="43398"/>
                    </a:lnTo>
                    <a:lnTo>
                      <a:pt x="438564" y="43398"/>
                    </a:lnTo>
                    <a:close/>
                    <a:moveTo>
                      <a:pt x="367716" y="0"/>
                    </a:moveTo>
                    <a:lnTo>
                      <a:pt x="382605" y="0"/>
                    </a:lnTo>
                    <a:lnTo>
                      <a:pt x="382605" y="43398"/>
                    </a:lnTo>
                    <a:lnTo>
                      <a:pt x="367716" y="43398"/>
                    </a:lnTo>
                    <a:close/>
                    <a:moveTo>
                      <a:pt x="296869" y="0"/>
                    </a:moveTo>
                    <a:lnTo>
                      <a:pt x="311829" y="0"/>
                    </a:lnTo>
                    <a:lnTo>
                      <a:pt x="311829" y="43398"/>
                    </a:lnTo>
                    <a:lnTo>
                      <a:pt x="296869" y="43398"/>
                    </a:lnTo>
                    <a:close/>
                    <a:moveTo>
                      <a:pt x="226091" y="0"/>
                    </a:moveTo>
                    <a:lnTo>
                      <a:pt x="241051" y="0"/>
                    </a:lnTo>
                    <a:lnTo>
                      <a:pt x="241051" y="43398"/>
                    </a:lnTo>
                    <a:lnTo>
                      <a:pt x="226091" y="43398"/>
                    </a:lnTo>
                    <a:close/>
                    <a:moveTo>
                      <a:pt x="155314" y="0"/>
                    </a:moveTo>
                    <a:lnTo>
                      <a:pt x="170133" y="0"/>
                    </a:lnTo>
                    <a:lnTo>
                      <a:pt x="170133" y="43398"/>
                    </a:lnTo>
                    <a:lnTo>
                      <a:pt x="155314" y="43398"/>
                    </a:lnTo>
                    <a:close/>
                  </a:path>
                </a:pathLst>
              </a:custGeom>
              <a:solidFill>
                <a:srgbClr val="FFB535"/>
              </a:solidFill>
              <a:ln>
                <a:noFill/>
              </a:ln>
              <a:extLst/>
            </p:spPr>
            <p:txBody>
              <a:bodyPr wrap="square" lIns="91440" tIns="45720" rIns="91440" bIns="45720" anchor="ctr">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grpSp>
        <p:sp>
          <p:nvSpPr>
            <p:cNvPr id="44" name="îśļïḋê">
              <a:extLst>
                <a:ext uri="{FF2B5EF4-FFF2-40B4-BE49-F238E27FC236}">
                  <a16:creationId xmlns:a16="http://schemas.microsoft.com/office/drawing/2014/main" id="{6534247D-C990-4B52-8D71-8E8AFDE6AF9C}"/>
                </a:ext>
              </a:extLst>
            </p:cNvPr>
            <p:cNvSpPr/>
            <p:nvPr/>
          </p:nvSpPr>
          <p:spPr>
            <a:xfrm>
              <a:off x="4206858" y="3531311"/>
              <a:ext cx="1104947" cy="1104945"/>
            </a:xfrm>
            <a:prstGeom prst="ellipse">
              <a:avLst/>
            </a:prstGeom>
            <a:solidFill>
              <a:schemeClr val="bg1">
                <a:lumMod val="95000"/>
              </a:schemeClr>
            </a:solidFill>
            <a:ln w="38100">
              <a:solidFill>
                <a:schemeClr val="tx1">
                  <a:lumMod val="50000"/>
                  <a:lumOff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a:p>
          </p:txBody>
        </p:sp>
        <p:sp>
          <p:nvSpPr>
            <p:cNvPr id="46" name="í$ļîďê">
              <a:extLst>
                <a:ext uri="{FF2B5EF4-FFF2-40B4-BE49-F238E27FC236}">
                  <a16:creationId xmlns:a16="http://schemas.microsoft.com/office/drawing/2014/main" id="{4251870B-F5F0-4202-AAC8-3987132BC2AE}"/>
                </a:ext>
              </a:extLst>
            </p:cNvPr>
            <p:cNvSpPr/>
            <p:nvPr/>
          </p:nvSpPr>
          <p:spPr>
            <a:xfrm>
              <a:off x="6880195" y="3588926"/>
              <a:ext cx="1104947" cy="1104945"/>
            </a:xfrm>
            <a:prstGeom prst="ellipse">
              <a:avLst/>
            </a:prstGeom>
            <a:solidFill>
              <a:schemeClr val="bg1">
                <a:lumMod val="95000"/>
              </a:schemeClr>
            </a:solidFill>
            <a:ln w="38100">
              <a:solidFill>
                <a:schemeClr val="tx1">
                  <a:lumMod val="50000"/>
                  <a:lumOff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a:p>
          </p:txBody>
        </p:sp>
        <p:grpSp>
          <p:nvGrpSpPr>
            <p:cNvPr id="47" name="íslïďé">
              <a:extLst>
                <a:ext uri="{FF2B5EF4-FFF2-40B4-BE49-F238E27FC236}">
                  <a16:creationId xmlns:a16="http://schemas.microsoft.com/office/drawing/2014/main" id="{A8AF4836-4522-40DB-B766-8E12212F9E8B}"/>
                </a:ext>
              </a:extLst>
            </p:cNvPr>
            <p:cNvGrpSpPr/>
            <p:nvPr/>
          </p:nvGrpSpPr>
          <p:grpSpPr>
            <a:xfrm>
              <a:off x="1242892" y="3351468"/>
              <a:ext cx="3017994" cy="855478"/>
              <a:chOff x="8328247" y="2276873"/>
              <a:chExt cx="2260179" cy="855478"/>
            </a:xfrm>
          </p:grpSpPr>
          <p:sp>
            <p:nvSpPr>
              <p:cNvPr id="60" name="îšḷíḓe">
                <a:extLst>
                  <a:ext uri="{FF2B5EF4-FFF2-40B4-BE49-F238E27FC236}">
                    <a16:creationId xmlns:a16="http://schemas.microsoft.com/office/drawing/2014/main" id="{D4121C54-52B9-4165-8864-887C7A7B1CC9}"/>
                  </a:ext>
                </a:extLst>
              </p:cNvPr>
              <p:cNvSpPr txBox="1"/>
              <p:nvPr/>
            </p:nvSpPr>
            <p:spPr>
              <a:xfrm>
                <a:off x="8328247" y="2276873"/>
                <a:ext cx="2198693" cy="388226"/>
              </a:xfrm>
              <a:prstGeom prst="rect">
                <a:avLst/>
              </a:prstGeom>
              <a:noFill/>
            </p:spPr>
            <p:txBody>
              <a:bodyPr wrap="square" lIns="91440" tIns="45720" rIns="91440" bIns="45720" anchor="b" anchorCtr="0">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zh-CN" altLang="en-US" sz="1600" b="1" dirty="0" smtClean="0"/>
                  <a:t>打印机</a:t>
                </a:r>
                <a:endParaRPr lang="zh-CN" altLang="en-US" sz="1600" b="1" dirty="0"/>
              </a:p>
            </p:txBody>
          </p:sp>
          <p:sp>
            <p:nvSpPr>
              <p:cNvPr id="61" name="íṥ1îḍè">
                <a:extLst>
                  <a:ext uri="{FF2B5EF4-FFF2-40B4-BE49-F238E27FC236}">
                    <a16:creationId xmlns:a16="http://schemas.microsoft.com/office/drawing/2014/main" id="{E425FA9D-D363-45C3-8FFB-CF1C23EF9A16}"/>
                  </a:ext>
                </a:extLst>
              </p:cNvPr>
              <p:cNvSpPr txBox="1"/>
              <p:nvPr/>
            </p:nvSpPr>
            <p:spPr>
              <a:xfrm>
                <a:off x="9290285" y="2619872"/>
                <a:ext cx="1298141" cy="512479"/>
              </a:xfrm>
              <a:prstGeom prst="rect">
                <a:avLst/>
              </a:prstGeom>
            </p:spPr>
            <p:txBody>
              <a:bodyPr vert="horz" wrap="square" lIns="91440" tIns="45720" rIns="91440" bIns="45720" anchor="ctr">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ctr"/>
                <a:r>
                  <a:rPr lang="zh-CN" altLang="en-US" sz="1000" dirty="0">
                    <a:latin typeface="+mn-ea"/>
                  </a:rPr>
                  <a:t>博思得</a:t>
                </a:r>
                <a:r>
                  <a:rPr lang="en-US" altLang="zh-CN" sz="1000" dirty="0">
                    <a:latin typeface="+mn-ea"/>
                  </a:rPr>
                  <a:t>C168/200S</a:t>
                </a:r>
                <a:r>
                  <a:rPr lang="zh-CN" altLang="en-US" sz="1000" dirty="0">
                    <a:latin typeface="+mn-ea"/>
                  </a:rPr>
                  <a:t>或</a:t>
                </a:r>
                <a:r>
                  <a:rPr lang="en-US" altLang="zh-CN" sz="1000" dirty="0">
                    <a:latin typeface="+mn-ea"/>
                  </a:rPr>
                  <a:t>300S</a:t>
                </a:r>
                <a:endParaRPr lang="en-US" altLang="zh-CN" sz="1000" dirty="0">
                  <a:solidFill>
                    <a:srgbClr val="000000"/>
                  </a:solidFill>
                  <a:latin typeface="+mn-ea"/>
                </a:endParaRPr>
              </a:p>
            </p:txBody>
          </p:sp>
        </p:grpSp>
        <p:grpSp>
          <p:nvGrpSpPr>
            <p:cNvPr id="48" name="ï$líďe">
              <a:extLst>
                <a:ext uri="{FF2B5EF4-FFF2-40B4-BE49-F238E27FC236}">
                  <a16:creationId xmlns:a16="http://schemas.microsoft.com/office/drawing/2014/main" id="{C1C185AE-B948-48C6-85C0-D729106E2C65}"/>
                </a:ext>
              </a:extLst>
            </p:cNvPr>
            <p:cNvGrpSpPr/>
            <p:nvPr/>
          </p:nvGrpSpPr>
          <p:grpSpPr>
            <a:xfrm>
              <a:off x="3743325" y="1459168"/>
              <a:ext cx="4705350" cy="797495"/>
              <a:chOff x="1197898" y="2503545"/>
              <a:chExt cx="2198693" cy="797495"/>
            </a:xfrm>
          </p:grpSpPr>
          <p:sp>
            <p:nvSpPr>
              <p:cNvPr id="58" name="íŝḷîḋe">
                <a:extLst>
                  <a:ext uri="{FF2B5EF4-FFF2-40B4-BE49-F238E27FC236}">
                    <a16:creationId xmlns:a16="http://schemas.microsoft.com/office/drawing/2014/main" id="{9E24A385-BA05-4CE5-B897-F15804BA66F3}"/>
                  </a:ext>
                </a:extLst>
              </p:cNvPr>
              <p:cNvSpPr txBox="1"/>
              <p:nvPr/>
            </p:nvSpPr>
            <p:spPr>
              <a:xfrm>
                <a:off x="1197898" y="2503545"/>
                <a:ext cx="2198693" cy="388226"/>
              </a:xfrm>
              <a:prstGeom prst="rect">
                <a:avLst/>
              </a:prstGeom>
              <a:noFill/>
            </p:spPr>
            <p:txBody>
              <a:bodyPr wrap="square" lIns="91440" tIns="45720" rIns="91440" bIns="45720" anchor="b" anchorCtr="0">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zh-CN" altLang="en-US" sz="1600" b="1" dirty="0" smtClean="0"/>
                  <a:t>中</a:t>
                </a:r>
                <a:r>
                  <a:rPr lang="zh-CN" altLang="en-US" sz="1600" b="1" dirty="0"/>
                  <a:t>控设备</a:t>
                </a:r>
                <a:r>
                  <a:rPr lang="zh-CN" altLang="en-US" sz="1600" b="1" dirty="0" smtClean="0"/>
                  <a:t>套件</a:t>
                </a:r>
                <a:endParaRPr lang="zh-CN" altLang="en-US" sz="1600" b="1" dirty="0"/>
              </a:p>
            </p:txBody>
          </p:sp>
          <p:sp>
            <p:nvSpPr>
              <p:cNvPr id="59" name="îSļïḑe">
                <a:extLst>
                  <a:ext uri="{FF2B5EF4-FFF2-40B4-BE49-F238E27FC236}">
                    <a16:creationId xmlns:a16="http://schemas.microsoft.com/office/drawing/2014/main" id="{CBCCE715-09AA-48BC-9A46-51114E10ED30}"/>
                  </a:ext>
                </a:extLst>
              </p:cNvPr>
              <p:cNvSpPr txBox="1"/>
              <p:nvPr/>
            </p:nvSpPr>
            <p:spPr>
              <a:xfrm>
                <a:off x="1271749" y="2991716"/>
                <a:ext cx="2050246" cy="309324"/>
              </a:xfrm>
              <a:prstGeom prst="rect">
                <a:avLst/>
              </a:prstGeom>
            </p:spPr>
            <p:txBody>
              <a:bodyPr vert="horz" wrap="square" lIns="91440" tIns="45720" rIns="91440" bIns="45720" anchor="t" anchorCtr="0">
                <a:no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fontAlgn="ctr"/>
                <a:r>
                  <a:rPr lang="zh-CN" altLang="en-US" sz="1000" dirty="0" smtClean="0">
                    <a:latin typeface="+mn-ea"/>
                  </a:rPr>
                  <a:t>几</a:t>
                </a:r>
                <a:r>
                  <a:rPr lang="zh-CN" altLang="en-US" sz="1000" dirty="0">
                    <a:latin typeface="+mn-ea"/>
                  </a:rPr>
                  <a:t>米物联供应</a:t>
                </a:r>
                <a:endParaRPr lang="en-US" altLang="zh-CN" sz="1000" dirty="0">
                  <a:latin typeface="+mn-ea"/>
                </a:endParaRPr>
              </a:p>
              <a:p>
                <a:pPr fontAlgn="ctr"/>
                <a:endParaRPr lang="zh-CN" altLang="en-US" sz="1000" dirty="0">
                  <a:solidFill>
                    <a:srgbClr val="000000"/>
                  </a:solidFill>
                  <a:latin typeface="+mn-ea"/>
                </a:endParaRPr>
              </a:p>
            </p:txBody>
          </p:sp>
        </p:grpSp>
        <p:grpSp>
          <p:nvGrpSpPr>
            <p:cNvPr id="49" name="iśḷíďê">
              <a:extLst>
                <a:ext uri="{FF2B5EF4-FFF2-40B4-BE49-F238E27FC236}">
                  <a16:creationId xmlns:a16="http://schemas.microsoft.com/office/drawing/2014/main" id="{07A81F5A-9940-49CD-941E-7B9B2876F897}"/>
                </a:ext>
              </a:extLst>
            </p:cNvPr>
            <p:cNvGrpSpPr/>
            <p:nvPr/>
          </p:nvGrpSpPr>
          <p:grpSpPr>
            <a:xfrm>
              <a:off x="7576135" y="5137680"/>
              <a:ext cx="3010148" cy="764224"/>
              <a:chOff x="1197898" y="2503545"/>
              <a:chExt cx="2206957" cy="764224"/>
            </a:xfrm>
          </p:grpSpPr>
          <p:sp>
            <p:nvSpPr>
              <p:cNvPr id="56" name="iSļîḋé">
                <a:extLst>
                  <a:ext uri="{FF2B5EF4-FFF2-40B4-BE49-F238E27FC236}">
                    <a16:creationId xmlns:a16="http://schemas.microsoft.com/office/drawing/2014/main" id="{FE298157-7CA1-4771-B690-A70C3C7425B7}"/>
                  </a:ext>
                </a:extLst>
              </p:cNvPr>
              <p:cNvSpPr txBox="1"/>
              <p:nvPr/>
            </p:nvSpPr>
            <p:spPr>
              <a:xfrm>
                <a:off x="1197898" y="2503545"/>
                <a:ext cx="2198693" cy="388226"/>
              </a:xfrm>
              <a:prstGeom prst="rect">
                <a:avLst/>
              </a:prstGeom>
              <a:noFill/>
            </p:spPr>
            <p:txBody>
              <a:bodyPr wrap="square" lIns="91440" tIns="45720" rIns="91440" bIns="45720" anchor="b" anchorCtr="0">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zh-CN" altLang="en-US" sz="1600" b="1" dirty="0" smtClean="0"/>
                  <a:t>计算机</a:t>
                </a:r>
                <a:endParaRPr lang="zh-CN" altLang="en-US" sz="1600" b="1" dirty="0"/>
              </a:p>
            </p:txBody>
          </p:sp>
          <p:sp>
            <p:nvSpPr>
              <p:cNvPr id="57" name="iS1ïḑê">
                <a:extLst>
                  <a:ext uri="{FF2B5EF4-FFF2-40B4-BE49-F238E27FC236}">
                    <a16:creationId xmlns:a16="http://schemas.microsoft.com/office/drawing/2014/main" id="{97941F00-1480-4477-A146-DE760A561A03}"/>
                  </a:ext>
                </a:extLst>
              </p:cNvPr>
              <p:cNvSpPr txBox="1"/>
              <p:nvPr/>
            </p:nvSpPr>
            <p:spPr>
              <a:xfrm>
                <a:off x="1206162" y="2921764"/>
                <a:ext cx="2198693" cy="346005"/>
              </a:xfrm>
              <a:prstGeom prst="rect">
                <a:avLst/>
              </a:prstGeom>
            </p:spPr>
            <p:txBody>
              <a:bodyPr vert="horz" wrap="square" lIns="91440" tIns="45720" rIns="91440" bIns="45720" anchor="ctr" anchorCtr="0">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ctr"/>
                <a:r>
                  <a:rPr lang="en-US" altLang="zh-CN" sz="1000" dirty="0" smtClean="0">
                    <a:latin typeface="+mn-ea"/>
                  </a:rPr>
                  <a:t>CPU:I5  </a:t>
                </a:r>
                <a:r>
                  <a:rPr lang="zh-CN" altLang="en-US" sz="1000" dirty="0" smtClean="0">
                    <a:latin typeface="+mn-ea"/>
                  </a:rPr>
                  <a:t>内存</a:t>
                </a:r>
                <a:r>
                  <a:rPr lang="en-US" altLang="zh-CN" sz="1000" dirty="0">
                    <a:latin typeface="+mn-ea"/>
                  </a:rPr>
                  <a:t>:</a:t>
                </a:r>
                <a:r>
                  <a:rPr lang="en-US" altLang="zh-CN" sz="1000" dirty="0" smtClean="0">
                    <a:latin typeface="+mn-ea"/>
                  </a:rPr>
                  <a:t>8G  </a:t>
                </a:r>
                <a:r>
                  <a:rPr lang="zh-CN" altLang="en-US" sz="1000" dirty="0" smtClean="0">
                    <a:latin typeface="+mn-ea"/>
                  </a:rPr>
                  <a:t>硬盘</a:t>
                </a:r>
                <a:r>
                  <a:rPr lang="en-US" altLang="zh-CN" sz="1000" dirty="0">
                    <a:latin typeface="+mn-ea"/>
                  </a:rPr>
                  <a:t>:</a:t>
                </a:r>
                <a:r>
                  <a:rPr lang="en-US" altLang="zh-CN" sz="1000" dirty="0" smtClean="0">
                    <a:latin typeface="+mn-ea"/>
                  </a:rPr>
                  <a:t>250G  </a:t>
                </a:r>
                <a:r>
                  <a:rPr lang="zh-CN" altLang="en-US" sz="1000" dirty="0" smtClean="0">
                    <a:latin typeface="+mn-ea"/>
                  </a:rPr>
                  <a:t>显示器</a:t>
                </a:r>
                <a:r>
                  <a:rPr lang="en-US" altLang="zh-CN" sz="1000" dirty="0">
                    <a:latin typeface="+mn-ea"/>
                  </a:rPr>
                  <a:t>:1080P</a:t>
                </a:r>
                <a:endParaRPr lang="en-US" altLang="zh-CN" sz="1000" dirty="0">
                  <a:solidFill>
                    <a:srgbClr val="000000"/>
                  </a:solidFill>
                  <a:latin typeface="+mn-ea"/>
                </a:endParaRPr>
              </a:p>
            </p:txBody>
          </p:sp>
        </p:grpSp>
        <p:grpSp>
          <p:nvGrpSpPr>
            <p:cNvPr id="50" name="iślîḋe">
              <a:extLst>
                <a:ext uri="{FF2B5EF4-FFF2-40B4-BE49-F238E27FC236}">
                  <a16:creationId xmlns:a16="http://schemas.microsoft.com/office/drawing/2014/main" id="{25E58A64-5CAD-46F8-AB65-B98F6B473A4C}"/>
                </a:ext>
              </a:extLst>
            </p:cNvPr>
            <p:cNvGrpSpPr/>
            <p:nvPr/>
          </p:nvGrpSpPr>
          <p:grpSpPr>
            <a:xfrm>
              <a:off x="8041295" y="3409083"/>
              <a:ext cx="3011675" cy="761589"/>
              <a:chOff x="1197898" y="2503545"/>
              <a:chExt cx="2208077" cy="761589"/>
            </a:xfrm>
          </p:grpSpPr>
          <p:sp>
            <p:nvSpPr>
              <p:cNvPr id="54" name="îṩļíḋe">
                <a:extLst>
                  <a:ext uri="{FF2B5EF4-FFF2-40B4-BE49-F238E27FC236}">
                    <a16:creationId xmlns:a16="http://schemas.microsoft.com/office/drawing/2014/main" id="{A7F12525-129B-47F0-B377-F85301E20ED2}"/>
                  </a:ext>
                </a:extLst>
              </p:cNvPr>
              <p:cNvSpPr txBox="1"/>
              <p:nvPr/>
            </p:nvSpPr>
            <p:spPr>
              <a:xfrm>
                <a:off x="1197898" y="2503545"/>
                <a:ext cx="2198693" cy="388226"/>
              </a:xfrm>
              <a:prstGeom prst="rect">
                <a:avLst/>
              </a:prstGeom>
              <a:noFill/>
            </p:spPr>
            <p:txBody>
              <a:bodyPr wrap="square" lIns="91440" tIns="45720" rIns="91440" bIns="45720" anchor="b" anchorCtr="0">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zh-CN" altLang="en-US" sz="1600" b="1" dirty="0"/>
                  <a:t>手</a:t>
                </a:r>
                <a:r>
                  <a:rPr lang="zh-CN" altLang="en-US" sz="1600" b="1" dirty="0" smtClean="0"/>
                  <a:t>持</a:t>
                </a:r>
                <a:r>
                  <a:rPr lang="en-US" altLang="zh-CN" sz="1600" b="1" dirty="0" smtClean="0"/>
                  <a:t>PDA</a:t>
                </a:r>
                <a:endParaRPr lang="zh-CN" altLang="en-US" sz="1600" b="1" dirty="0"/>
              </a:p>
            </p:txBody>
          </p:sp>
          <p:sp>
            <p:nvSpPr>
              <p:cNvPr id="55" name="îṧḷiḍe">
                <a:extLst>
                  <a:ext uri="{FF2B5EF4-FFF2-40B4-BE49-F238E27FC236}">
                    <a16:creationId xmlns:a16="http://schemas.microsoft.com/office/drawing/2014/main" id="{36CC9DFB-D93C-489A-A096-E810440E049D}"/>
                  </a:ext>
                </a:extLst>
              </p:cNvPr>
              <p:cNvSpPr txBox="1"/>
              <p:nvPr/>
            </p:nvSpPr>
            <p:spPr>
              <a:xfrm>
                <a:off x="1207282" y="2858085"/>
                <a:ext cx="2198693" cy="407049"/>
              </a:xfrm>
              <a:prstGeom prst="rect">
                <a:avLst/>
              </a:prstGeom>
            </p:spPr>
            <p:txBody>
              <a:bodyPr vert="horz" wrap="square" lIns="91440" tIns="45720" rIns="91440" bIns="45720" anchor="ctr" anchorCtr="0">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ctr"/>
                <a:r>
                  <a:rPr lang="zh-CN" altLang="en-US" sz="1000" dirty="0">
                    <a:latin typeface="+mn-ea"/>
                  </a:rPr>
                  <a:t>优博讯</a:t>
                </a:r>
                <a:r>
                  <a:rPr lang="en-US" altLang="zh-CN" sz="1000" dirty="0" smtClean="0">
                    <a:latin typeface="+mn-ea"/>
                  </a:rPr>
                  <a:t>I6300A(</a:t>
                </a:r>
                <a:r>
                  <a:rPr lang="zh-CN" altLang="en-US" sz="1000" dirty="0" smtClean="0">
                    <a:latin typeface="+mn-ea"/>
                  </a:rPr>
                  <a:t>支持二维码，条形码</a:t>
                </a:r>
                <a:r>
                  <a:rPr lang="en-US" altLang="zh-CN" sz="1000" dirty="0" smtClean="0">
                    <a:latin typeface="+mn-ea"/>
                  </a:rPr>
                  <a:t>)</a:t>
                </a:r>
                <a:endParaRPr lang="en-US" altLang="zh-CN" sz="1000" dirty="0">
                  <a:solidFill>
                    <a:srgbClr val="000000"/>
                  </a:solidFill>
                  <a:latin typeface="+mn-ea"/>
                </a:endParaRPr>
              </a:p>
            </p:txBody>
          </p:sp>
        </p:grpSp>
        <p:grpSp>
          <p:nvGrpSpPr>
            <p:cNvPr id="51" name="i$lîďê">
              <a:extLst>
                <a:ext uri="{FF2B5EF4-FFF2-40B4-BE49-F238E27FC236}">
                  <a16:creationId xmlns:a16="http://schemas.microsoft.com/office/drawing/2014/main" id="{AC5DAB4E-F69E-47E0-9FD0-F22F7CB5BE1E}"/>
                </a:ext>
              </a:extLst>
            </p:cNvPr>
            <p:cNvGrpSpPr/>
            <p:nvPr/>
          </p:nvGrpSpPr>
          <p:grpSpPr>
            <a:xfrm>
              <a:off x="669926" y="5157676"/>
              <a:ext cx="3791476" cy="754227"/>
              <a:chOff x="7701482" y="2276873"/>
              <a:chExt cx="2839441" cy="754227"/>
            </a:xfrm>
          </p:grpSpPr>
          <p:sp>
            <p:nvSpPr>
              <p:cNvPr id="52" name="iṣ1ídê">
                <a:extLst>
                  <a:ext uri="{FF2B5EF4-FFF2-40B4-BE49-F238E27FC236}">
                    <a16:creationId xmlns:a16="http://schemas.microsoft.com/office/drawing/2014/main" id="{9E6B5834-CFAA-4CBA-BD33-ABE0E4425726}"/>
                  </a:ext>
                </a:extLst>
              </p:cNvPr>
              <p:cNvSpPr txBox="1"/>
              <p:nvPr/>
            </p:nvSpPr>
            <p:spPr>
              <a:xfrm>
                <a:off x="8328246" y="2276873"/>
                <a:ext cx="2198693" cy="388226"/>
              </a:xfrm>
              <a:prstGeom prst="rect">
                <a:avLst/>
              </a:prstGeom>
              <a:noFill/>
            </p:spPr>
            <p:txBody>
              <a:bodyPr wrap="square" lIns="91440" tIns="45720" rIns="91440" bIns="45720" anchor="b" anchorCtr="0">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zh-CN" altLang="en-US" sz="1600" b="1" dirty="0" smtClean="0"/>
                  <a:t>服务器</a:t>
                </a:r>
                <a:endParaRPr lang="zh-CN" altLang="en-US" sz="1600" b="1" dirty="0"/>
              </a:p>
            </p:txBody>
          </p:sp>
          <p:sp>
            <p:nvSpPr>
              <p:cNvPr id="53" name="îṣľîdé">
                <a:extLst>
                  <a:ext uri="{FF2B5EF4-FFF2-40B4-BE49-F238E27FC236}">
                    <a16:creationId xmlns:a16="http://schemas.microsoft.com/office/drawing/2014/main" id="{E2725868-8591-466C-8955-28A6215930B1}"/>
                  </a:ext>
                </a:extLst>
              </p:cNvPr>
              <p:cNvSpPr txBox="1"/>
              <p:nvPr/>
            </p:nvSpPr>
            <p:spPr>
              <a:xfrm>
                <a:off x="7701482" y="2665099"/>
                <a:ext cx="2839441" cy="366001"/>
              </a:xfrm>
              <a:prstGeom prst="rect">
                <a:avLst/>
              </a:prstGeom>
            </p:spPr>
            <p:txBody>
              <a:bodyPr vert="horz" wrap="square" lIns="91440" tIns="45720" rIns="91440" bIns="45720" anchor="ctr">
                <a:normAutofit fontScale="925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lnSpc>
                    <a:spcPct val="120000"/>
                  </a:lnSpc>
                </a:pPr>
                <a:r>
                  <a:rPr lang="en-US" altLang="zh-CN" sz="1000" dirty="0">
                    <a:latin typeface="+mn-ea"/>
                  </a:rPr>
                  <a:t>CPU:E5</a:t>
                </a:r>
                <a:r>
                  <a:rPr lang="zh-CN" altLang="en-US" sz="1000" dirty="0">
                    <a:latin typeface="+mn-ea"/>
                  </a:rPr>
                  <a:t>以上  内存</a:t>
                </a:r>
                <a:r>
                  <a:rPr lang="en-US" altLang="zh-CN" sz="1000" dirty="0">
                    <a:latin typeface="+mn-ea"/>
                  </a:rPr>
                  <a:t>:16G DDR4   </a:t>
                </a:r>
                <a:r>
                  <a:rPr lang="zh-CN" altLang="en-US" sz="1000" dirty="0">
                    <a:latin typeface="+mn-ea"/>
                  </a:rPr>
                  <a:t>硬盘</a:t>
                </a:r>
                <a:r>
                  <a:rPr lang="en-US" altLang="zh-CN" sz="1000" dirty="0">
                    <a:latin typeface="+mn-ea"/>
                  </a:rPr>
                  <a:t>:1T*2 SAS RAID    </a:t>
                </a:r>
                <a:r>
                  <a:rPr lang="zh-CN" altLang="en-US" sz="1000" dirty="0">
                    <a:latin typeface="+mn-ea"/>
                  </a:rPr>
                  <a:t>网卡</a:t>
                </a:r>
                <a:r>
                  <a:rPr lang="en-US" altLang="zh-CN" sz="1000" dirty="0">
                    <a:latin typeface="+mn-ea"/>
                  </a:rPr>
                  <a:t>:</a:t>
                </a:r>
                <a:r>
                  <a:rPr lang="zh-CN" altLang="en-US" sz="1000" dirty="0">
                    <a:latin typeface="+mn-ea"/>
                  </a:rPr>
                  <a:t>双</a:t>
                </a:r>
                <a:r>
                  <a:rPr lang="zh-CN" altLang="en-US" sz="1000" dirty="0" smtClean="0">
                    <a:latin typeface="+mn-ea"/>
                  </a:rPr>
                  <a:t>网卡</a:t>
                </a:r>
                <a:endParaRPr lang="zh-CN" altLang="en-US" sz="1000" dirty="0">
                  <a:solidFill>
                    <a:srgbClr val="000000"/>
                  </a:solidFill>
                  <a:latin typeface="+mn-ea"/>
                </a:endParaRPr>
              </a:p>
            </p:txBody>
          </p:sp>
        </p:grpSp>
      </p:grpSp>
      <p:sp>
        <p:nvSpPr>
          <p:cNvPr id="37" name="database_149748"/>
          <p:cNvSpPr>
            <a:spLocks noChangeAspect="1"/>
          </p:cNvSpPr>
          <p:nvPr/>
        </p:nvSpPr>
        <p:spPr bwMode="auto">
          <a:xfrm>
            <a:off x="4916448" y="5303074"/>
            <a:ext cx="609685" cy="608829"/>
          </a:xfrm>
          <a:custGeom>
            <a:avLst/>
            <a:gdLst>
              <a:gd name="connsiteX0" fmla="*/ 325000 h 606722"/>
              <a:gd name="connsiteY0" fmla="*/ 325000 h 606722"/>
              <a:gd name="connsiteX1" fmla="*/ 325000 h 606722"/>
              <a:gd name="connsiteY1" fmla="*/ 325000 h 606722"/>
              <a:gd name="connsiteX2" fmla="*/ 325000 h 606722"/>
              <a:gd name="connsiteY2" fmla="*/ 325000 h 606722"/>
              <a:gd name="connsiteX3" fmla="*/ 325000 h 606722"/>
              <a:gd name="connsiteY3" fmla="*/ 325000 h 606722"/>
              <a:gd name="connsiteX4" fmla="*/ 325000 h 606722"/>
              <a:gd name="connsiteY4" fmla="*/ 325000 h 606722"/>
              <a:gd name="connsiteX5" fmla="*/ 325000 h 606722"/>
              <a:gd name="connsiteY5" fmla="*/ 325000 h 606722"/>
              <a:gd name="connsiteX6" fmla="*/ 325000 h 606722"/>
              <a:gd name="connsiteY6" fmla="*/ 325000 h 606722"/>
              <a:gd name="connsiteX7" fmla="*/ 325000 h 606722"/>
              <a:gd name="connsiteY7" fmla="*/ 325000 h 606722"/>
              <a:gd name="connsiteX8" fmla="*/ 325000 h 606722"/>
              <a:gd name="connsiteY8" fmla="*/ 325000 h 606722"/>
              <a:gd name="connsiteX9" fmla="*/ 325000 h 606722"/>
              <a:gd name="connsiteY9" fmla="*/ 325000 h 606722"/>
              <a:gd name="connsiteX10" fmla="*/ 325000 h 606722"/>
              <a:gd name="connsiteY10" fmla="*/ 325000 h 606722"/>
              <a:gd name="connsiteX11" fmla="*/ 325000 h 606722"/>
              <a:gd name="connsiteY11" fmla="*/ 325000 h 606722"/>
              <a:gd name="connsiteX12" fmla="*/ 325000 h 606722"/>
              <a:gd name="connsiteY12" fmla="*/ 325000 h 606722"/>
              <a:gd name="connsiteX13" fmla="*/ 325000 h 606722"/>
              <a:gd name="connsiteY13" fmla="*/ 325000 h 606722"/>
              <a:gd name="connsiteX14" fmla="*/ 325000 h 606722"/>
              <a:gd name="connsiteY14" fmla="*/ 325000 h 606722"/>
              <a:gd name="connsiteX15" fmla="*/ 325000 h 606722"/>
              <a:gd name="connsiteY15" fmla="*/ 325000 h 606722"/>
              <a:gd name="connsiteX16" fmla="*/ 325000 h 606722"/>
              <a:gd name="connsiteY16" fmla="*/ 325000 h 606722"/>
              <a:gd name="connsiteX17" fmla="*/ 325000 h 606722"/>
              <a:gd name="connsiteY17" fmla="*/ 325000 h 606722"/>
              <a:gd name="connsiteX18" fmla="*/ 325000 h 606722"/>
              <a:gd name="connsiteY18" fmla="*/ 325000 h 606722"/>
              <a:gd name="connsiteX19" fmla="*/ 325000 h 606722"/>
              <a:gd name="connsiteY19" fmla="*/ 325000 h 606722"/>
              <a:gd name="connsiteX20" fmla="*/ 325000 h 606722"/>
              <a:gd name="connsiteY20" fmla="*/ 325000 h 606722"/>
              <a:gd name="connsiteX21" fmla="*/ 325000 h 606722"/>
              <a:gd name="connsiteY21" fmla="*/ 325000 h 606722"/>
              <a:gd name="connsiteX22" fmla="*/ 325000 h 606722"/>
              <a:gd name="connsiteY22" fmla="*/ 325000 h 606722"/>
              <a:gd name="connsiteX23" fmla="*/ 325000 h 606722"/>
              <a:gd name="connsiteY23" fmla="*/ 325000 h 606722"/>
              <a:gd name="connsiteX24" fmla="*/ 325000 h 606722"/>
              <a:gd name="connsiteY24" fmla="*/ 325000 h 606722"/>
              <a:gd name="connsiteX25" fmla="*/ 325000 h 606722"/>
              <a:gd name="connsiteY25" fmla="*/ 325000 h 606722"/>
              <a:gd name="connsiteX26" fmla="*/ 325000 h 606722"/>
              <a:gd name="connsiteY26" fmla="*/ 325000 h 606722"/>
              <a:gd name="connsiteX27" fmla="*/ 325000 h 606722"/>
              <a:gd name="connsiteY27" fmla="*/ 325000 h 606722"/>
              <a:gd name="connsiteX28" fmla="*/ 325000 h 606722"/>
              <a:gd name="connsiteY28" fmla="*/ 325000 h 606722"/>
              <a:gd name="connsiteX29" fmla="*/ 325000 h 606722"/>
              <a:gd name="connsiteY29" fmla="*/ 325000 h 606722"/>
              <a:gd name="connsiteX30" fmla="*/ 325000 h 606722"/>
              <a:gd name="connsiteY30" fmla="*/ 325000 h 606722"/>
              <a:gd name="connsiteX31" fmla="*/ 325000 h 606722"/>
              <a:gd name="connsiteY31" fmla="*/ 325000 h 606722"/>
              <a:gd name="connsiteX32" fmla="*/ 325000 h 606722"/>
              <a:gd name="connsiteY32" fmla="*/ 325000 h 606722"/>
              <a:gd name="connsiteX33" fmla="*/ 325000 h 606722"/>
              <a:gd name="connsiteY33" fmla="*/ 325000 h 606722"/>
              <a:gd name="connsiteX34" fmla="*/ 325000 h 606722"/>
              <a:gd name="connsiteY34" fmla="*/ 325000 h 606722"/>
              <a:gd name="connsiteX35" fmla="*/ 325000 h 606722"/>
              <a:gd name="connsiteY35" fmla="*/ 325000 h 606722"/>
              <a:gd name="connsiteX36" fmla="*/ 325000 h 606722"/>
              <a:gd name="connsiteY36" fmla="*/ 325000 h 606722"/>
              <a:gd name="connsiteX37" fmla="*/ 325000 h 606722"/>
              <a:gd name="connsiteY37" fmla="*/ 325000 h 606722"/>
              <a:gd name="connsiteX38" fmla="*/ 325000 h 606722"/>
              <a:gd name="connsiteY38" fmla="*/ 325000 h 606722"/>
              <a:gd name="connsiteX39" fmla="*/ 325000 h 606722"/>
              <a:gd name="connsiteY39" fmla="*/ 325000 h 606722"/>
              <a:gd name="connsiteX40" fmla="*/ 325000 h 606722"/>
              <a:gd name="connsiteY40" fmla="*/ 325000 h 606722"/>
              <a:gd name="connsiteX41" fmla="*/ 325000 h 606722"/>
              <a:gd name="connsiteY41" fmla="*/ 325000 h 606722"/>
              <a:gd name="connsiteX42" fmla="*/ 325000 h 606722"/>
              <a:gd name="connsiteY42" fmla="*/ 325000 h 606722"/>
              <a:gd name="connsiteX43" fmla="*/ 325000 h 606722"/>
              <a:gd name="connsiteY43" fmla="*/ 325000 h 606722"/>
              <a:gd name="connsiteX44" fmla="*/ 325000 h 606722"/>
              <a:gd name="connsiteY44" fmla="*/ 325000 h 606722"/>
              <a:gd name="connsiteX45" fmla="*/ 325000 h 606722"/>
              <a:gd name="connsiteY45" fmla="*/ 325000 h 606722"/>
              <a:gd name="connsiteX46" fmla="*/ 325000 h 606722"/>
              <a:gd name="connsiteY46" fmla="*/ 325000 h 606722"/>
              <a:gd name="connsiteX47" fmla="*/ 325000 h 606722"/>
              <a:gd name="connsiteY47" fmla="*/ 325000 h 606722"/>
              <a:gd name="connsiteX48" fmla="*/ 325000 h 606722"/>
              <a:gd name="connsiteY48" fmla="*/ 325000 h 606722"/>
              <a:gd name="connsiteX49" fmla="*/ 325000 h 606722"/>
              <a:gd name="connsiteY49" fmla="*/ 325000 h 606722"/>
              <a:gd name="connsiteX50" fmla="*/ 325000 h 606722"/>
              <a:gd name="connsiteY50" fmla="*/ 325000 h 606722"/>
              <a:gd name="connsiteX51" fmla="*/ 325000 h 606722"/>
              <a:gd name="connsiteY51" fmla="*/ 325000 h 606722"/>
              <a:gd name="connsiteX52" fmla="*/ 325000 h 606722"/>
              <a:gd name="connsiteY52" fmla="*/ 325000 h 606722"/>
              <a:gd name="connsiteX53" fmla="*/ 325000 h 606722"/>
              <a:gd name="connsiteY53" fmla="*/ 325000 h 606722"/>
              <a:gd name="connsiteX54" fmla="*/ 325000 h 606722"/>
              <a:gd name="connsiteY54" fmla="*/ 325000 h 606722"/>
              <a:gd name="connsiteX55" fmla="*/ 325000 h 606722"/>
              <a:gd name="connsiteY55" fmla="*/ 325000 h 606722"/>
              <a:gd name="connsiteX56" fmla="*/ 325000 h 606722"/>
              <a:gd name="connsiteY56" fmla="*/ 325000 h 606722"/>
              <a:gd name="connsiteX57" fmla="*/ 325000 h 606722"/>
              <a:gd name="connsiteY57" fmla="*/ 325000 h 606722"/>
              <a:gd name="connsiteX58" fmla="*/ 325000 h 606722"/>
              <a:gd name="connsiteY58" fmla="*/ 325000 h 606722"/>
              <a:gd name="connsiteX59" fmla="*/ 325000 h 606722"/>
              <a:gd name="connsiteY59" fmla="*/ 325000 h 606722"/>
              <a:gd name="connsiteX60" fmla="*/ 325000 h 606722"/>
              <a:gd name="connsiteY60" fmla="*/ 325000 h 606722"/>
              <a:gd name="connsiteX61" fmla="*/ 325000 h 606722"/>
              <a:gd name="connsiteY61" fmla="*/ 325000 h 606722"/>
              <a:gd name="connsiteX62" fmla="*/ 325000 h 606722"/>
              <a:gd name="connsiteY62" fmla="*/ 325000 h 606722"/>
              <a:gd name="connsiteX63" fmla="*/ 325000 h 606722"/>
              <a:gd name="connsiteY63" fmla="*/ 325000 h 606722"/>
              <a:gd name="connsiteX64" fmla="*/ 325000 h 606722"/>
              <a:gd name="connsiteY64" fmla="*/ 325000 h 606722"/>
              <a:gd name="connsiteX65" fmla="*/ 325000 h 606722"/>
              <a:gd name="connsiteY65" fmla="*/ 325000 h 606722"/>
              <a:gd name="connsiteX66" fmla="*/ 325000 h 606722"/>
              <a:gd name="connsiteY66" fmla="*/ 325000 h 606722"/>
              <a:gd name="connsiteX67" fmla="*/ 325000 h 606722"/>
              <a:gd name="connsiteY67" fmla="*/ 325000 h 606722"/>
              <a:gd name="connsiteX68" fmla="*/ 325000 h 606722"/>
              <a:gd name="connsiteY68" fmla="*/ 325000 h 606722"/>
              <a:gd name="connsiteX69" fmla="*/ 325000 h 606722"/>
              <a:gd name="connsiteY69" fmla="*/ 325000 h 606722"/>
              <a:gd name="connsiteX70" fmla="*/ 325000 h 606722"/>
              <a:gd name="connsiteY70" fmla="*/ 325000 h 606722"/>
              <a:gd name="connsiteX71" fmla="*/ 325000 h 606722"/>
              <a:gd name="connsiteY71" fmla="*/ 325000 h 606722"/>
              <a:gd name="connsiteX72" fmla="*/ 325000 h 606722"/>
              <a:gd name="connsiteY72" fmla="*/ 325000 h 606722"/>
              <a:gd name="connsiteX73" fmla="*/ 325000 h 606722"/>
              <a:gd name="connsiteY73" fmla="*/ 325000 h 606722"/>
              <a:gd name="connsiteX74" fmla="*/ 325000 h 606722"/>
              <a:gd name="connsiteY74" fmla="*/ 325000 h 606722"/>
              <a:gd name="connsiteX75" fmla="*/ 325000 h 606722"/>
              <a:gd name="connsiteY75" fmla="*/ 325000 h 606722"/>
              <a:gd name="connsiteX76" fmla="*/ 325000 h 606722"/>
              <a:gd name="connsiteY76" fmla="*/ 325000 h 606722"/>
              <a:gd name="connsiteX77" fmla="*/ 325000 h 606722"/>
              <a:gd name="connsiteY77" fmla="*/ 325000 h 606722"/>
              <a:gd name="connsiteX78" fmla="*/ 325000 h 606722"/>
              <a:gd name="connsiteY78" fmla="*/ 325000 h 606722"/>
              <a:gd name="connsiteX79" fmla="*/ 325000 h 606722"/>
              <a:gd name="connsiteY79" fmla="*/ 325000 h 606722"/>
              <a:gd name="connsiteX80" fmla="*/ 325000 h 606722"/>
              <a:gd name="connsiteY80" fmla="*/ 325000 h 606722"/>
              <a:gd name="connsiteX81" fmla="*/ 325000 h 606722"/>
              <a:gd name="connsiteY81" fmla="*/ 325000 h 606722"/>
              <a:gd name="connsiteX82" fmla="*/ 325000 h 606722"/>
              <a:gd name="connsiteY82" fmla="*/ 325000 h 606722"/>
              <a:gd name="connsiteX83" fmla="*/ 325000 h 606722"/>
              <a:gd name="connsiteY83" fmla="*/ 325000 h 606722"/>
              <a:gd name="connsiteX84" fmla="*/ 325000 h 606722"/>
              <a:gd name="connsiteY84" fmla="*/ 325000 h 606722"/>
              <a:gd name="connsiteX85" fmla="*/ 325000 h 606722"/>
              <a:gd name="connsiteY85" fmla="*/ 325000 h 606722"/>
              <a:gd name="connsiteX86" fmla="*/ 325000 h 606722"/>
              <a:gd name="connsiteY86" fmla="*/ 325000 h 606722"/>
              <a:gd name="connsiteX87" fmla="*/ 325000 h 606722"/>
              <a:gd name="connsiteY87" fmla="*/ 325000 h 606722"/>
              <a:gd name="connsiteX88" fmla="*/ 325000 h 606722"/>
              <a:gd name="connsiteY88" fmla="*/ 325000 h 606722"/>
              <a:gd name="connsiteX89" fmla="*/ 325000 h 606722"/>
              <a:gd name="connsiteY89" fmla="*/ 325000 h 606722"/>
              <a:gd name="connsiteX90" fmla="*/ 325000 h 606722"/>
              <a:gd name="connsiteY90" fmla="*/ 325000 h 606722"/>
              <a:gd name="connsiteX91" fmla="*/ 325000 h 606722"/>
              <a:gd name="connsiteY91" fmla="*/ 325000 h 606722"/>
              <a:gd name="connsiteX92" fmla="*/ 325000 h 606722"/>
              <a:gd name="connsiteY92" fmla="*/ 325000 h 606722"/>
              <a:gd name="connsiteX93" fmla="*/ 325000 h 606722"/>
              <a:gd name="connsiteY93" fmla="*/ 325000 h 606722"/>
              <a:gd name="connsiteX94" fmla="*/ 325000 h 606722"/>
              <a:gd name="connsiteY94" fmla="*/ 325000 h 606722"/>
              <a:gd name="connsiteX95" fmla="*/ 325000 h 606722"/>
              <a:gd name="connsiteY95" fmla="*/ 325000 h 606722"/>
              <a:gd name="connsiteX96" fmla="*/ 325000 h 606722"/>
              <a:gd name="connsiteY96" fmla="*/ 325000 h 606722"/>
              <a:gd name="connsiteX97" fmla="*/ 325000 h 606722"/>
              <a:gd name="connsiteY97" fmla="*/ 325000 h 606722"/>
              <a:gd name="connsiteX98" fmla="*/ 325000 h 606722"/>
              <a:gd name="connsiteY98" fmla="*/ 325000 h 606722"/>
              <a:gd name="connsiteX99" fmla="*/ 325000 h 606722"/>
              <a:gd name="connsiteY99" fmla="*/ 325000 h 606722"/>
              <a:gd name="connsiteX100" fmla="*/ 325000 h 606722"/>
              <a:gd name="connsiteY100" fmla="*/ 325000 h 606722"/>
              <a:gd name="connsiteX101" fmla="*/ 325000 h 606722"/>
              <a:gd name="connsiteY101" fmla="*/ 325000 h 606722"/>
              <a:gd name="connsiteX102" fmla="*/ 325000 h 606722"/>
              <a:gd name="connsiteY102" fmla="*/ 325000 h 606722"/>
              <a:gd name="connsiteX103" fmla="*/ 325000 h 606722"/>
              <a:gd name="connsiteY103" fmla="*/ 325000 h 606722"/>
              <a:gd name="connsiteX104" fmla="*/ 325000 h 606722"/>
              <a:gd name="connsiteY104" fmla="*/ 325000 h 606722"/>
              <a:gd name="connsiteX105" fmla="*/ 325000 h 606722"/>
              <a:gd name="connsiteY105" fmla="*/ 325000 h 606722"/>
              <a:gd name="connsiteX106" fmla="*/ 325000 h 606722"/>
              <a:gd name="connsiteY106" fmla="*/ 325000 h 606722"/>
              <a:gd name="connsiteX107" fmla="*/ 325000 h 606722"/>
              <a:gd name="connsiteY107" fmla="*/ 325000 h 606722"/>
              <a:gd name="connsiteX108" fmla="*/ 325000 h 606722"/>
              <a:gd name="connsiteY108" fmla="*/ 325000 h 606722"/>
              <a:gd name="connsiteX109" fmla="*/ 325000 h 606722"/>
              <a:gd name="connsiteY109" fmla="*/ 325000 h 606722"/>
              <a:gd name="connsiteX110" fmla="*/ 325000 h 606722"/>
              <a:gd name="connsiteY110" fmla="*/ 325000 h 606722"/>
              <a:gd name="connsiteX111" fmla="*/ 325000 h 606722"/>
              <a:gd name="connsiteY111" fmla="*/ 325000 h 606722"/>
              <a:gd name="connsiteX112" fmla="*/ 325000 h 606722"/>
              <a:gd name="connsiteY112" fmla="*/ 325000 h 606722"/>
              <a:gd name="connsiteX113" fmla="*/ 325000 h 606722"/>
              <a:gd name="connsiteY113" fmla="*/ 325000 h 606722"/>
              <a:gd name="connsiteX114" fmla="*/ 325000 h 606722"/>
              <a:gd name="connsiteY114" fmla="*/ 325000 h 606722"/>
              <a:gd name="connsiteX115" fmla="*/ 325000 h 606722"/>
              <a:gd name="connsiteY115" fmla="*/ 325000 h 606722"/>
              <a:gd name="connsiteX116" fmla="*/ 325000 h 606722"/>
              <a:gd name="connsiteY116" fmla="*/ 325000 h 606722"/>
              <a:gd name="connsiteX117" fmla="*/ 325000 h 606722"/>
              <a:gd name="connsiteY117" fmla="*/ 325000 h 606722"/>
              <a:gd name="connsiteX118" fmla="*/ 325000 h 606722"/>
              <a:gd name="connsiteY118" fmla="*/ 325000 h 606722"/>
              <a:gd name="connsiteX119" fmla="*/ 325000 h 606722"/>
              <a:gd name="connsiteY119" fmla="*/ 325000 h 606722"/>
              <a:gd name="connsiteX120" fmla="*/ 325000 h 606722"/>
              <a:gd name="connsiteY120" fmla="*/ 325000 h 606722"/>
              <a:gd name="connsiteX121" fmla="*/ 325000 h 606722"/>
              <a:gd name="connsiteY121" fmla="*/ 325000 h 606722"/>
              <a:gd name="connsiteX122" fmla="*/ 325000 h 606722"/>
              <a:gd name="connsiteY122" fmla="*/ 325000 h 606722"/>
              <a:gd name="connsiteX123" fmla="*/ 325000 h 606722"/>
              <a:gd name="connsiteY123" fmla="*/ 325000 h 606722"/>
              <a:gd name="connsiteX124" fmla="*/ 325000 h 606722"/>
              <a:gd name="connsiteY124" fmla="*/ 325000 h 606722"/>
              <a:gd name="connsiteX125" fmla="*/ 325000 h 606722"/>
              <a:gd name="connsiteY125" fmla="*/ 325000 h 606722"/>
              <a:gd name="connsiteX126" fmla="*/ 325000 h 606722"/>
              <a:gd name="connsiteY126" fmla="*/ 325000 h 606722"/>
              <a:gd name="connsiteX127" fmla="*/ 325000 h 606722"/>
              <a:gd name="connsiteY127" fmla="*/ 325000 h 606722"/>
              <a:gd name="connsiteX128" fmla="*/ 325000 h 606722"/>
              <a:gd name="connsiteY128" fmla="*/ 325000 h 606722"/>
              <a:gd name="connsiteX129" fmla="*/ 325000 h 606722"/>
              <a:gd name="connsiteY129" fmla="*/ 325000 h 606722"/>
              <a:gd name="connsiteX130" fmla="*/ 325000 h 606722"/>
              <a:gd name="connsiteY130" fmla="*/ 325000 h 606722"/>
              <a:gd name="connsiteX131" fmla="*/ 325000 h 606722"/>
              <a:gd name="connsiteY131" fmla="*/ 325000 h 606722"/>
              <a:gd name="connsiteX132" fmla="*/ 325000 h 606722"/>
              <a:gd name="connsiteY132" fmla="*/ 325000 h 606722"/>
              <a:gd name="connsiteX133" fmla="*/ 325000 h 606722"/>
              <a:gd name="connsiteY133" fmla="*/ 325000 h 606722"/>
              <a:gd name="connsiteX134" fmla="*/ 325000 h 606722"/>
              <a:gd name="connsiteY134" fmla="*/ 325000 h 606722"/>
              <a:gd name="connsiteX135" fmla="*/ 325000 h 606722"/>
              <a:gd name="connsiteY135" fmla="*/ 325000 h 606722"/>
              <a:gd name="connsiteX136" fmla="*/ 325000 h 606722"/>
              <a:gd name="connsiteY136" fmla="*/ 325000 h 606722"/>
              <a:gd name="connsiteX137" fmla="*/ 325000 h 606722"/>
              <a:gd name="connsiteY137" fmla="*/ 325000 h 606722"/>
              <a:gd name="connsiteX138" fmla="*/ 325000 h 606722"/>
              <a:gd name="connsiteY138" fmla="*/ 325000 h 606722"/>
              <a:gd name="connsiteX139" fmla="*/ 325000 h 606722"/>
              <a:gd name="connsiteY139" fmla="*/ 325000 h 606722"/>
              <a:gd name="connsiteX140" fmla="*/ 325000 h 606722"/>
              <a:gd name="connsiteY140" fmla="*/ 325000 h 606722"/>
              <a:gd name="connsiteX141" fmla="*/ 325000 h 606722"/>
              <a:gd name="connsiteY141" fmla="*/ 325000 h 606722"/>
              <a:gd name="connsiteX142" fmla="*/ 325000 h 606722"/>
              <a:gd name="connsiteY142" fmla="*/ 325000 h 606722"/>
              <a:gd name="connsiteX143" fmla="*/ 325000 h 606722"/>
              <a:gd name="connsiteY143" fmla="*/ 325000 h 606722"/>
              <a:gd name="connsiteX144" fmla="*/ 325000 h 606722"/>
              <a:gd name="connsiteY144" fmla="*/ 325000 h 606722"/>
              <a:gd name="connsiteX145" fmla="*/ 325000 h 606722"/>
              <a:gd name="connsiteY145" fmla="*/ 325000 h 606722"/>
              <a:gd name="connsiteX146" fmla="*/ 325000 h 606722"/>
              <a:gd name="connsiteY146" fmla="*/ 325000 h 606722"/>
              <a:gd name="connsiteX147" fmla="*/ 325000 h 606722"/>
              <a:gd name="connsiteY147" fmla="*/ 325000 h 606722"/>
              <a:gd name="connsiteX148" fmla="*/ 325000 h 606722"/>
              <a:gd name="connsiteY148" fmla="*/ 325000 h 606722"/>
              <a:gd name="connsiteX149" fmla="*/ 325000 h 606722"/>
              <a:gd name="connsiteY149" fmla="*/ 325000 h 606722"/>
              <a:gd name="connsiteX150" fmla="*/ 325000 h 606722"/>
              <a:gd name="connsiteY150" fmla="*/ 325000 h 606722"/>
              <a:gd name="connsiteX151" fmla="*/ 325000 h 606722"/>
              <a:gd name="connsiteY151" fmla="*/ 325000 h 606722"/>
              <a:gd name="connsiteX152" fmla="*/ 325000 h 606722"/>
              <a:gd name="connsiteY152" fmla="*/ 325000 h 606722"/>
              <a:gd name="connsiteX153" fmla="*/ 325000 h 606722"/>
              <a:gd name="connsiteY153" fmla="*/ 325000 h 606722"/>
              <a:gd name="connsiteX154" fmla="*/ 325000 h 606722"/>
              <a:gd name="connsiteY154" fmla="*/ 325000 h 606722"/>
              <a:gd name="connsiteX155" fmla="*/ 325000 h 606722"/>
              <a:gd name="connsiteY155" fmla="*/ 325000 h 606722"/>
              <a:gd name="connsiteX156" fmla="*/ 325000 h 606722"/>
              <a:gd name="connsiteY156" fmla="*/ 325000 h 606722"/>
              <a:gd name="connsiteX157" fmla="*/ 325000 h 606722"/>
              <a:gd name="connsiteY157" fmla="*/ 325000 h 606722"/>
              <a:gd name="connsiteX158" fmla="*/ 325000 h 606722"/>
              <a:gd name="connsiteY158" fmla="*/ 325000 h 606722"/>
              <a:gd name="connsiteX159" fmla="*/ 325000 h 606722"/>
              <a:gd name="connsiteY159" fmla="*/ 325000 h 606722"/>
              <a:gd name="connsiteX160" fmla="*/ 325000 h 606722"/>
              <a:gd name="connsiteY160" fmla="*/ 325000 h 6067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Lst>
            <a:rect l="l" t="t" r="r" b="b"/>
            <a:pathLst>
              <a:path w="607614" h="606761">
                <a:moveTo>
                  <a:pt x="222601" y="492232"/>
                </a:moveTo>
                <a:cubicBezTo>
                  <a:pt x="265127" y="516503"/>
                  <a:pt x="344104" y="528639"/>
                  <a:pt x="420044" y="528639"/>
                </a:cubicBezTo>
                <a:cubicBezTo>
                  <a:pt x="490667" y="528639"/>
                  <a:pt x="563569" y="518020"/>
                  <a:pt x="607614" y="497541"/>
                </a:cubicBezTo>
                <a:lnTo>
                  <a:pt x="607614" y="536223"/>
                </a:lnTo>
                <a:cubicBezTo>
                  <a:pt x="607614" y="537740"/>
                  <a:pt x="606855" y="539257"/>
                  <a:pt x="606855" y="540774"/>
                </a:cubicBezTo>
                <a:cubicBezTo>
                  <a:pt x="595464" y="584007"/>
                  <a:pt x="502818" y="606761"/>
                  <a:pt x="415487" y="606761"/>
                </a:cubicBezTo>
                <a:cubicBezTo>
                  <a:pt x="327397" y="606761"/>
                  <a:pt x="234751" y="584007"/>
                  <a:pt x="224120" y="540016"/>
                </a:cubicBezTo>
                <a:cubicBezTo>
                  <a:pt x="223360" y="539257"/>
                  <a:pt x="222601" y="537740"/>
                  <a:pt x="222601" y="536223"/>
                </a:cubicBezTo>
                <a:close/>
                <a:moveTo>
                  <a:pt x="106327" y="445216"/>
                </a:moveTo>
                <a:cubicBezTo>
                  <a:pt x="81264" y="445216"/>
                  <a:pt x="60758" y="465693"/>
                  <a:pt x="60758" y="490719"/>
                </a:cubicBezTo>
                <a:cubicBezTo>
                  <a:pt x="60758" y="515746"/>
                  <a:pt x="81264" y="536222"/>
                  <a:pt x="106327" y="536222"/>
                </a:cubicBezTo>
                <a:cubicBezTo>
                  <a:pt x="131390" y="536222"/>
                  <a:pt x="151896" y="515746"/>
                  <a:pt x="151896" y="490719"/>
                </a:cubicBezTo>
                <a:cubicBezTo>
                  <a:pt x="151896" y="465693"/>
                  <a:pt x="131390" y="445216"/>
                  <a:pt x="106327" y="445216"/>
                </a:cubicBezTo>
                <a:close/>
                <a:moveTo>
                  <a:pt x="8354" y="404264"/>
                </a:moveTo>
                <a:lnTo>
                  <a:pt x="202781" y="404264"/>
                </a:lnTo>
                <a:lnTo>
                  <a:pt x="202781" y="437633"/>
                </a:lnTo>
                <a:lnTo>
                  <a:pt x="202781" y="441425"/>
                </a:lnTo>
                <a:lnTo>
                  <a:pt x="202781" y="445216"/>
                </a:lnTo>
                <a:lnTo>
                  <a:pt x="202781" y="466451"/>
                </a:lnTo>
                <a:lnTo>
                  <a:pt x="202781" y="492236"/>
                </a:lnTo>
                <a:lnTo>
                  <a:pt x="202781" y="536222"/>
                </a:lnTo>
                <a:cubicBezTo>
                  <a:pt x="202781" y="537739"/>
                  <a:pt x="202781" y="539255"/>
                  <a:pt x="203541" y="540014"/>
                </a:cubicBezTo>
                <a:cubicBezTo>
                  <a:pt x="206578" y="552148"/>
                  <a:pt x="215692" y="562765"/>
                  <a:pt x="230122" y="571866"/>
                </a:cubicBezTo>
                <a:cubicBezTo>
                  <a:pt x="240755" y="578691"/>
                  <a:pt x="236958" y="596134"/>
                  <a:pt x="224047" y="596892"/>
                </a:cubicBezTo>
                <a:lnTo>
                  <a:pt x="223287" y="596892"/>
                </a:lnTo>
                <a:lnTo>
                  <a:pt x="46328" y="596892"/>
                </a:lnTo>
                <a:cubicBezTo>
                  <a:pt x="21265" y="596892"/>
                  <a:pt x="0" y="575657"/>
                  <a:pt x="0" y="549873"/>
                </a:cubicBezTo>
                <a:lnTo>
                  <a:pt x="0" y="430807"/>
                </a:lnTo>
                <a:cubicBezTo>
                  <a:pt x="0" y="420948"/>
                  <a:pt x="3038" y="411848"/>
                  <a:pt x="8354" y="404264"/>
                </a:cubicBezTo>
                <a:close/>
                <a:moveTo>
                  <a:pt x="222601" y="401218"/>
                </a:moveTo>
                <a:cubicBezTo>
                  <a:pt x="260571" y="423220"/>
                  <a:pt x="329676" y="435359"/>
                  <a:pt x="398781" y="436876"/>
                </a:cubicBezTo>
                <a:cubicBezTo>
                  <a:pt x="399540" y="436876"/>
                  <a:pt x="399540" y="436876"/>
                  <a:pt x="399540" y="436876"/>
                </a:cubicBezTo>
                <a:cubicBezTo>
                  <a:pt x="402578" y="436876"/>
                  <a:pt x="405615" y="436876"/>
                  <a:pt x="408653" y="437635"/>
                </a:cubicBezTo>
                <a:lnTo>
                  <a:pt x="410171" y="437635"/>
                </a:lnTo>
                <a:cubicBezTo>
                  <a:pt x="413209" y="437635"/>
                  <a:pt x="417006" y="437635"/>
                  <a:pt x="420044" y="437635"/>
                </a:cubicBezTo>
                <a:cubicBezTo>
                  <a:pt x="423841" y="437635"/>
                  <a:pt x="426878" y="437635"/>
                  <a:pt x="430675" y="437635"/>
                </a:cubicBezTo>
                <a:cubicBezTo>
                  <a:pt x="431435" y="437635"/>
                  <a:pt x="431435" y="437635"/>
                  <a:pt x="432194" y="437635"/>
                </a:cubicBezTo>
                <a:cubicBezTo>
                  <a:pt x="435231" y="436876"/>
                  <a:pt x="438269" y="436876"/>
                  <a:pt x="440547" y="436876"/>
                </a:cubicBezTo>
                <a:lnTo>
                  <a:pt x="442066" y="436876"/>
                </a:lnTo>
                <a:cubicBezTo>
                  <a:pt x="505096" y="435359"/>
                  <a:pt x="568126" y="424737"/>
                  <a:pt x="607614" y="406529"/>
                </a:cubicBezTo>
                <a:lnTo>
                  <a:pt x="607614" y="437635"/>
                </a:lnTo>
                <a:lnTo>
                  <a:pt x="607614" y="441428"/>
                </a:lnTo>
                <a:lnTo>
                  <a:pt x="607614" y="445222"/>
                </a:lnTo>
                <a:lnTo>
                  <a:pt x="607614" y="474052"/>
                </a:lnTo>
                <a:cubicBezTo>
                  <a:pt x="577238" y="492261"/>
                  <a:pt x="508133" y="508193"/>
                  <a:pt x="420044" y="508193"/>
                </a:cubicBezTo>
                <a:cubicBezTo>
                  <a:pt x="319804" y="508193"/>
                  <a:pt x="244623" y="487708"/>
                  <a:pt x="222601" y="466465"/>
                </a:cubicBezTo>
                <a:lnTo>
                  <a:pt x="222601" y="445222"/>
                </a:lnTo>
                <a:lnTo>
                  <a:pt x="222601" y="441428"/>
                </a:lnTo>
                <a:lnTo>
                  <a:pt x="222601" y="437635"/>
                </a:lnTo>
                <a:close/>
                <a:moveTo>
                  <a:pt x="222601" y="310204"/>
                </a:moveTo>
                <a:cubicBezTo>
                  <a:pt x="265127" y="333723"/>
                  <a:pt x="344104" y="346621"/>
                  <a:pt x="420044" y="346621"/>
                </a:cubicBezTo>
                <a:cubicBezTo>
                  <a:pt x="490667" y="346621"/>
                  <a:pt x="563569" y="335999"/>
                  <a:pt x="607614" y="315515"/>
                </a:cubicBezTo>
                <a:lnTo>
                  <a:pt x="607614" y="346621"/>
                </a:lnTo>
                <a:lnTo>
                  <a:pt x="607614" y="350414"/>
                </a:lnTo>
                <a:lnTo>
                  <a:pt x="607614" y="354208"/>
                </a:lnTo>
                <a:lnTo>
                  <a:pt x="607614" y="383038"/>
                </a:lnTo>
                <a:cubicBezTo>
                  <a:pt x="577238" y="401247"/>
                  <a:pt x="506615" y="417179"/>
                  <a:pt x="420044" y="417179"/>
                </a:cubicBezTo>
                <a:cubicBezTo>
                  <a:pt x="325879" y="417179"/>
                  <a:pt x="251458" y="398212"/>
                  <a:pt x="225639" y="377727"/>
                </a:cubicBezTo>
                <a:cubicBezTo>
                  <a:pt x="225639" y="376969"/>
                  <a:pt x="224879" y="376969"/>
                  <a:pt x="224120" y="376210"/>
                </a:cubicBezTo>
                <a:cubicBezTo>
                  <a:pt x="224120" y="376210"/>
                  <a:pt x="223360" y="375451"/>
                  <a:pt x="222601" y="374692"/>
                </a:cubicBezTo>
                <a:lnTo>
                  <a:pt x="222601" y="354208"/>
                </a:lnTo>
                <a:lnTo>
                  <a:pt x="222601" y="350414"/>
                </a:lnTo>
                <a:lnTo>
                  <a:pt x="222601" y="346621"/>
                </a:lnTo>
                <a:close/>
                <a:moveTo>
                  <a:pt x="106343" y="252562"/>
                </a:moveTo>
                <a:cubicBezTo>
                  <a:pt x="81277" y="252562"/>
                  <a:pt x="60768" y="273039"/>
                  <a:pt x="60768" y="298066"/>
                </a:cubicBezTo>
                <a:cubicBezTo>
                  <a:pt x="60768" y="323094"/>
                  <a:pt x="81277" y="343571"/>
                  <a:pt x="106343" y="343571"/>
                </a:cubicBezTo>
                <a:cubicBezTo>
                  <a:pt x="131410" y="343571"/>
                  <a:pt x="151919" y="323094"/>
                  <a:pt x="151919" y="298066"/>
                </a:cubicBezTo>
                <a:cubicBezTo>
                  <a:pt x="151919" y="273039"/>
                  <a:pt x="131410" y="252562"/>
                  <a:pt x="106343" y="252562"/>
                </a:cubicBezTo>
                <a:close/>
                <a:moveTo>
                  <a:pt x="8356" y="212366"/>
                </a:moveTo>
                <a:lnTo>
                  <a:pt x="243070" y="212366"/>
                </a:lnTo>
                <a:cubicBezTo>
                  <a:pt x="221801" y="222984"/>
                  <a:pt x="207369" y="235877"/>
                  <a:pt x="203571" y="251045"/>
                </a:cubicBezTo>
                <a:cubicBezTo>
                  <a:pt x="202812" y="252562"/>
                  <a:pt x="202812" y="254079"/>
                  <a:pt x="202812" y="255595"/>
                </a:cubicBezTo>
                <a:lnTo>
                  <a:pt x="202812" y="259387"/>
                </a:lnTo>
                <a:lnTo>
                  <a:pt x="202812" y="283657"/>
                </a:lnTo>
                <a:lnTo>
                  <a:pt x="202812" y="310201"/>
                </a:lnTo>
                <a:lnTo>
                  <a:pt x="202812" y="346605"/>
                </a:lnTo>
                <a:lnTo>
                  <a:pt x="202812" y="350397"/>
                </a:lnTo>
                <a:lnTo>
                  <a:pt x="202812" y="354189"/>
                </a:lnTo>
                <a:lnTo>
                  <a:pt x="202812" y="384525"/>
                </a:lnTo>
                <a:lnTo>
                  <a:pt x="8356" y="384525"/>
                </a:lnTo>
                <a:cubicBezTo>
                  <a:pt x="3038" y="376941"/>
                  <a:pt x="0" y="367840"/>
                  <a:pt x="0" y="357981"/>
                </a:cubicBezTo>
                <a:lnTo>
                  <a:pt x="0" y="238910"/>
                </a:lnTo>
                <a:cubicBezTo>
                  <a:pt x="0" y="229051"/>
                  <a:pt x="3038" y="219950"/>
                  <a:pt x="8356" y="212366"/>
                </a:cubicBezTo>
                <a:close/>
                <a:moveTo>
                  <a:pt x="415487" y="184343"/>
                </a:moveTo>
                <a:cubicBezTo>
                  <a:pt x="503577" y="184343"/>
                  <a:pt x="596223" y="207853"/>
                  <a:pt x="606855" y="251082"/>
                </a:cubicBezTo>
                <a:cubicBezTo>
                  <a:pt x="607614" y="252599"/>
                  <a:pt x="607614" y="254116"/>
                  <a:pt x="607614" y="255633"/>
                </a:cubicBezTo>
                <a:lnTo>
                  <a:pt x="607614" y="259425"/>
                </a:lnTo>
                <a:lnTo>
                  <a:pt x="607614" y="292036"/>
                </a:lnTo>
                <a:cubicBezTo>
                  <a:pt x="577238" y="310238"/>
                  <a:pt x="506615" y="326164"/>
                  <a:pt x="420044" y="326164"/>
                </a:cubicBezTo>
                <a:cubicBezTo>
                  <a:pt x="322082" y="326164"/>
                  <a:pt x="244623" y="305687"/>
                  <a:pt x="222601" y="283694"/>
                </a:cubicBezTo>
                <a:lnTo>
                  <a:pt x="222601" y="259425"/>
                </a:lnTo>
                <a:lnTo>
                  <a:pt x="222601" y="255633"/>
                </a:lnTo>
                <a:cubicBezTo>
                  <a:pt x="222601" y="254116"/>
                  <a:pt x="223360" y="252599"/>
                  <a:pt x="224120" y="251082"/>
                </a:cubicBezTo>
                <a:cubicBezTo>
                  <a:pt x="233992" y="207853"/>
                  <a:pt x="327397" y="184343"/>
                  <a:pt x="415487" y="184343"/>
                </a:cubicBezTo>
                <a:close/>
                <a:moveTo>
                  <a:pt x="526346" y="111497"/>
                </a:moveTo>
                <a:cubicBezTo>
                  <a:pt x="521029" y="111497"/>
                  <a:pt x="516472" y="116048"/>
                  <a:pt x="516472" y="121358"/>
                </a:cubicBezTo>
                <a:cubicBezTo>
                  <a:pt x="516472" y="126667"/>
                  <a:pt x="521029" y="131218"/>
                  <a:pt x="526346" y="131218"/>
                </a:cubicBezTo>
                <a:cubicBezTo>
                  <a:pt x="532422" y="131218"/>
                  <a:pt x="536979" y="126667"/>
                  <a:pt x="536979" y="121358"/>
                </a:cubicBezTo>
                <a:cubicBezTo>
                  <a:pt x="536979" y="116048"/>
                  <a:pt x="532422" y="111497"/>
                  <a:pt x="526346" y="111497"/>
                </a:cubicBezTo>
                <a:close/>
                <a:moveTo>
                  <a:pt x="486091" y="111497"/>
                </a:moveTo>
                <a:cubicBezTo>
                  <a:pt x="480775" y="111497"/>
                  <a:pt x="476217" y="116048"/>
                  <a:pt x="476217" y="121358"/>
                </a:cubicBezTo>
                <a:cubicBezTo>
                  <a:pt x="476217" y="126667"/>
                  <a:pt x="480775" y="131218"/>
                  <a:pt x="486091" y="131218"/>
                </a:cubicBezTo>
                <a:cubicBezTo>
                  <a:pt x="491408" y="131218"/>
                  <a:pt x="495965" y="126667"/>
                  <a:pt x="495965" y="121358"/>
                </a:cubicBezTo>
                <a:cubicBezTo>
                  <a:pt x="495965" y="116048"/>
                  <a:pt x="491408" y="111497"/>
                  <a:pt x="486091" y="111497"/>
                </a:cubicBezTo>
                <a:close/>
                <a:moveTo>
                  <a:pt x="445837" y="111497"/>
                </a:moveTo>
                <a:cubicBezTo>
                  <a:pt x="439761" y="111497"/>
                  <a:pt x="435204" y="116048"/>
                  <a:pt x="435204" y="121358"/>
                </a:cubicBezTo>
                <a:cubicBezTo>
                  <a:pt x="435204" y="126667"/>
                  <a:pt x="439761" y="131218"/>
                  <a:pt x="445837" y="131218"/>
                </a:cubicBezTo>
                <a:cubicBezTo>
                  <a:pt x="451153" y="131218"/>
                  <a:pt x="455711" y="126667"/>
                  <a:pt x="455711" y="121358"/>
                </a:cubicBezTo>
                <a:cubicBezTo>
                  <a:pt x="455711" y="116048"/>
                  <a:pt x="451153" y="111497"/>
                  <a:pt x="445837" y="111497"/>
                </a:cubicBezTo>
                <a:close/>
                <a:moveTo>
                  <a:pt x="404823" y="111497"/>
                </a:moveTo>
                <a:cubicBezTo>
                  <a:pt x="399506" y="111497"/>
                  <a:pt x="394949" y="116048"/>
                  <a:pt x="394949" y="121358"/>
                </a:cubicBezTo>
                <a:cubicBezTo>
                  <a:pt x="394949" y="126667"/>
                  <a:pt x="399506" y="131218"/>
                  <a:pt x="404823" y="131218"/>
                </a:cubicBezTo>
                <a:cubicBezTo>
                  <a:pt x="410899" y="131218"/>
                  <a:pt x="415456" y="126667"/>
                  <a:pt x="415456" y="121358"/>
                </a:cubicBezTo>
                <a:cubicBezTo>
                  <a:pt x="415456" y="116048"/>
                  <a:pt x="410899" y="111497"/>
                  <a:pt x="404823" y="111497"/>
                </a:cubicBezTo>
                <a:close/>
                <a:moveTo>
                  <a:pt x="364568" y="111497"/>
                </a:moveTo>
                <a:cubicBezTo>
                  <a:pt x="359252" y="111497"/>
                  <a:pt x="354695" y="116048"/>
                  <a:pt x="354695" y="121358"/>
                </a:cubicBezTo>
                <a:cubicBezTo>
                  <a:pt x="354695" y="126667"/>
                  <a:pt x="359252" y="131218"/>
                  <a:pt x="364568" y="131218"/>
                </a:cubicBezTo>
                <a:cubicBezTo>
                  <a:pt x="369885" y="131218"/>
                  <a:pt x="374442" y="126667"/>
                  <a:pt x="374442" y="121358"/>
                </a:cubicBezTo>
                <a:cubicBezTo>
                  <a:pt x="374442" y="116048"/>
                  <a:pt x="369885" y="111497"/>
                  <a:pt x="364568" y="111497"/>
                </a:cubicBezTo>
                <a:close/>
                <a:moveTo>
                  <a:pt x="506598" y="81158"/>
                </a:moveTo>
                <a:cubicBezTo>
                  <a:pt x="500522" y="81158"/>
                  <a:pt x="495965" y="85709"/>
                  <a:pt x="495965" y="91018"/>
                </a:cubicBezTo>
                <a:cubicBezTo>
                  <a:pt x="495965" y="96328"/>
                  <a:pt x="500522" y="100879"/>
                  <a:pt x="506598" y="100879"/>
                </a:cubicBezTo>
                <a:cubicBezTo>
                  <a:pt x="511915" y="100879"/>
                  <a:pt x="516472" y="96328"/>
                  <a:pt x="516472" y="91018"/>
                </a:cubicBezTo>
                <a:cubicBezTo>
                  <a:pt x="516472" y="85709"/>
                  <a:pt x="511915" y="81158"/>
                  <a:pt x="506598" y="81158"/>
                </a:cubicBezTo>
                <a:close/>
                <a:moveTo>
                  <a:pt x="465584" y="81158"/>
                </a:moveTo>
                <a:cubicBezTo>
                  <a:pt x="460268" y="81158"/>
                  <a:pt x="455711" y="85709"/>
                  <a:pt x="455711" y="91018"/>
                </a:cubicBezTo>
                <a:cubicBezTo>
                  <a:pt x="455711" y="96328"/>
                  <a:pt x="460268" y="100879"/>
                  <a:pt x="465584" y="100879"/>
                </a:cubicBezTo>
                <a:cubicBezTo>
                  <a:pt x="471660" y="100879"/>
                  <a:pt x="476217" y="96328"/>
                  <a:pt x="476217" y="91018"/>
                </a:cubicBezTo>
                <a:cubicBezTo>
                  <a:pt x="476217" y="85709"/>
                  <a:pt x="471660" y="81158"/>
                  <a:pt x="465584" y="81158"/>
                </a:cubicBezTo>
                <a:close/>
                <a:moveTo>
                  <a:pt x="425330" y="81158"/>
                </a:moveTo>
                <a:cubicBezTo>
                  <a:pt x="420013" y="81158"/>
                  <a:pt x="415456" y="85709"/>
                  <a:pt x="415456" y="91018"/>
                </a:cubicBezTo>
                <a:cubicBezTo>
                  <a:pt x="415456" y="96328"/>
                  <a:pt x="420013" y="100879"/>
                  <a:pt x="425330" y="100879"/>
                </a:cubicBezTo>
                <a:cubicBezTo>
                  <a:pt x="430646" y="100879"/>
                  <a:pt x="435204" y="96328"/>
                  <a:pt x="435204" y="91018"/>
                </a:cubicBezTo>
                <a:cubicBezTo>
                  <a:pt x="435204" y="85709"/>
                  <a:pt x="430646" y="81158"/>
                  <a:pt x="425330" y="81158"/>
                </a:cubicBezTo>
                <a:close/>
                <a:moveTo>
                  <a:pt x="385075" y="81158"/>
                </a:moveTo>
                <a:cubicBezTo>
                  <a:pt x="378999" y="81158"/>
                  <a:pt x="374442" y="85709"/>
                  <a:pt x="374442" y="91018"/>
                </a:cubicBezTo>
                <a:cubicBezTo>
                  <a:pt x="374442" y="96328"/>
                  <a:pt x="378999" y="100879"/>
                  <a:pt x="385075" y="100879"/>
                </a:cubicBezTo>
                <a:cubicBezTo>
                  <a:pt x="390392" y="100879"/>
                  <a:pt x="394949" y="96328"/>
                  <a:pt x="394949" y="91018"/>
                </a:cubicBezTo>
                <a:cubicBezTo>
                  <a:pt x="394949" y="85709"/>
                  <a:pt x="390392" y="81158"/>
                  <a:pt x="385075" y="81158"/>
                </a:cubicBezTo>
                <a:close/>
                <a:moveTo>
                  <a:pt x="344061" y="81158"/>
                </a:moveTo>
                <a:cubicBezTo>
                  <a:pt x="338745" y="81158"/>
                  <a:pt x="334188" y="85709"/>
                  <a:pt x="334188" y="91018"/>
                </a:cubicBezTo>
                <a:cubicBezTo>
                  <a:pt x="334188" y="96328"/>
                  <a:pt x="338745" y="100879"/>
                  <a:pt x="344061" y="100879"/>
                </a:cubicBezTo>
                <a:cubicBezTo>
                  <a:pt x="350138" y="100879"/>
                  <a:pt x="354695" y="96328"/>
                  <a:pt x="354695" y="91018"/>
                </a:cubicBezTo>
                <a:cubicBezTo>
                  <a:pt x="354695" y="85709"/>
                  <a:pt x="350138" y="81158"/>
                  <a:pt x="344061" y="81158"/>
                </a:cubicBezTo>
                <a:close/>
                <a:moveTo>
                  <a:pt x="106332" y="60679"/>
                </a:moveTo>
                <a:cubicBezTo>
                  <a:pt x="81268" y="60679"/>
                  <a:pt x="60761" y="81158"/>
                  <a:pt x="60761" y="106188"/>
                </a:cubicBezTo>
                <a:cubicBezTo>
                  <a:pt x="60761" y="131218"/>
                  <a:pt x="81268" y="151697"/>
                  <a:pt x="106332" y="151697"/>
                </a:cubicBezTo>
                <a:cubicBezTo>
                  <a:pt x="131397" y="151697"/>
                  <a:pt x="151904" y="131218"/>
                  <a:pt x="151904" y="106188"/>
                </a:cubicBezTo>
                <a:cubicBezTo>
                  <a:pt x="151904" y="81158"/>
                  <a:pt x="131397" y="60679"/>
                  <a:pt x="106332" y="60679"/>
                </a:cubicBezTo>
                <a:close/>
                <a:moveTo>
                  <a:pt x="46331" y="0"/>
                </a:moveTo>
                <a:lnTo>
                  <a:pt x="561283" y="0"/>
                </a:lnTo>
                <a:cubicBezTo>
                  <a:pt x="586348" y="0"/>
                  <a:pt x="607614" y="21238"/>
                  <a:pt x="607614" y="46268"/>
                </a:cubicBezTo>
                <a:lnTo>
                  <a:pt x="607614" y="166108"/>
                </a:lnTo>
                <a:cubicBezTo>
                  <a:pt x="607614" y="175969"/>
                  <a:pt x="604576" y="184312"/>
                  <a:pt x="599259" y="191897"/>
                </a:cubicBezTo>
                <a:lnTo>
                  <a:pt x="569638" y="191897"/>
                </a:lnTo>
                <a:cubicBezTo>
                  <a:pt x="529384" y="173693"/>
                  <a:pt x="468622" y="164591"/>
                  <a:pt x="410899" y="164591"/>
                </a:cubicBezTo>
                <a:cubicBezTo>
                  <a:pt x="352416" y="164591"/>
                  <a:pt x="291655" y="173693"/>
                  <a:pt x="251400" y="191897"/>
                </a:cubicBezTo>
                <a:lnTo>
                  <a:pt x="8355" y="191897"/>
                </a:lnTo>
                <a:cubicBezTo>
                  <a:pt x="3038" y="184312"/>
                  <a:pt x="0" y="175969"/>
                  <a:pt x="0" y="166108"/>
                </a:cubicBezTo>
                <a:lnTo>
                  <a:pt x="0" y="46268"/>
                </a:lnTo>
                <a:cubicBezTo>
                  <a:pt x="0" y="21238"/>
                  <a:pt x="21267" y="0"/>
                  <a:pt x="46331" y="0"/>
                </a:cubicBezTo>
                <a:close/>
              </a:path>
            </a:pathLst>
          </a:custGeom>
          <a:solidFill>
            <a:schemeClr val="bg2">
              <a:lumMod val="50000"/>
            </a:schemeClr>
          </a:solidFill>
          <a:ln>
            <a:noFill/>
          </a:ln>
        </p:spPr>
      </p:sp>
      <p:sp>
        <p:nvSpPr>
          <p:cNvPr id="38" name="supermarket-scanner_58233"/>
          <p:cNvSpPr>
            <a:spLocks noChangeAspect="1"/>
          </p:cNvSpPr>
          <p:nvPr/>
        </p:nvSpPr>
        <p:spPr bwMode="auto">
          <a:xfrm>
            <a:off x="7141923" y="3821560"/>
            <a:ext cx="609685" cy="582546"/>
          </a:xfrm>
          <a:custGeom>
            <a:avLst/>
            <a:gdLst>
              <a:gd name="connsiteX0" fmla="*/ 221327 w 578320"/>
              <a:gd name="connsiteY0" fmla="*/ 339832 h 552578"/>
              <a:gd name="connsiteX1" fmla="*/ 231487 w 578320"/>
              <a:gd name="connsiteY1" fmla="*/ 339832 h 552578"/>
              <a:gd name="connsiteX2" fmla="*/ 255502 w 578320"/>
              <a:gd name="connsiteY2" fmla="*/ 363777 h 552578"/>
              <a:gd name="connsiteX3" fmla="*/ 255502 w 578320"/>
              <a:gd name="connsiteY3" fmla="*/ 462320 h 552578"/>
              <a:gd name="connsiteX4" fmla="*/ 231487 w 578320"/>
              <a:gd name="connsiteY4" fmla="*/ 487186 h 552578"/>
              <a:gd name="connsiteX5" fmla="*/ 221327 w 578320"/>
              <a:gd name="connsiteY5" fmla="*/ 487186 h 552578"/>
              <a:gd name="connsiteX6" fmla="*/ 177091 w 578320"/>
              <a:gd name="connsiteY6" fmla="*/ 339832 h 552578"/>
              <a:gd name="connsiteX7" fmla="*/ 208456 w 578320"/>
              <a:gd name="connsiteY7" fmla="*/ 339832 h 552578"/>
              <a:gd name="connsiteX8" fmla="*/ 208456 w 578320"/>
              <a:gd name="connsiteY8" fmla="*/ 487186 h 552578"/>
              <a:gd name="connsiteX9" fmla="*/ 177091 w 578320"/>
              <a:gd name="connsiteY9" fmla="*/ 487186 h 552578"/>
              <a:gd name="connsiteX10" fmla="*/ 150313 w 578320"/>
              <a:gd name="connsiteY10" fmla="*/ 339832 h 552578"/>
              <a:gd name="connsiteX11" fmla="*/ 163332 w 578320"/>
              <a:gd name="connsiteY11" fmla="*/ 339832 h 552578"/>
              <a:gd name="connsiteX12" fmla="*/ 163332 w 578320"/>
              <a:gd name="connsiteY12" fmla="*/ 487186 h 552578"/>
              <a:gd name="connsiteX13" fmla="*/ 150313 w 578320"/>
              <a:gd name="connsiteY13" fmla="*/ 487186 h 552578"/>
              <a:gd name="connsiteX14" fmla="*/ 114362 w 578320"/>
              <a:gd name="connsiteY14" fmla="*/ 339832 h 552578"/>
              <a:gd name="connsiteX15" fmla="*/ 137442 w 578320"/>
              <a:gd name="connsiteY15" fmla="*/ 339832 h 552578"/>
              <a:gd name="connsiteX16" fmla="*/ 137442 w 578320"/>
              <a:gd name="connsiteY16" fmla="*/ 487186 h 552578"/>
              <a:gd name="connsiteX17" fmla="*/ 114362 w 578320"/>
              <a:gd name="connsiteY17" fmla="*/ 487186 h 552578"/>
              <a:gd name="connsiteX18" fmla="*/ 81222 w 578320"/>
              <a:gd name="connsiteY18" fmla="*/ 339832 h 552578"/>
              <a:gd name="connsiteX19" fmla="*/ 101491 w 578320"/>
              <a:gd name="connsiteY19" fmla="*/ 339832 h 552578"/>
              <a:gd name="connsiteX20" fmla="*/ 101491 w 578320"/>
              <a:gd name="connsiteY20" fmla="*/ 487186 h 552578"/>
              <a:gd name="connsiteX21" fmla="*/ 81222 w 578320"/>
              <a:gd name="connsiteY21" fmla="*/ 487186 h 552578"/>
              <a:gd name="connsiteX22" fmla="*/ 57141 w 578320"/>
              <a:gd name="connsiteY22" fmla="*/ 339832 h 552578"/>
              <a:gd name="connsiteX23" fmla="*/ 68203 w 578320"/>
              <a:gd name="connsiteY23" fmla="*/ 339832 h 552578"/>
              <a:gd name="connsiteX24" fmla="*/ 68203 w 578320"/>
              <a:gd name="connsiteY24" fmla="*/ 487186 h 552578"/>
              <a:gd name="connsiteX25" fmla="*/ 57141 w 578320"/>
              <a:gd name="connsiteY25" fmla="*/ 487186 h 552578"/>
              <a:gd name="connsiteX26" fmla="*/ 32252 w 578320"/>
              <a:gd name="connsiteY26" fmla="*/ 462320 h 552578"/>
              <a:gd name="connsiteX27" fmla="*/ 32252 w 578320"/>
              <a:gd name="connsiteY27" fmla="*/ 363777 h 552578"/>
              <a:gd name="connsiteX28" fmla="*/ 57141 w 578320"/>
              <a:gd name="connsiteY28" fmla="*/ 339832 h 552578"/>
              <a:gd name="connsiteX29" fmla="*/ 52571 w 578320"/>
              <a:gd name="connsiteY29" fmla="*/ 329730 h 552578"/>
              <a:gd name="connsiteX30" fmla="*/ 19368 w 578320"/>
              <a:gd name="connsiteY30" fmla="*/ 362883 h 552578"/>
              <a:gd name="connsiteX31" fmla="*/ 19368 w 578320"/>
              <a:gd name="connsiteY31" fmla="*/ 468789 h 552578"/>
              <a:gd name="connsiteX32" fmla="*/ 49804 w 578320"/>
              <a:gd name="connsiteY32" fmla="*/ 501942 h 552578"/>
              <a:gd name="connsiteX33" fmla="*/ 52571 w 578320"/>
              <a:gd name="connsiteY33" fmla="*/ 502863 h 552578"/>
              <a:gd name="connsiteX34" fmla="*/ 235185 w 578320"/>
              <a:gd name="connsiteY34" fmla="*/ 501942 h 552578"/>
              <a:gd name="connsiteX35" fmla="*/ 268387 w 578320"/>
              <a:gd name="connsiteY35" fmla="*/ 466947 h 552578"/>
              <a:gd name="connsiteX36" fmla="*/ 268387 w 578320"/>
              <a:gd name="connsiteY36" fmla="*/ 362883 h 552578"/>
              <a:gd name="connsiteX37" fmla="*/ 235185 w 578320"/>
              <a:gd name="connsiteY37" fmla="*/ 329730 h 552578"/>
              <a:gd name="connsiteX38" fmla="*/ 57182 w 578320"/>
              <a:gd name="connsiteY38" fmla="*/ 310391 h 552578"/>
              <a:gd name="connsiteX39" fmla="*/ 231495 w 578320"/>
              <a:gd name="connsiteY39" fmla="*/ 310391 h 552578"/>
              <a:gd name="connsiteX40" fmla="*/ 287755 w 578320"/>
              <a:gd name="connsiteY40" fmla="*/ 365646 h 552578"/>
              <a:gd name="connsiteX41" fmla="*/ 287755 w 578320"/>
              <a:gd name="connsiteY41" fmla="*/ 464184 h 552578"/>
              <a:gd name="connsiteX42" fmla="*/ 235185 w 578320"/>
              <a:gd name="connsiteY42" fmla="*/ 519439 h 552578"/>
              <a:gd name="connsiteX43" fmla="*/ 234262 w 578320"/>
              <a:gd name="connsiteY43" fmla="*/ 519439 h 552578"/>
              <a:gd name="connsiteX44" fmla="*/ 232418 w 578320"/>
              <a:gd name="connsiteY44" fmla="*/ 519439 h 552578"/>
              <a:gd name="connsiteX45" fmla="*/ 56260 w 578320"/>
              <a:gd name="connsiteY45" fmla="*/ 519439 h 552578"/>
              <a:gd name="connsiteX46" fmla="*/ 0 w 578320"/>
              <a:gd name="connsiteY46" fmla="*/ 463263 h 552578"/>
              <a:gd name="connsiteX47" fmla="*/ 0 w 578320"/>
              <a:gd name="connsiteY47" fmla="*/ 367488 h 552578"/>
              <a:gd name="connsiteX48" fmla="*/ 57182 w 578320"/>
              <a:gd name="connsiteY48" fmla="*/ 310391 h 552578"/>
              <a:gd name="connsiteX49" fmla="*/ 98680 w 578320"/>
              <a:gd name="connsiteY49" fmla="*/ 38614 h 552578"/>
              <a:gd name="connsiteX50" fmla="*/ 110663 w 578320"/>
              <a:gd name="connsiteY50" fmla="*/ 50588 h 552578"/>
              <a:gd name="connsiteX51" fmla="*/ 110663 w 578320"/>
              <a:gd name="connsiteY51" fmla="*/ 197961 h 552578"/>
              <a:gd name="connsiteX52" fmla="*/ 98680 w 578320"/>
              <a:gd name="connsiteY52" fmla="*/ 209935 h 552578"/>
              <a:gd name="connsiteX53" fmla="*/ 86696 w 578320"/>
              <a:gd name="connsiteY53" fmla="*/ 197961 h 552578"/>
              <a:gd name="connsiteX54" fmla="*/ 86696 w 578320"/>
              <a:gd name="connsiteY54" fmla="*/ 50588 h 552578"/>
              <a:gd name="connsiteX55" fmla="*/ 98680 w 578320"/>
              <a:gd name="connsiteY55" fmla="*/ 38614 h 552578"/>
              <a:gd name="connsiteX56" fmla="*/ 192821 w 578320"/>
              <a:gd name="connsiteY56" fmla="*/ 1842 h 552578"/>
              <a:gd name="connsiteX57" fmla="*/ 420616 w 578320"/>
              <a:gd name="connsiteY57" fmla="*/ 35918 h 552578"/>
              <a:gd name="connsiteX58" fmla="*/ 499007 w 578320"/>
              <a:gd name="connsiteY58" fmla="*/ 127093 h 552578"/>
              <a:gd name="connsiteX59" fmla="*/ 439061 w 578320"/>
              <a:gd name="connsiteY59" fmla="*/ 213664 h 552578"/>
              <a:gd name="connsiteX60" fmla="*/ 534975 w 578320"/>
              <a:gd name="connsiteY60" fmla="*/ 503767 h 552578"/>
              <a:gd name="connsiteX61" fmla="*/ 548808 w 578320"/>
              <a:gd name="connsiteY61" fmla="*/ 516661 h 552578"/>
              <a:gd name="connsiteX62" fmla="*/ 558031 w 578320"/>
              <a:gd name="connsiteY62" fmla="*/ 516661 h 552578"/>
              <a:gd name="connsiteX63" fmla="*/ 578320 w 578320"/>
              <a:gd name="connsiteY63" fmla="*/ 535080 h 552578"/>
              <a:gd name="connsiteX64" fmla="*/ 558031 w 578320"/>
              <a:gd name="connsiteY64" fmla="*/ 552578 h 552578"/>
              <a:gd name="connsiteX65" fmla="*/ 551575 w 578320"/>
              <a:gd name="connsiteY65" fmla="*/ 552578 h 552578"/>
              <a:gd name="connsiteX66" fmla="*/ 405860 w 578320"/>
              <a:gd name="connsiteY66" fmla="*/ 552578 h 552578"/>
              <a:gd name="connsiteX67" fmla="*/ 372659 w 578320"/>
              <a:gd name="connsiteY67" fmla="*/ 552578 h 552578"/>
              <a:gd name="connsiteX68" fmla="*/ 353292 w 578320"/>
              <a:gd name="connsiteY68" fmla="*/ 531396 h 552578"/>
              <a:gd name="connsiteX69" fmla="*/ 372659 w 578320"/>
              <a:gd name="connsiteY69" fmla="*/ 509293 h 552578"/>
              <a:gd name="connsiteX70" fmla="*/ 384649 w 578320"/>
              <a:gd name="connsiteY70" fmla="*/ 503767 h 552578"/>
              <a:gd name="connsiteX71" fmla="*/ 386493 w 578320"/>
              <a:gd name="connsiteY71" fmla="*/ 490874 h 552578"/>
              <a:gd name="connsiteX72" fmla="*/ 371737 w 578320"/>
              <a:gd name="connsiteY72" fmla="*/ 473375 h 552578"/>
              <a:gd name="connsiteX73" fmla="*/ 358826 w 578320"/>
              <a:gd name="connsiteY73" fmla="*/ 464166 h 552578"/>
              <a:gd name="connsiteX74" fmla="*/ 349603 w 578320"/>
              <a:gd name="connsiteY74" fmla="*/ 441142 h 552578"/>
              <a:gd name="connsiteX75" fmla="*/ 356059 w 578320"/>
              <a:gd name="connsiteY75" fmla="*/ 422722 h 552578"/>
              <a:gd name="connsiteX76" fmla="*/ 356981 w 578320"/>
              <a:gd name="connsiteY76" fmla="*/ 418118 h 552578"/>
              <a:gd name="connsiteX77" fmla="*/ 342225 w 578320"/>
              <a:gd name="connsiteY77" fmla="*/ 382200 h 552578"/>
              <a:gd name="connsiteX78" fmla="*/ 328391 w 578320"/>
              <a:gd name="connsiteY78" fmla="*/ 372990 h 552578"/>
              <a:gd name="connsiteX79" fmla="*/ 320091 w 578320"/>
              <a:gd name="connsiteY79" fmla="*/ 347203 h 552578"/>
              <a:gd name="connsiteX80" fmla="*/ 325625 w 578320"/>
              <a:gd name="connsiteY80" fmla="*/ 332468 h 552578"/>
              <a:gd name="connsiteX81" fmla="*/ 325625 w 578320"/>
              <a:gd name="connsiteY81" fmla="*/ 312207 h 552578"/>
              <a:gd name="connsiteX82" fmla="*/ 300724 w 578320"/>
              <a:gd name="connsiteY82" fmla="*/ 234846 h 552578"/>
              <a:gd name="connsiteX83" fmla="*/ 191899 w 578320"/>
              <a:gd name="connsiteY83" fmla="*/ 251423 h 552578"/>
              <a:gd name="connsiteX84" fmla="*/ 155931 w 578320"/>
              <a:gd name="connsiteY84" fmla="*/ 240372 h 552578"/>
              <a:gd name="connsiteX85" fmla="*/ 140253 w 578320"/>
              <a:gd name="connsiteY85" fmla="*/ 207217 h 552578"/>
              <a:gd name="connsiteX86" fmla="*/ 140253 w 578320"/>
              <a:gd name="connsiteY86" fmla="*/ 46048 h 552578"/>
              <a:gd name="connsiteX87" fmla="*/ 155931 w 578320"/>
              <a:gd name="connsiteY87" fmla="*/ 11973 h 552578"/>
              <a:gd name="connsiteX88" fmla="*/ 192821 w 578320"/>
              <a:gd name="connsiteY88" fmla="*/ 1842 h 552578"/>
              <a:gd name="connsiteX89" fmla="*/ 49803 w 578320"/>
              <a:gd name="connsiteY89" fmla="*/ 0 h 552578"/>
              <a:gd name="connsiteX90" fmla="*/ 61841 w 578320"/>
              <a:gd name="connsiteY90" fmla="*/ 12893 h 552578"/>
              <a:gd name="connsiteX91" fmla="*/ 61841 w 578320"/>
              <a:gd name="connsiteY91" fmla="*/ 233914 h 552578"/>
              <a:gd name="connsiteX92" fmla="*/ 49803 w 578320"/>
              <a:gd name="connsiteY92" fmla="*/ 245886 h 552578"/>
              <a:gd name="connsiteX93" fmla="*/ 36838 w 578320"/>
              <a:gd name="connsiteY93" fmla="*/ 233914 h 552578"/>
              <a:gd name="connsiteX94" fmla="*/ 36838 w 578320"/>
              <a:gd name="connsiteY94" fmla="*/ 12893 h 552578"/>
              <a:gd name="connsiteX95" fmla="*/ 49803 w 578320"/>
              <a:gd name="connsiteY95" fmla="*/ 0 h 5525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Lst>
            <a:rect l="l" t="t" r="r" b="b"/>
            <a:pathLst>
              <a:path w="578320" h="552578">
                <a:moveTo>
                  <a:pt x="221327" y="339832"/>
                </a:moveTo>
                <a:lnTo>
                  <a:pt x="231487" y="339832"/>
                </a:lnTo>
                <a:cubicBezTo>
                  <a:pt x="244418" y="339832"/>
                  <a:pt x="255502" y="349963"/>
                  <a:pt x="255502" y="363777"/>
                </a:cubicBezTo>
                <a:lnTo>
                  <a:pt x="255502" y="462320"/>
                </a:lnTo>
                <a:cubicBezTo>
                  <a:pt x="255502" y="476135"/>
                  <a:pt x="244418" y="487186"/>
                  <a:pt x="231487" y="487186"/>
                </a:cubicBezTo>
                <a:lnTo>
                  <a:pt x="221327" y="487186"/>
                </a:lnTo>
                <a:close/>
                <a:moveTo>
                  <a:pt x="177091" y="339832"/>
                </a:moveTo>
                <a:lnTo>
                  <a:pt x="208456" y="339832"/>
                </a:lnTo>
                <a:lnTo>
                  <a:pt x="208456" y="487186"/>
                </a:lnTo>
                <a:lnTo>
                  <a:pt x="177091" y="487186"/>
                </a:lnTo>
                <a:close/>
                <a:moveTo>
                  <a:pt x="150313" y="339832"/>
                </a:moveTo>
                <a:lnTo>
                  <a:pt x="163332" y="339832"/>
                </a:lnTo>
                <a:lnTo>
                  <a:pt x="163332" y="487186"/>
                </a:lnTo>
                <a:lnTo>
                  <a:pt x="150313" y="487186"/>
                </a:lnTo>
                <a:close/>
                <a:moveTo>
                  <a:pt x="114362" y="339832"/>
                </a:moveTo>
                <a:lnTo>
                  <a:pt x="137442" y="339832"/>
                </a:lnTo>
                <a:lnTo>
                  <a:pt x="137442" y="487186"/>
                </a:lnTo>
                <a:lnTo>
                  <a:pt x="114362" y="487186"/>
                </a:lnTo>
                <a:close/>
                <a:moveTo>
                  <a:pt x="81222" y="339832"/>
                </a:moveTo>
                <a:lnTo>
                  <a:pt x="101491" y="339832"/>
                </a:lnTo>
                <a:lnTo>
                  <a:pt x="101491" y="487186"/>
                </a:lnTo>
                <a:lnTo>
                  <a:pt x="81222" y="487186"/>
                </a:lnTo>
                <a:close/>
                <a:moveTo>
                  <a:pt x="57141" y="339832"/>
                </a:moveTo>
                <a:lnTo>
                  <a:pt x="68203" y="339832"/>
                </a:lnTo>
                <a:lnTo>
                  <a:pt x="68203" y="487186"/>
                </a:lnTo>
                <a:lnTo>
                  <a:pt x="57141" y="487186"/>
                </a:lnTo>
                <a:cubicBezTo>
                  <a:pt x="43314" y="487186"/>
                  <a:pt x="32252" y="476135"/>
                  <a:pt x="32252" y="462320"/>
                </a:cubicBezTo>
                <a:lnTo>
                  <a:pt x="32252" y="363777"/>
                </a:lnTo>
                <a:cubicBezTo>
                  <a:pt x="32252" y="349963"/>
                  <a:pt x="43314" y="339832"/>
                  <a:pt x="57141" y="339832"/>
                </a:cubicBezTo>
                <a:close/>
                <a:moveTo>
                  <a:pt x="52571" y="329730"/>
                </a:moveTo>
                <a:cubicBezTo>
                  <a:pt x="34125" y="329730"/>
                  <a:pt x="19368" y="344465"/>
                  <a:pt x="19368" y="362883"/>
                </a:cubicBezTo>
                <a:lnTo>
                  <a:pt x="19368" y="468789"/>
                </a:lnTo>
                <a:cubicBezTo>
                  <a:pt x="19368" y="486286"/>
                  <a:pt x="32280" y="501021"/>
                  <a:pt x="49804" y="501942"/>
                </a:cubicBezTo>
                <a:lnTo>
                  <a:pt x="52571" y="502863"/>
                </a:lnTo>
                <a:lnTo>
                  <a:pt x="235185" y="501942"/>
                </a:lnTo>
                <a:cubicBezTo>
                  <a:pt x="253630" y="501942"/>
                  <a:pt x="268387" y="484444"/>
                  <a:pt x="268387" y="466947"/>
                </a:cubicBezTo>
                <a:lnTo>
                  <a:pt x="268387" y="362883"/>
                </a:lnTo>
                <a:cubicBezTo>
                  <a:pt x="268387" y="344465"/>
                  <a:pt x="253630" y="329730"/>
                  <a:pt x="235185" y="329730"/>
                </a:cubicBezTo>
                <a:close/>
                <a:moveTo>
                  <a:pt x="57182" y="310391"/>
                </a:moveTo>
                <a:lnTo>
                  <a:pt x="231495" y="310391"/>
                </a:lnTo>
                <a:cubicBezTo>
                  <a:pt x="262853" y="310391"/>
                  <a:pt x="287755" y="335256"/>
                  <a:pt x="287755" y="365646"/>
                </a:cubicBezTo>
                <a:lnTo>
                  <a:pt x="287755" y="464184"/>
                </a:lnTo>
                <a:cubicBezTo>
                  <a:pt x="287755" y="493654"/>
                  <a:pt x="264698" y="517597"/>
                  <a:pt x="235185" y="519439"/>
                </a:cubicBezTo>
                <a:lnTo>
                  <a:pt x="234262" y="519439"/>
                </a:lnTo>
                <a:lnTo>
                  <a:pt x="232418" y="519439"/>
                </a:lnTo>
                <a:lnTo>
                  <a:pt x="56260" y="519439"/>
                </a:lnTo>
                <a:cubicBezTo>
                  <a:pt x="24902" y="519439"/>
                  <a:pt x="0" y="493654"/>
                  <a:pt x="0" y="463263"/>
                </a:cubicBezTo>
                <a:lnTo>
                  <a:pt x="0" y="367488"/>
                </a:lnTo>
                <a:cubicBezTo>
                  <a:pt x="0" y="336177"/>
                  <a:pt x="25824" y="310391"/>
                  <a:pt x="57182" y="310391"/>
                </a:cubicBezTo>
                <a:close/>
                <a:moveTo>
                  <a:pt x="98680" y="38614"/>
                </a:moveTo>
                <a:cubicBezTo>
                  <a:pt x="105132" y="38614"/>
                  <a:pt x="110663" y="44141"/>
                  <a:pt x="110663" y="50588"/>
                </a:cubicBezTo>
                <a:lnTo>
                  <a:pt x="110663" y="197961"/>
                </a:lnTo>
                <a:cubicBezTo>
                  <a:pt x="110663" y="204409"/>
                  <a:pt x="105132" y="209935"/>
                  <a:pt x="98680" y="209935"/>
                </a:cubicBezTo>
                <a:cubicBezTo>
                  <a:pt x="92227" y="209935"/>
                  <a:pt x="86696" y="204409"/>
                  <a:pt x="86696" y="197961"/>
                </a:cubicBezTo>
                <a:lnTo>
                  <a:pt x="86696" y="50588"/>
                </a:lnTo>
                <a:cubicBezTo>
                  <a:pt x="86696" y="44141"/>
                  <a:pt x="92227" y="38614"/>
                  <a:pt x="98680" y="38614"/>
                </a:cubicBezTo>
                <a:close/>
                <a:moveTo>
                  <a:pt x="192821" y="1842"/>
                </a:moveTo>
                <a:lnTo>
                  <a:pt x="420616" y="35918"/>
                </a:lnTo>
                <a:cubicBezTo>
                  <a:pt x="465806" y="42365"/>
                  <a:pt x="499007" y="81966"/>
                  <a:pt x="499007" y="127093"/>
                </a:cubicBezTo>
                <a:cubicBezTo>
                  <a:pt x="499007" y="165774"/>
                  <a:pt x="474106" y="200770"/>
                  <a:pt x="439061" y="213664"/>
                </a:cubicBezTo>
                <a:lnTo>
                  <a:pt x="534975" y="503767"/>
                </a:lnTo>
                <a:cubicBezTo>
                  <a:pt x="536819" y="509293"/>
                  <a:pt x="542353" y="516661"/>
                  <a:pt x="548808" y="516661"/>
                </a:cubicBezTo>
                <a:lnTo>
                  <a:pt x="558031" y="516661"/>
                </a:lnTo>
                <a:cubicBezTo>
                  <a:pt x="569098" y="516661"/>
                  <a:pt x="578320" y="524028"/>
                  <a:pt x="578320" y="535080"/>
                </a:cubicBezTo>
                <a:cubicBezTo>
                  <a:pt x="578320" y="546131"/>
                  <a:pt x="569098" y="552578"/>
                  <a:pt x="558031" y="552578"/>
                </a:cubicBezTo>
                <a:lnTo>
                  <a:pt x="551575" y="552578"/>
                </a:lnTo>
                <a:lnTo>
                  <a:pt x="405860" y="552578"/>
                </a:lnTo>
                <a:lnTo>
                  <a:pt x="372659" y="552578"/>
                </a:lnTo>
                <a:cubicBezTo>
                  <a:pt x="362515" y="552578"/>
                  <a:pt x="353292" y="542448"/>
                  <a:pt x="353292" y="531396"/>
                </a:cubicBezTo>
                <a:cubicBezTo>
                  <a:pt x="353292" y="520345"/>
                  <a:pt x="361592" y="509293"/>
                  <a:pt x="372659" y="509293"/>
                </a:cubicBezTo>
                <a:cubicBezTo>
                  <a:pt x="377271" y="509293"/>
                  <a:pt x="381882" y="507451"/>
                  <a:pt x="384649" y="503767"/>
                </a:cubicBezTo>
                <a:cubicBezTo>
                  <a:pt x="387415" y="500083"/>
                  <a:pt x="388338" y="495479"/>
                  <a:pt x="386493" y="490874"/>
                </a:cubicBezTo>
                <a:cubicBezTo>
                  <a:pt x="386493" y="490874"/>
                  <a:pt x="384649" y="480743"/>
                  <a:pt x="371737" y="473375"/>
                </a:cubicBezTo>
                <a:lnTo>
                  <a:pt x="358826" y="464166"/>
                </a:lnTo>
                <a:cubicBezTo>
                  <a:pt x="351448" y="458640"/>
                  <a:pt x="348681" y="450351"/>
                  <a:pt x="349603" y="441142"/>
                </a:cubicBezTo>
                <a:lnTo>
                  <a:pt x="356059" y="422722"/>
                </a:lnTo>
                <a:cubicBezTo>
                  <a:pt x="356059" y="421801"/>
                  <a:pt x="356981" y="419960"/>
                  <a:pt x="356981" y="418118"/>
                </a:cubicBezTo>
                <a:cubicBezTo>
                  <a:pt x="358826" y="404303"/>
                  <a:pt x="353292" y="390489"/>
                  <a:pt x="342225" y="382200"/>
                </a:cubicBezTo>
                <a:lnTo>
                  <a:pt x="328391" y="372990"/>
                </a:lnTo>
                <a:cubicBezTo>
                  <a:pt x="321014" y="367465"/>
                  <a:pt x="317325" y="357334"/>
                  <a:pt x="320091" y="347203"/>
                </a:cubicBezTo>
                <a:lnTo>
                  <a:pt x="325625" y="332468"/>
                </a:lnTo>
                <a:cubicBezTo>
                  <a:pt x="327469" y="326021"/>
                  <a:pt x="327469" y="318654"/>
                  <a:pt x="325625" y="312207"/>
                </a:cubicBezTo>
                <a:cubicBezTo>
                  <a:pt x="326547" y="312207"/>
                  <a:pt x="300724" y="234846"/>
                  <a:pt x="300724" y="234846"/>
                </a:cubicBezTo>
                <a:lnTo>
                  <a:pt x="191899" y="251423"/>
                </a:lnTo>
                <a:cubicBezTo>
                  <a:pt x="179910" y="253265"/>
                  <a:pt x="166076" y="248660"/>
                  <a:pt x="155931" y="240372"/>
                </a:cubicBezTo>
                <a:cubicBezTo>
                  <a:pt x="146709" y="232083"/>
                  <a:pt x="140253" y="220110"/>
                  <a:pt x="140253" y="207217"/>
                </a:cubicBezTo>
                <a:lnTo>
                  <a:pt x="140253" y="46048"/>
                </a:lnTo>
                <a:cubicBezTo>
                  <a:pt x="140253" y="33155"/>
                  <a:pt x="146709" y="21182"/>
                  <a:pt x="155931" y="11973"/>
                </a:cubicBezTo>
                <a:cubicBezTo>
                  <a:pt x="166076" y="3684"/>
                  <a:pt x="179910" y="0"/>
                  <a:pt x="192821" y="1842"/>
                </a:cubicBezTo>
                <a:close/>
                <a:moveTo>
                  <a:pt x="49803" y="0"/>
                </a:moveTo>
                <a:cubicBezTo>
                  <a:pt x="56285" y="0"/>
                  <a:pt x="61841" y="5526"/>
                  <a:pt x="61841" y="12893"/>
                </a:cubicBezTo>
                <a:lnTo>
                  <a:pt x="61841" y="233914"/>
                </a:lnTo>
                <a:cubicBezTo>
                  <a:pt x="61841" y="240361"/>
                  <a:pt x="56285" y="245886"/>
                  <a:pt x="49803" y="245886"/>
                </a:cubicBezTo>
                <a:cubicBezTo>
                  <a:pt x="42394" y="245886"/>
                  <a:pt x="36838" y="240361"/>
                  <a:pt x="36838" y="233914"/>
                </a:cubicBezTo>
                <a:lnTo>
                  <a:pt x="36838" y="12893"/>
                </a:lnTo>
                <a:cubicBezTo>
                  <a:pt x="36838" y="5526"/>
                  <a:pt x="42394" y="0"/>
                  <a:pt x="49803" y="0"/>
                </a:cubicBezTo>
                <a:close/>
              </a:path>
            </a:pathLst>
          </a:custGeom>
          <a:solidFill>
            <a:schemeClr val="bg2">
              <a:lumMod val="50000"/>
            </a:schemeClr>
          </a:solidFill>
          <a:ln>
            <a:noFill/>
          </a:ln>
        </p:spPr>
      </p:sp>
      <p:sp>
        <p:nvSpPr>
          <p:cNvPr id="39" name="printing-machine_73997"/>
          <p:cNvSpPr>
            <a:spLocks noChangeAspect="1"/>
          </p:cNvSpPr>
          <p:nvPr/>
        </p:nvSpPr>
        <p:spPr bwMode="auto">
          <a:xfrm>
            <a:off x="4498118" y="3763623"/>
            <a:ext cx="522425" cy="609685"/>
          </a:xfrm>
          <a:custGeom>
            <a:avLst/>
            <a:gdLst>
              <a:gd name="connsiteX0" fmla="*/ 202555 w 518797"/>
              <a:gd name="connsiteY0" fmla="*/ 425650 h 605451"/>
              <a:gd name="connsiteX1" fmla="*/ 316364 w 518797"/>
              <a:gd name="connsiteY1" fmla="*/ 425650 h 605451"/>
              <a:gd name="connsiteX2" fmla="*/ 327917 w 518797"/>
              <a:gd name="connsiteY2" fmla="*/ 437187 h 605451"/>
              <a:gd name="connsiteX3" fmla="*/ 316364 w 518797"/>
              <a:gd name="connsiteY3" fmla="*/ 448725 h 605451"/>
              <a:gd name="connsiteX4" fmla="*/ 202555 w 518797"/>
              <a:gd name="connsiteY4" fmla="*/ 448725 h 605451"/>
              <a:gd name="connsiteX5" fmla="*/ 191002 w 518797"/>
              <a:gd name="connsiteY5" fmla="*/ 437187 h 605451"/>
              <a:gd name="connsiteX6" fmla="*/ 202555 w 518797"/>
              <a:gd name="connsiteY6" fmla="*/ 425650 h 605451"/>
              <a:gd name="connsiteX7" fmla="*/ 202555 w 518797"/>
              <a:gd name="connsiteY7" fmla="*/ 379995 h 605451"/>
              <a:gd name="connsiteX8" fmla="*/ 316364 w 518797"/>
              <a:gd name="connsiteY8" fmla="*/ 379995 h 605451"/>
              <a:gd name="connsiteX9" fmla="*/ 327917 w 518797"/>
              <a:gd name="connsiteY9" fmla="*/ 391542 h 605451"/>
              <a:gd name="connsiteX10" fmla="*/ 316364 w 518797"/>
              <a:gd name="connsiteY10" fmla="*/ 403211 h 605451"/>
              <a:gd name="connsiteX11" fmla="*/ 202555 w 518797"/>
              <a:gd name="connsiteY11" fmla="*/ 403211 h 605451"/>
              <a:gd name="connsiteX12" fmla="*/ 191002 w 518797"/>
              <a:gd name="connsiteY12" fmla="*/ 391542 h 605451"/>
              <a:gd name="connsiteX13" fmla="*/ 202555 w 518797"/>
              <a:gd name="connsiteY13" fmla="*/ 379995 h 605451"/>
              <a:gd name="connsiteX14" fmla="*/ 156831 w 518797"/>
              <a:gd name="connsiteY14" fmla="*/ 350158 h 605451"/>
              <a:gd name="connsiteX15" fmla="*/ 156831 w 518797"/>
              <a:gd name="connsiteY15" fmla="*/ 560529 h 605451"/>
              <a:gd name="connsiteX16" fmla="*/ 162116 w 518797"/>
              <a:gd name="connsiteY16" fmla="*/ 565807 h 605451"/>
              <a:gd name="connsiteX17" fmla="*/ 356681 w 518797"/>
              <a:gd name="connsiteY17" fmla="*/ 565807 h 605451"/>
              <a:gd name="connsiteX18" fmla="*/ 361966 w 518797"/>
              <a:gd name="connsiteY18" fmla="*/ 560529 h 605451"/>
              <a:gd name="connsiteX19" fmla="*/ 361966 w 518797"/>
              <a:gd name="connsiteY19" fmla="*/ 350158 h 605451"/>
              <a:gd name="connsiteX20" fmla="*/ 413833 w 518797"/>
              <a:gd name="connsiteY20" fmla="*/ 225335 h 605451"/>
              <a:gd name="connsiteX21" fmla="*/ 386916 w 518797"/>
              <a:gd name="connsiteY21" fmla="*/ 252214 h 605451"/>
              <a:gd name="connsiteX22" fmla="*/ 413833 w 518797"/>
              <a:gd name="connsiteY22" fmla="*/ 279094 h 605451"/>
              <a:gd name="connsiteX23" fmla="*/ 440750 w 518797"/>
              <a:gd name="connsiteY23" fmla="*/ 252214 h 605451"/>
              <a:gd name="connsiteX24" fmla="*/ 413833 w 518797"/>
              <a:gd name="connsiteY24" fmla="*/ 225335 h 605451"/>
              <a:gd name="connsiteX25" fmla="*/ 66248 w 518797"/>
              <a:gd name="connsiteY25" fmla="*/ 165194 h 605451"/>
              <a:gd name="connsiteX26" fmla="*/ 452672 w 518797"/>
              <a:gd name="connsiteY26" fmla="*/ 165194 h 605451"/>
              <a:gd name="connsiteX27" fmla="*/ 518797 w 518797"/>
              <a:gd name="connsiteY27" fmla="*/ 231349 h 605451"/>
              <a:gd name="connsiteX28" fmla="*/ 518797 w 518797"/>
              <a:gd name="connsiteY28" fmla="*/ 387225 h 605451"/>
              <a:gd name="connsiteX29" fmla="*/ 452672 w 518797"/>
              <a:gd name="connsiteY29" fmla="*/ 453380 h 605451"/>
              <a:gd name="connsiteX30" fmla="*/ 401665 w 518797"/>
              <a:gd name="connsiteY30" fmla="*/ 453380 h 605451"/>
              <a:gd name="connsiteX31" fmla="*/ 401665 w 518797"/>
              <a:gd name="connsiteY31" fmla="*/ 560529 h 605451"/>
              <a:gd name="connsiteX32" fmla="*/ 356681 w 518797"/>
              <a:gd name="connsiteY32" fmla="*/ 605451 h 605451"/>
              <a:gd name="connsiteX33" fmla="*/ 162116 w 518797"/>
              <a:gd name="connsiteY33" fmla="*/ 605451 h 605451"/>
              <a:gd name="connsiteX34" fmla="*/ 117132 w 518797"/>
              <a:gd name="connsiteY34" fmla="*/ 560529 h 605451"/>
              <a:gd name="connsiteX35" fmla="*/ 117132 w 518797"/>
              <a:gd name="connsiteY35" fmla="*/ 453380 h 605451"/>
              <a:gd name="connsiteX36" fmla="*/ 66248 w 518797"/>
              <a:gd name="connsiteY36" fmla="*/ 453380 h 605451"/>
              <a:gd name="connsiteX37" fmla="*/ 0 w 518797"/>
              <a:gd name="connsiteY37" fmla="*/ 387225 h 605451"/>
              <a:gd name="connsiteX38" fmla="*/ 0 w 518797"/>
              <a:gd name="connsiteY38" fmla="*/ 231349 h 605451"/>
              <a:gd name="connsiteX39" fmla="*/ 66248 w 518797"/>
              <a:gd name="connsiteY39" fmla="*/ 165194 h 605451"/>
              <a:gd name="connsiteX40" fmla="*/ 162121 w 518797"/>
              <a:gd name="connsiteY40" fmla="*/ 0 h 605451"/>
              <a:gd name="connsiteX41" fmla="*/ 356677 w 518797"/>
              <a:gd name="connsiteY41" fmla="*/ 0 h 605451"/>
              <a:gd name="connsiteX42" fmla="*/ 401659 w 518797"/>
              <a:gd name="connsiteY42" fmla="*/ 44919 h 605451"/>
              <a:gd name="connsiteX43" fmla="*/ 401659 w 518797"/>
              <a:gd name="connsiteY43" fmla="*/ 145435 h 605451"/>
              <a:gd name="connsiteX44" fmla="*/ 117139 w 518797"/>
              <a:gd name="connsiteY44" fmla="*/ 145435 h 605451"/>
              <a:gd name="connsiteX45" fmla="*/ 117139 w 518797"/>
              <a:gd name="connsiteY45" fmla="*/ 44919 h 605451"/>
              <a:gd name="connsiteX46" fmla="*/ 162121 w 518797"/>
              <a:gd name="connsiteY46" fmla="*/ 0 h 6054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518797" h="605451">
                <a:moveTo>
                  <a:pt x="202555" y="425650"/>
                </a:moveTo>
                <a:lnTo>
                  <a:pt x="316364" y="425650"/>
                </a:lnTo>
                <a:cubicBezTo>
                  <a:pt x="322755" y="425650"/>
                  <a:pt x="327917" y="430805"/>
                  <a:pt x="327917" y="437187"/>
                </a:cubicBezTo>
                <a:cubicBezTo>
                  <a:pt x="327917" y="443570"/>
                  <a:pt x="322755" y="448725"/>
                  <a:pt x="316364" y="448725"/>
                </a:cubicBezTo>
                <a:lnTo>
                  <a:pt x="202555" y="448725"/>
                </a:lnTo>
                <a:cubicBezTo>
                  <a:pt x="196164" y="448725"/>
                  <a:pt x="190879" y="443570"/>
                  <a:pt x="191002" y="437187"/>
                </a:cubicBezTo>
                <a:cubicBezTo>
                  <a:pt x="191002" y="430805"/>
                  <a:pt x="196164" y="425650"/>
                  <a:pt x="202555" y="425650"/>
                </a:cubicBezTo>
                <a:close/>
                <a:moveTo>
                  <a:pt x="202555" y="379995"/>
                </a:moveTo>
                <a:lnTo>
                  <a:pt x="316364" y="379995"/>
                </a:lnTo>
                <a:cubicBezTo>
                  <a:pt x="322755" y="379995"/>
                  <a:pt x="327917" y="385154"/>
                  <a:pt x="327917" y="391542"/>
                </a:cubicBezTo>
                <a:cubicBezTo>
                  <a:pt x="327917" y="397929"/>
                  <a:pt x="322755" y="403211"/>
                  <a:pt x="316364" y="403211"/>
                </a:cubicBezTo>
                <a:lnTo>
                  <a:pt x="202555" y="403211"/>
                </a:lnTo>
                <a:cubicBezTo>
                  <a:pt x="196164" y="403211"/>
                  <a:pt x="190879" y="397929"/>
                  <a:pt x="191002" y="391542"/>
                </a:cubicBezTo>
                <a:cubicBezTo>
                  <a:pt x="191002" y="385154"/>
                  <a:pt x="196164" y="379995"/>
                  <a:pt x="202555" y="379995"/>
                </a:cubicBezTo>
                <a:close/>
                <a:moveTo>
                  <a:pt x="156831" y="350158"/>
                </a:moveTo>
                <a:lnTo>
                  <a:pt x="156831" y="560529"/>
                </a:lnTo>
                <a:cubicBezTo>
                  <a:pt x="156831" y="563475"/>
                  <a:pt x="159289" y="565807"/>
                  <a:pt x="162116" y="565807"/>
                </a:cubicBezTo>
                <a:lnTo>
                  <a:pt x="356681" y="565807"/>
                </a:lnTo>
                <a:cubicBezTo>
                  <a:pt x="359631" y="565807"/>
                  <a:pt x="361966" y="563475"/>
                  <a:pt x="361966" y="560529"/>
                </a:cubicBezTo>
                <a:lnTo>
                  <a:pt x="361966" y="350158"/>
                </a:lnTo>
                <a:close/>
                <a:moveTo>
                  <a:pt x="413833" y="225335"/>
                </a:moveTo>
                <a:cubicBezTo>
                  <a:pt x="398961" y="225335"/>
                  <a:pt x="386916" y="237363"/>
                  <a:pt x="386916" y="252214"/>
                </a:cubicBezTo>
                <a:cubicBezTo>
                  <a:pt x="386916" y="267066"/>
                  <a:pt x="398961" y="279094"/>
                  <a:pt x="413833" y="279094"/>
                </a:cubicBezTo>
                <a:cubicBezTo>
                  <a:pt x="428705" y="279094"/>
                  <a:pt x="440750" y="267066"/>
                  <a:pt x="440750" y="252214"/>
                </a:cubicBezTo>
                <a:cubicBezTo>
                  <a:pt x="440750" y="237363"/>
                  <a:pt x="428705" y="225335"/>
                  <a:pt x="413833" y="225335"/>
                </a:cubicBezTo>
                <a:close/>
                <a:moveTo>
                  <a:pt x="66248" y="165194"/>
                </a:moveTo>
                <a:lnTo>
                  <a:pt x="452672" y="165194"/>
                </a:lnTo>
                <a:cubicBezTo>
                  <a:pt x="489176" y="165194"/>
                  <a:pt x="518797" y="194896"/>
                  <a:pt x="518797" y="231349"/>
                </a:cubicBezTo>
                <a:lnTo>
                  <a:pt x="518797" y="387225"/>
                </a:lnTo>
                <a:cubicBezTo>
                  <a:pt x="518797" y="423801"/>
                  <a:pt x="489176" y="453380"/>
                  <a:pt x="452672" y="453380"/>
                </a:cubicBezTo>
                <a:lnTo>
                  <a:pt x="401665" y="453380"/>
                </a:lnTo>
                <a:lnTo>
                  <a:pt x="401665" y="560529"/>
                </a:lnTo>
                <a:cubicBezTo>
                  <a:pt x="401665" y="585322"/>
                  <a:pt x="381508" y="605451"/>
                  <a:pt x="356681" y="605451"/>
                </a:cubicBezTo>
                <a:lnTo>
                  <a:pt x="162116" y="605451"/>
                </a:lnTo>
                <a:cubicBezTo>
                  <a:pt x="137412" y="605451"/>
                  <a:pt x="117132" y="585322"/>
                  <a:pt x="117132" y="560529"/>
                </a:cubicBezTo>
                <a:lnTo>
                  <a:pt x="117132" y="453380"/>
                </a:lnTo>
                <a:lnTo>
                  <a:pt x="66248" y="453380"/>
                </a:lnTo>
                <a:cubicBezTo>
                  <a:pt x="29621" y="453380"/>
                  <a:pt x="0" y="423801"/>
                  <a:pt x="0" y="387225"/>
                </a:cubicBezTo>
                <a:lnTo>
                  <a:pt x="0" y="231349"/>
                </a:lnTo>
                <a:cubicBezTo>
                  <a:pt x="0" y="194896"/>
                  <a:pt x="29621" y="165194"/>
                  <a:pt x="66248" y="165194"/>
                </a:cubicBezTo>
                <a:close/>
                <a:moveTo>
                  <a:pt x="162121" y="0"/>
                </a:moveTo>
                <a:lnTo>
                  <a:pt x="356677" y="0"/>
                </a:lnTo>
                <a:cubicBezTo>
                  <a:pt x="381503" y="0"/>
                  <a:pt x="401659" y="20128"/>
                  <a:pt x="401659" y="44919"/>
                </a:cubicBezTo>
                <a:lnTo>
                  <a:pt x="401659" y="145435"/>
                </a:lnTo>
                <a:lnTo>
                  <a:pt x="117139" y="145435"/>
                </a:lnTo>
                <a:lnTo>
                  <a:pt x="117139" y="44919"/>
                </a:lnTo>
                <a:cubicBezTo>
                  <a:pt x="117139" y="20128"/>
                  <a:pt x="137418" y="0"/>
                  <a:pt x="162121" y="0"/>
                </a:cubicBezTo>
                <a:close/>
              </a:path>
            </a:pathLst>
          </a:custGeom>
          <a:solidFill>
            <a:schemeClr val="bg2">
              <a:lumMod val="50000"/>
            </a:schemeClr>
          </a:solidFill>
          <a:ln>
            <a:noFill/>
          </a:ln>
        </p:spPr>
      </p:sp>
      <p:sp>
        <p:nvSpPr>
          <p:cNvPr id="92" name="personal-computer_76658"/>
          <p:cNvSpPr>
            <a:spLocks noChangeAspect="1"/>
          </p:cNvSpPr>
          <p:nvPr/>
        </p:nvSpPr>
        <p:spPr bwMode="auto">
          <a:xfrm>
            <a:off x="6673980" y="5335537"/>
            <a:ext cx="609685" cy="463129"/>
          </a:xfrm>
          <a:custGeom>
            <a:avLst/>
            <a:gdLst>
              <a:gd name="T0" fmla="*/ 2664 w 2711"/>
              <a:gd name="T1" fmla="*/ 1581 h 2062"/>
              <a:gd name="T2" fmla="*/ 909 w 2711"/>
              <a:gd name="T3" fmla="*/ 1581 h 2062"/>
              <a:gd name="T4" fmla="*/ 861 w 2711"/>
              <a:gd name="T5" fmla="*/ 1534 h 2062"/>
              <a:gd name="T6" fmla="*/ 861 w 2711"/>
              <a:gd name="T7" fmla="*/ 434 h 2062"/>
              <a:gd name="T8" fmla="*/ 909 w 2711"/>
              <a:gd name="T9" fmla="*/ 386 h 2062"/>
              <a:gd name="T10" fmla="*/ 2664 w 2711"/>
              <a:gd name="T11" fmla="*/ 386 h 2062"/>
              <a:gd name="T12" fmla="*/ 2711 w 2711"/>
              <a:gd name="T13" fmla="*/ 434 h 2062"/>
              <a:gd name="T14" fmla="*/ 2711 w 2711"/>
              <a:gd name="T15" fmla="*/ 1534 h 2062"/>
              <a:gd name="T16" fmla="*/ 2664 w 2711"/>
              <a:gd name="T17" fmla="*/ 1581 h 2062"/>
              <a:gd name="T18" fmla="*/ 2177 w 2711"/>
              <a:gd name="T19" fmla="*/ 1928 h 2062"/>
              <a:gd name="T20" fmla="*/ 2000 w 2711"/>
              <a:gd name="T21" fmla="*/ 1928 h 2062"/>
              <a:gd name="T22" fmla="*/ 2000 w 2711"/>
              <a:gd name="T23" fmla="*/ 1715 h 2062"/>
              <a:gd name="T24" fmla="*/ 1573 w 2711"/>
              <a:gd name="T25" fmla="*/ 1715 h 2062"/>
              <a:gd name="T26" fmla="*/ 1573 w 2711"/>
              <a:gd name="T27" fmla="*/ 1928 h 2062"/>
              <a:gd name="T28" fmla="*/ 1395 w 2711"/>
              <a:gd name="T29" fmla="*/ 1928 h 2062"/>
              <a:gd name="T30" fmla="*/ 1329 w 2711"/>
              <a:gd name="T31" fmla="*/ 1995 h 2062"/>
              <a:gd name="T32" fmla="*/ 1395 w 2711"/>
              <a:gd name="T33" fmla="*/ 2062 h 2062"/>
              <a:gd name="T34" fmla="*/ 1640 w 2711"/>
              <a:gd name="T35" fmla="*/ 2062 h 2062"/>
              <a:gd name="T36" fmla="*/ 1933 w 2711"/>
              <a:gd name="T37" fmla="*/ 2062 h 2062"/>
              <a:gd name="T38" fmla="*/ 2177 w 2711"/>
              <a:gd name="T39" fmla="*/ 2062 h 2062"/>
              <a:gd name="T40" fmla="*/ 2244 w 2711"/>
              <a:gd name="T41" fmla="*/ 1995 h 2062"/>
              <a:gd name="T42" fmla="*/ 2177 w 2711"/>
              <a:gd name="T43" fmla="*/ 1928 h 2062"/>
              <a:gd name="T44" fmla="*/ 1065 w 2711"/>
              <a:gd name="T45" fmla="*/ 253 h 2062"/>
              <a:gd name="T46" fmla="*/ 909 w 2711"/>
              <a:gd name="T47" fmla="*/ 253 h 2062"/>
              <a:gd name="T48" fmla="*/ 880 w 2711"/>
              <a:gd name="T49" fmla="*/ 255 h 2062"/>
              <a:gd name="T50" fmla="*/ 863 w 2711"/>
              <a:gd name="T51" fmla="*/ 253 h 2062"/>
              <a:gd name="T52" fmla="*/ 201 w 2711"/>
              <a:gd name="T53" fmla="*/ 253 h 2062"/>
              <a:gd name="T54" fmla="*/ 135 w 2711"/>
              <a:gd name="T55" fmla="*/ 320 h 2062"/>
              <a:gd name="T56" fmla="*/ 201 w 2711"/>
              <a:gd name="T57" fmla="*/ 386 h 2062"/>
              <a:gd name="T58" fmla="*/ 735 w 2711"/>
              <a:gd name="T59" fmla="*/ 386 h 2062"/>
              <a:gd name="T60" fmla="*/ 728 w 2711"/>
              <a:gd name="T61" fmla="*/ 434 h 2062"/>
              <a:gd name="T62" fmla="*/ 728 w 2711"/>
              <a:gd name="T63" fmla="*/ 558 h 2062"/>
              <a:gd name="T64" fmla="*/ 201 w 2711"/>
              <a:gd name="T65" fmla="*/ 558 h 2062"/>
              <a:gd name="T66" fmla="*/ 135 w 2711"/>
              <a:gd name="T67" fmla="*/ 624 h 2062"/>
              <a:gd name="T68" fmla="*/ 201 w 2711"/>
              <a:gd name="T69" fmla="*/ 691 h 2062"/>
              <a:gd name="T70" fmla="*/ 728 w 2711"/>
              <a:gd name="T71" fmla="*/ 691 h 2062"/>
              <a:gd name="T72" fmla="*/ 728 w 2711"/>
              <a:gd name="T73" fmla="*/ 863 h 2062"/>
              <a:gd name="T74" fmla="*/ 201 w 2711"/>
              <a:gd name="T75" fmla="*/ 863 h 2062"/>
              <a:gd name="T76" fmla="*/ 135 w 2711"/>
              <a:gd name="T77" fmla="*/ 929 h 2062"/>
              <a:gd name="T78" fmla="*/ 201 w 2711"/>
              <a:gd name="T79" fmla="*/ 996 h 2062"/>
              <a:gd name="T80" fmla="*/ 728 w 2711"/>
              <a:gd name="T81" fmla="*/ 996 h 2062"/>
              <a:gd name="T82" fmla="*/ 728 w 2711"/>
              <a:gd name="T83" fmla="*/ 1534 h 2062"/>
              <a:gd name="T84" fmla="*/ 909 w 2711"/>
              <a:gd name="T85" fmla="*/ 1715 h 2062"/>
              <a:gd name="T86" fmla="*/ 1065 w 2711"/>
              <a:gd name="T87" fmla="*/ 1715 h 2062"/>
              <a:gd name="T88" fmla="*/ 1065 w 2711"/>
              <a:gd name="T89" fmla="*/ 1995 h 2062"/>
              <a:gd name="T90" fmla="*/ 998 w 2711"/>
              <a:gd name="T91" fmla="*/ 2062 h 2062"/>
              <a:gd name="T92" fmla="*/ 67 w 2711"/>
              <a:gd name="T93" fmla="*/ 2062 h 2062"/>
              <a:gd name="T94" fmla="*/ 0 w 2711"/>
              <a:gd name="T95" fmla="*/ 1995 h 2062"/>
              <a:gd name="T96" fmla="*/ 0 w 2711"/>
              <a:gd name="T97" fmla="*/ 66 h 2062"/>
              <a:gd name="T98" fmla="*/ 67 w 2711"/>
              <a:gd name="T99" fmla="*/ 0 h 2062"/>
              <a:gd name="T100" fmla="*/ 998 w 2711"/>
              <a:gd name="T101" fmla="*/ 0 h 2062"/>
              <a:gd name="T102" fmla="*/ 1065 w 2711"/>
              <a:gd name="T103" fmla="*/ 66 h 2062"/>
              <a:gd name="T104" fmla="*/ 1065 w 2711"/>
              <a:gd name="T105" fmla="*/ 253 h 2062"/>
              <a:gd name="T106" fmla="*/ 430 w 2711"/>
              <a:gd name="T107" fmla="*/ 1569 h 2062"/>
              <a:gd name="T108" fmla="*/ 532 w 2711"/>
              <a:gd name="T109" fmla="*/ 1672 h 2062"/>
              <a:gd name="T110" fmla="*/ 635 w 2711"/>
              <a:gd name="T111" fmla="*/ 1569 h 2062"/>
              <a:gd name="T112" fmla="*/ 532 w 2711"/>
              <a:gd name="T113" fmla="*/ 1466 h 2062"/>
              <a:gd name="T114" fmla="*/ 430 w 2711"/>
              <a:gd name="T115" fmla="*/ 1569 h 20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711" h="2062">
                <a:moveTo>
                  <a:pt x="2664" y="1581"/>
                </a:moveTo>
                <a:lnTo>
                  <a:pt x="909" y="1581"/>
                </a:lnTo>
                <a:cubicBezTo>
                  <a:pt x="883" y="1581"/>
                  <a:pt x="861" y="1560"/>
                  <a:pt x="861" y="1534"/>
                </a:cubicBezTo>
                <a:lnTo>
                  <a:pt x="861" y="434"/>
                </a:lnTo>
                <a:cubicBezTo>
                  <a:pt x="861" y="407"/>
                  <a:pt x="883" y="386"/>
                  <a:pt x="909" y="386"/>
                </a:cubicBezTo>
                <a:lnTo>
                  <a:pt x="2664" y="386"/>
                </a:lnTo>
                <a:cubicBezTo>
                  <a:pt x="2690" y="386"/>
                  <a:pt x="2711" y="408"/>
                  <a:pt x="2711" y="434"/>
                </a:cubicBezTo>
                <a:lnTo>
                  <a:pt x="2711" y="1534"/>
                </a:lnTo>
                <a:cubicBezTo>
                  <a:pt x="2711" y="1560"/>
                  <a:pt x="2690" y="1581"/>
                  <a:pt x="2664" y="1581"/>
                </a:cubicBezTo>
                <a:close/>
                <a:moveTo>
                  <a:pt x="2177" y="1928"/>
                </a:moveTo>
                <a:lnTo>
                  <a:pt x="2000" y="1928"/>
                </a:lnTo>
                <a:lnTo>
                  <a:pt x="2000" y="1715"/>
                </a:lnTo>
                <a:lnTo>
                  <a:pt x="1573" y="1715"/>
                </a:lnTo>
                <a:lnTo>
                  <a:pt x="1573" y="1928"/>
                </a:lnTo>
                <a:lnTo>
                  <a:pt x="1395" y="1928"/>
                </a:lnTo>
                <a:cubicBezTo>
                  <a:pt x="1358" y="1928"/>
                  <a:pt x="1329" y="1958"/>
                  <a:pt x="1329" y="1995"/>
                </a:cubicBezTo>
                <a:cubicBezTo>
                  <a:pt x="1329" y="2032"/>
                  <a:pt x="1358" y="2062"/>
                  <a:pt x="1395" y="2062"/>
                </a:cubicBezTo>
                <a:lnTo>
                  <a:pt x="1640" y="2062"/>
                </a:lnTo>
                <a:lnTo>
                  <a:pt x="1933" y="2062"/>
                </a:lnTo>
                <a:lnTo>
                  <a:pt x="2177" y="2062"/>
                </a:lnTo>
                <a:cubicBezTo>
                  <a:pt x="2214" y="2062"/>
                  <a:pt x="2244" y="2032"/>
                  <a:pt x="2244" y="1995"/>
                </a:cubicBezTo>
                <a:cubicBezTo>
                  <a:pt x="2244" y="1958"/>
                  <a:pt x="2214" y="1928"/>
                  <a:pt x="2177" y="1928"/>
                </a:cubicBezTo>
                <a:close/>
                <a:moveTo>
                  <a:pt x="1065" y="253"/>
                </a:moveTo>
                <a:lnTo>
                  <a:pt x="909" y="253"/>
                </a:lnTo>
                <a:cubicBezTo>
                  <a:pt x="899" y="253"/>
                  <a:pt x="890" y="254"/>
                  <a:pt x="880" y="255"/>
                </a:cubicBezTo>
                <a:cubicBezTo>
                  <a:pt x="875" y="254"/>
                  <a:pt x="869" y="253"/>
                  <a:pt x="863" y="253"/>
                </a:cubicBezTo>
                <a:lnTo>
                  <a:pt x="201" y="253"/>
                </a:lnTo>
                <a:cubicBezTo>
                  <a:pt x="164" y="253"/>
                  <a:pt x="135" y="283"/>
                  <a:pt x="135" y="320"/>
                </a:cubicBezTo>
                <a:cubicBezTo>
                  <a:pt x="135" y="356"/>
                  <a:pt x="164" y="386"/>
                  <a:pt x="201" y="386"/>
                </a:cubicBezTo>
                <a:lnTo>
                  <a:pt x="735" y="386"/>
                </a:lnTo>
                <a:cubicBezTo>
                  <a:pt x="730" y="401"/>
                  <a:pt x="728" y="417"/>
                  <a:pt x="728" y="434"/>
                </a:cubicBezTo>
                <a:lnTo>
                  <a:pt x="728" y="558"/>
                </a:lnTo>
                <a:lnTo>
                  <a:pt x="201" y="558"/>
                </a:lnTo>
                <a:cubicBezTo>
                  <a:pt x="164" y="558"/>
                  <a:pt x="135" y="588"/>
                  <a:pt x="135" y="624"/>
                </a:cubicBezTo>
                <a:cubicBezTo>
                  <a:pt x="135" y="661"/>
                  <a:pt x="164" y="691"/>
                  <a:pt x="201" y="691"/>
                </a:cubicBezTo>
                <a:lnTo>
                  <a:pt x="728" y="691"/>
                </a:lnTo>
                <a:lnTo>
                  <a:pt x="728" y="863"/>
                </a:lnTo>
                <a:lnTo>
                  <a:pt x="201" y="863"/>
                </a:lnTo>
                <a:cubicBezTo>
                  <a:pt x="164" y="863"/>
                  <a:pt x="135" y="893"/>
                  <a:pt x="135" y="929"/>
                </a:cubicBezTo>
                <a:cubicBezTo>
                  <a:pt x="135" y="966"/>
                  <a:pt x="164" y="996"/>
                  <a:pt x="201" y="996"/>
                </a:cubicBezTo>
                <a:lnTo>
                  <a:pt x="728" y="996"/>
                </a:lnTo>
                <a:lnTo>
                  <a:pt x="728" y="1534"/>
                </a:lnTo>
                <a:cubicBezTo>
                  <a:pt x="728" y="1633"/>
                  <a:pt x="809" y="1715"/>
                  <a:pt x="909" y="1715"/>
                </a:cubicBezTo>
                <a:lnTo>
                  <a:pt x="1065" y="1715"/>
                </a:lnTo>
                <a:lnTo>
                  <a:pt x="1065" y="1995"/>
                </a:lnTo>
                <a:cubicBezTo>
                  <a:pt x="1065" y="2032"/>
                  <a:pt x="1035" y="2062"/>
                  <a:pt x="998" y="2062"/>
                </a:cubicBezTo>
                <a:lnTo>
                  <a:pt x="67" y="2062"/>
                </a:lnTo>
                <a:cubicBezTo>
                  <a:pt x="30" y="2062"/>
                  <a:pt x="0" y="2032"/>
                  <a:pt x="0" y="1995"/>
                </a:cubicBezTo>
                <a:lnTo>
                  <a:pt x="0" y="66"/>
                </a:lnTo>
                <a:cubicBezTo>
                  <a:pt x="0" y="29"/>
                  <a:pt x="30" y="0"/>
                  <a:pt x="67" y="0"/>
                </a:cubicBezTo>
                <a:lnTo>
                  <a:pt x="998" y="0"/>
                </a:lnTo>
                <a:cubicBezTo>
                  <a:pt x="1035" y="0"/>
                  <a:pt x="1065" y="29"/>
                  <a:pt x="1065" y="66"/>
                </a:cubicBezTo>
                <a:lnTo>
                  <a:pt x="1065" y="253"/>
                </a:lnTo>
                <a:close/>
                <a:moveTo>
                  <a:pt x="430" y="1569"/>
                </a:moveTo>
                <a:cubicBezTo>
                  <a:pt x="430" y="1626"/>
                  <a:pt x="476" y="1672"/>
                  <a:pt x="532" y="1672"/>
                </a:cubicBezTo>
                <a:cubicBezTo>
                  <a:pt x="589" y="1672"/>
                  <a:pt x="635" y="1626"/>
                  <a:pt x="635" y="1569"/>
                </a:cubicBezTo>
                <a:cubicBezTo>
                  <a:pt x="635" y="1512"/>
                  <a:pt x="589" y="1466"/>
                  <a:pt x="532" y="1466"/>
                </a:cubicBezTo>
                <a:cubicBezTo>
                  <a:pt x="476" y="1466"/>
                  <a:pt x="430" y="1512"/>
                  <a:pt x="430" y="1569"/>
                </a:cubicBezTo>
                <a:close/>
              </a:path>
            </a:pathLst>
          </a:custGeom>
          <a:solidFill>
            <a:schemeClr val="bg2">
              <a:lumMod val="50000"/>
            </a:schemeClr>
          </a:solidFill>
          <a:ln>
            <a:noFill/>
          </a:ln>
        </p:spPr>
      </p:sp>
      <p:pic>
        <p:nvPicPr>
          <p:cNvPr id="11" name="图片 10"/>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9065757" y="2652584"/>
            <a:ext cx="1234689" cy="1234689"/>
          </a:xfrm>
          <a:prstGeom prst="rect">
            <a:avLst/>
          </a:prstGeom>
        </p:spPr>
      </p:pic>
      <p:pic>
        <p:nvPicPr>
          <p:cNvPr id="12" name="图片 11"/>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1740656" y="2841764"/>
            <a:ext cx="1367712" cy="1025784"/>
          </a:xfrm>
          <a:prstGeom prst="rect">
            <a:avLst/>
          </a:prstGeom>
          <a:noFill/>
          <a:ln>
            <a:noFill/>
          </a:ln>
        </p:spPr>
      </p:pic>
      <p:pic>
        <p:nvPicPr>
          <p:cNvPr id="13" name="图片 12"/>
          <p:cNvPicPr>
            <a:picLocks noChangeAspect="1"/>
          </p:cNvPicPr>
          <p:nvPr/>
        </p:nvPicPr>
        <p:blipFill>
          <a:blip r:embed="rId4" cstate="email">
            <a:extLst>
              <a:ext uri="{28A0092B-C50C-407E-A947-70E740481C1C}">
                <a14:useLocalDpi xmlns:a14="http://schemas.microsoft.com/office/drawing/2010/main" val="0"/>
              </a:ext>
            </a:extLst>
          </a:blip>
          <a:stretch>
            <a:fillRect/>
          </a:stretch>
        </p:blipFill>
        <p:spPr>
          <a:xfrm>
            <a:off x="2541758" y="4513432"/>
            <a:ext cx="759875" cy="1025127"/>
          </a:xfrm>
          <a:prstGeom prst="rect">
            <a:avLst/>
          </a:prstGeom>
        </p:spPr>
      </p:pic>
      <p:pic>
        <p:nvPicPr>
          <p:cNvPr id="14" name="图片 13"/>
          <p:cNvPicPr>
            <a:picLocks noChangeAspect="1"/>
          </p:cNvPicPr>
          <p:nvPr/>
        </p:nvPicPr>
        <p:blipFill>
          <a:blip r:embed="rId5" cstate="email">
            <a:extLst>
              <a:ext uri="{28A0092B-C50C-407E-A947-70E740481C1C}">
                <a14:useLocalDpi xmlns:a14="http://schemas.microsoft.com/office/drawing/2010/main" val="0"/>
              </a:ext>
            </a:extLst>
          </a:blip>
          <a:stretch>
            <a:fillRect/>
          </a:stretch>
        </p:blipFill>
        <p:spPr>
          <a:xfrm>
            <a:off x="8686506" y="4625265"/>
            <a:ext cx="1287849" cy="965887"/>
          </a:xfrm>
          <a:prstGeom prst="rect">
            <a:avLst/>
          </a:prstGeom>
        </p:spPr>
      </p:pic>
    </p:spTree>
    <p:extLst>
      <p:ext uri="{BB962C8B-B14F-4D97-AF65-F5344CB8AC3E}">
        <p14:creationId xmlns:p14="http://schemas.microsoft.com/office/powerpoint/2010/main" val="1085350840"/>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仓库料盘标签打印系统</a:t>
            </a:r>
          </a:p>
        </p:txBody>
      </p:sp>
      <p:grpSp>
        <p:nvGrpSpPr>
          <p:cNvPr id="65" name="5bb3d6b7-9bab-452e-9d19-d187542629f5"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p:cNvGrpSpPr>
            <a:grpSpLocks noChangeAspect="1"/>
          </p:cNvGrpSpPr>
          <p:nvPr/>
        </p:nvGrpSpPr>
        <p:grpSpPr>
          <a:xfrm>
            <a:off x="854606" y="1161726"/>
            <a:ext cx="4995000" cy="5696274"/>
            <a:chOff x="854606" y="1161726"/>
            <a:chExt cx="4995000" cy="5696274"/>
          </a:xfrm>
        </p:grpSpPr>
        <p:grpSp>
          <p:nvGrpSpPr>
            <p:cNvPr id="66" name="işḻîḍe"/>
            <p:cNvGrpSpPr/>
            <p:nvPr/>
          </p:nvGrpSpPr>
          <p:grpSpPr>
            <a:xfrm>
              <a:off x="854606" y="1161726"/>
              <a:ext cx="4994999" cy="5696274"/>
              <a:chOff x="966000" y="1161726"/>
              <a:chExt cx="4994999" cy="5696274"/>
            </a:xfrm>
          </p:grpSpPr>
          <p:grpSp>
            <p:nvGrpSpPr>
              <p:cNvPr id="70" name="íṧľïḍè"/>
              <p:cNvGrpSpPr/>
              <p:nvPr/>
            </p:nvGrpSpPr>
            <p:grpSpPr>
              <a:xfrm>
                <a:off x="966000" y="1161726"/>
                <a:ext cx="2692403" cy="2692403"/>
                <a:chOff x="2127250" y="1358900"/>
                <a:chExt cx="2692403" cy="2692403"/>
              </a:xfrm>
            </p:grpSpPr>
            <p:sp>
              <p:nvSpPr>
                <p:cNvPr id="82" name="ísḷîḓe"/>
                <p:cNvSpPr/>
                <p:nvPr/>
              </p:nvSpPr>
              <p:spPr>
                <a:xfrm>
                  <a:off x="2127250" y="1358900"/>
                  <a:ext cx="2692403" cy="2692403"/>
                </a:xfrm>
                <a:custGeom>
                  <a:avLst/>
                  <a:gdLst/>
                  <a:ahLst/>
                  <a:cxnLst>
                    <a:cxn ang="0">
                      <a:pos x="wd2" y="hd2"/>
                    </a:cxn>
                    <a:cxn ang="5400000">
                      <a:pos x="wd2" y="hd2"/>
                    </a:cxn>
                    <a:cxn ang="10800000">
                      <a:pos x="wd2" y="hd2"/>
                    </a:cxn>
                    <a:cxn ang="16200000">
                      <a:pos x="wd2" y="hd2"/>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path>
                  </a:pathLst>
                </a:custGeom>
                <a:solidFill>
                  <a:schemeClr val="bg1">
                    <a:lumMod val="100000"/>
                  </a:schemeClr>
                </a:solidFill>
                <a:ln w="22225" cap="flat" cmpd="sng" algn="ctr">
                  <a:solidFill>
                    <a:schemeClr val="accent1">
                      <a:lumMod val="100000"/>
                    </a:schemeClr>
                  </a:solidFill>
                  <a:prstDash val="solid"/>
                  <a:miter lim="400000"/>
                  <a:headEnd type="none" w="med" len="med"/>
                  <a:tailEnd type="none" w="med" len="med"/>
                </a:ln>
                <a:effectLst/>
              </p:spPr>
              <p:txBody>
                <a:bodyPr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sp>
              <p:nvSpPr>
                <p:cNvPr id="83" name="ïšḷide"/>
                <p:cNvSpPr/>
                <p:nvPr/>
              </p:nvSpPr>
              <p:spPr>
                <a:xfrm>
                  <a:off x="2254253" y="1485904"/>
                  <a:ext cx="2438396" cy="2438396"/>
                </a:xfrm>
                <a:custGeom>
                  <a:avLst/>
                  <a:gdLst/>
                  <a:ahLst/>
                  <a:cxnLst>
                    <a:cxn ang="0">
                      <a:pos x="wd2" y="hd2"/>
                    </a:cxn>
                    <a:cxn ang="5400000">
                      <a:pos x="wd2" y="hd2"/>
                    </a:cxn>
                    <a:cxn ang="10800000">
                      <a:pos x="wd2" y="hd2"/>
                    </a:cxn>
                    <a:cxn ang="16200000">
                      <a:pos x="wd2" y="hd2"/>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path>
                  </a:pathLst>
                </a:custGeom>
                <a:solidFill>
                  <a:schemeClr val="accent1">
                    <a:lumMod val="100000"/>
                  </a:schemeClr>
                </a:solidFill>
                <a:ln w="63500" cap="flat">
                  <a:solidFill>
                    <a:schemeClr val="bg1"/>
                  </a:solidFill>
                  <a:prstDash val="solid"/>
                  <a:miter lim="400000"/>
                </a:ln>
                <a:effectLst/>
                <a:extLst/>
              </p:spPr>
              <p:txBody>
                <a:bodyPr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sp>
              <p:nvSpPr>
                <p:cNvPr id="84" name="íSļïḑê"/>
                <p:cNvSpPr/>
                <p:nvPr/>
              </p:nvSpPr>
              <p:spPr>
                <a:xfrm>
                  <a:off x="2901952" y="2158907"/>
                  <a:ext cx="1142998" cy="920937"/>
                </a:xfrm>
                <a:custGeom>
                  <a:avLst/>
                  <a:gdLst>
                    <a:gd name="T0" fmla="*/ 455839 w 606244"/>
                    <a:gd name="T1" fmla="*/ 455839 w 606244"/>
                    <a:gd name="T2" fmla="*/ 600116 w 606244"/>
                    <a:gd name="T3" fmla="*/ 600116 w 606244"/>
                    <a:gd name="T4" fmla="*/ 600116 w 606244"/>
                    <a:gd name="T5" fmla="*/ 600116 w 606244"/>
                    <a:gd name="T6" fmla="*/ 600116 w 606244"/>
                    <a:gd name="T7" fmla="*/ 600116 w 606244"/>
                    <a:gd name="T8" fmla="*/ 600116 w 606244"/>
                    <a:gd name="T9" fmla="*/ 600116 w 606244"/>
                    <a:gd name="T10" fmla="*/ 600116 w 606244"/>
                    <a:gd name="T11" fmla="*/ 600116 w 606244"/>
                    <a:gd name="T12" fmla="*/ 600116 w 606244"/>
                    <a:gd name="T13" fmla="*/ 600116 w 606244"/>
                    <a:gd name="T14" fmla="*/ 600116 w 606244"/>
                    <a:gd name="T15" fmla="*/ 600116 w 606244"/>
                    <a:gd name="T16" fmla="*/ 600116 w 606244"/>
                    <a:gd name="T17" fmla="*/ 600116 w 606244"/>
                    <a:gd name="T18" fmla="*/ 600116 w 606244"/>
                    <a:gd name="T19" fmla="*/ 600116 w 606244"/>
                    <a:gd name="T20" fmla="*/ 600116 w 606244"/>
                    <a:gd name="T21" fmla="*/ 600116 w 606244"/>
                    <a:gd name="T22" fmla="*/ 600116 w 606244"/>
                    <a:gd name="T23" fmla="*/ 600116 w 606244"/>
                    <a:gd name="T24" fmla="*/ 600116 w 606244"/>
                    <a:gd name="T25" fmla="*/ 600116 w 606244"/>
                    <a:gd name="T26" fmla="*/ 600116 w 606244"/>
                    <a:gd name="T27" fmla="*/ 600116 w 606244"/>
                    <a:gd name="T28" fmla="*/ 600116 w 606244"/>
                    <a:gd name="T29" fmla="*/ 600116 w 606244"/>
                    <a:gd name="T30" fmla="*/ 600116 w 606244"/>
                    <a:gd name="T31" fmla="*/ 600116 w 606244"/>
                    <a:gd name="T32" fmla="*/ 600116 w 606244"/>
                    <a:gd name="T33" fmla="*/ 600116 w 606244"/>
                    <a:gd name="T34" fmla="*/ 600116 w 606244"/>
                    <a:gd name="T35" fmla="*/ 600116 w 606244"/>
                    <a:gd name="T36" fmla="*/ 600116 w 606244"/>
                    <a:gd name="T37" fmla="*/ 600116 w 606244"/>
                    <a:gd name="T38" fmla="*/ 600116 w 606244"/>
                    <a:gd name="T39" fmla="*/ 600116 w 606244"/>
                    <a:gd name="T40" fmla="*/ 600116 w 606244"/>
                    <a:gd name="T41" fmla="*/ 600116 w 606244"/>
                    <a:gd name="T42" fmla="*/ 600116 w 606244"/>
                    <a:gd name="T43" fmla="*/ 600116 w 606244"/>
                    <a:gd name="T44" fmla="*/ 600116 w 606244"/>
                    <a:gd name="T45" fmla="*/ 600116 w 606244"/>
                    <a:gd name="T46" fmla="*/ 600116 w 606244"/>
                    <a:gd name="T47" fmla="*/ 600116 w 606244"/>
                    <a:gd name="T48" fmla="*/ 600116 w 606244"/>
                    <a:gd name="T49" fmla="*/ 600116 w 606244"/>
                    <a:gd name="T50" fmla="*/ 455839 w 606244"/>
                    <a:gd name="T51" fmla="*/ 455839 w 606244"/>
                    <a:gd name="T52" fmla="*/ 600116 w 606244"/>
                    <a:gd name="T53" fmla="*/ 600116 w 606244"/>
                    <a:gd name="T54" fmla="*/ 600116 w 606244"/>
                    <a:gd name="T55" fmla="*/ 600116 w 606244"/>
                    <a:gd name="T56" fmla="*/ 600116 w 606244"/>
                    <a:gd name="T57" fmla="*/ 600116 w 606244"/>
                    <a:gd name="T58" fmla="*/ 600116 w 606244"/>
                    <a:gd name="T59" fmla="*/ 600116 w 606244"/>
                    <a:gd name="T60" fmla="*/ 600116 w 606244"/>
                    <a:gd name="T61" fmla="*/ 600116 w 606244"/>
                    <a:gd name="T62" fmla="*/ 455839 w 606244"/>
                    <a:gd name="T63" fmla="*/ 455839 w 606244"/>
                    <a:gd name="T64" fmla="*/ 600116 w 606244"/>
                    <a:gd name="T65" fmla="*/ 600116 w 606244"/>
                    <a:gd name="T66" fmla="*/ 600116 w 606244"/>
                    <a:gd name="T67" fmla="*/ 600116 w 606244"/>
                    <a:gd name="T68" fmla="*/ 600116 w 606244"/>
                    <a:gd name="T69" fmla="*/ 600116 w 606244"/>
                    <a:gd name="T70" fmla="*/ 600116 w 606244"/>
                    <a:gd name="T71" fmla="*/ 600116 w 606244"/>
                    <a:gd name="T72" fmla="*/ 455839 w 606244"/>
                    <a:gd name="T73" fmla="*/ 455839 w 606244"/>
                    <a:gd name="T74" fmla="*/ 600116 w 606244"/>
                    <a:gd name="T75" fmla="*/ 600116 w 606244"/>
                    <a:gd name="T76" fmla="*/ 600116 w 606244"/>
                    <a:gd name="T77" fmla="*/ 600116 w 606244"/>
                    <a:gd name="T78" fmla="*/ 600116 w 606244"/>
                    <a:gd name="T79" fmla="*/ 600116 w 606244"/>
                    <a:gd name="T80" fmla="*/ 600116 w 606244"/>
                    <a:gd name="T81" fmla="*/ 600116 w 606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786" h="2248">
                      <a:moveTo>
                        <a:pt x="2417" y="923"/>
                      </a:moveTo>
                      <a:lnTo>
                        <a:pt x="2404" y="923"/>
                      </a:lnTo>
                      <a:cubicBezTo>
                        <a:pt x="2404" y="922"/>
                        <a:pt x="2404" y="922"/>
                        <a:pt x="2404" y="922"/>
                      </a:cubicBezTo>
                      <a:lnTo>
                        <a:pt x="2404" y="308"/>
                      </a:lnTo>
                      <a:cubicBezTo>
                        <a:pt x="2404" y="271"/>
                        <a:pt x="2374" y="241"/>
                        <a:pt x="2337" y="241"/>
                      </a:cubicBezTo>
                      <a:lnTo>
                        <a:pt x="2158" y="241"/>
                      </a:lnTo>
                      <a:lnTo>
                        <a:pt x="2158" y="67"/>
                      </a:lnTo>
                      <a:cubicBezTo>
                        <a:pt x="2158" y="30"/>
                        <a:pt x="2128" y="0"/>
                        <a:pt x="2091" y="0"/>
                      </a:cubicBezTo>
                      <a:lnTo>
                        <a:pt x="695" y="0"/>
                      </a:lnTo>
                      <a:cubicBezTo>
                        <a:pt x="658" y="0"/>
                        <a:pt x="628" y="30"/>
                        <a:pt x="628" y="67"/>
                      </a:cubicBezTo>
                      <a:lnTo>
                        <a:pt x="628" y="241"/>
                      </a:lnTo>
                      <a:lnTo>
                        <a:pt x="439" y="241"/>
                      </a:lnTo>
                      <a:cubicBezTo>
                        <a:pt x="402" y="241"/>
                        <a:pt x="372" y="271"/>
                        <a:pt x="372" y="308"/>
                      </a:cubicBezTo>
                      <a:lnTo>
                        <a:pt x="372" y="922"/>
                      </a:lnTo>
                      <a:cubicBezTo>
                        <a:pt x="372" y="922"/>
                        <a:pt x="372" y="922"/>
                        <a:pt x="372" y="923"/>
                      </a:cubicBezTo>
                      <a:lnTo>
                        <a:pt x="369" y="923"/>
                      </a:lnTo>
                      <a:cubicBezTo>
                        <a:pt x="165" y="923"/>
                        <a:pt x="0" y="1088"/>
                        <a:pt x="0" y="1292"/>
                      </a:cubicBezTo>
                      <a:lnTo>
                        <a:pt x="0" y="2182"/>
                      </a:lnTo>
                      <a:cubicBezTo>
                        <a:pt x="0" y="2218"/>
                        <a:pt x="30" y="2248"/>
                        <a:pt x="67" y="2248"/>
                      </a:cubicBezTo>
                      <a:lnTo>
                        <a:pt x="439" y="2248"/>
                      </a:lnTo>
                      <a:lnTo>
                        <a:pt x="2347" y="2248"/>
                      </a:lnTo>
                      <a:lnTo>
                        <a:pt x="2720" y="2248"/>
                      </a:lnTo>
                      <a:cubicBezTo>
                        <a:pt x="2756" y="2248"/>
                        <a:pt x="2786" y="2218"/>
                        <a:pt x="2786" y="2182"/>
                      </a:cubicBezTo>
                      <a:lnTo>
                        <a:pt x="2786" y="1292"/>
                      </a:lnTo>
                      <a:cubicBezTo>
                        <a:pt x="2786" y="1088"/>
                        <a:pt x="2621" y="923"/>
                        <a:pt x="2417" y="923"/>
                      </a:cubicBezTo>
                      <a:close/>
                      <a:moveTo>
                        <a:pt x="762" y="133"/>
                      </a:moveTo>
                      <a:lnTo>
                        <a:pt x="2024" y="133"/>
                      </a:lnTo>
                      <a:lnTo>
                        <a:pt x="2024" y="308"/>
                      </a:lnTo>
                      <a:lnTo>
                        <a:pt x="2024" y="854"/>
                      </a:lnTo>
                      <a:lnTo>
                        <a:pt x="762" y="854"/>
                      </a:lnTo>
                      <a:lnTo>
                        <a:pt x="762" y="133"/>
                      </a:lnTo>
                      <a:close/>
                      <a:moveTo>
                        <a:pt x="2281" y="2115"/>
                      </a:moveTo>
                      <a:lnTo>
                        <a:pt x="506" y="2115"/>
                      </a:lnTo>
                      <a:lnTo>
                        <a:pt x="506" y="1932"/>
                      </a:lnTo>
                      <a:lnTo>
                        <a:pt x="2281" y="1932"/>
                      </a:lnTo>
                      <a:lnTo>
                        <a:pt x="2281" y="2115"/>
                      </a:lnTo>
                      <a:close/>
                      <a:moveTo>
                        <a:pt x="2281" y="1799"/>
                      </a:moveTo>
                      <a:lnTo>
                        <a:pt x="506" y="1799"/>
                      </a:lnTo>
                      <a:lnTo>
                        <a:pt x="506" y="1616"/>
                      </a:lnTo>
                      <a:lnTo>
                        <a:pt x="2281" y="1616"/>
                      </a:lnTo>
                      <a:lnTo>
                        <a:pt x="2281" y="1799"/>
                      </a:lnTo>
                      <a:close/>
                    </a:path>
                  </a:pathLst>
                </a:custGeom>
                <a:solidFill>
                  <a:schemeClr val="bg1">
                    <a:lumMod val="100000"/>
                  </a:schemeClr>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a:p>
              </p:txBody>
            </p:sp>
          </p:grpSp>
          <p:cxnSp>
            <p:nvCxnSpPr>
              <p:cNvPr id="71" name="直接连接符 70"/>
              <p:cNvCxnSpPr/>
              <p:nvPr/>
            </p:nvCxnSpPr>
            <p:spPr>
              <a:xfrm>
                <a:off x="2312201" y="3870000"/>
                <a:ext cx="0" cy="2988000"/>
              </a:xfrm>
              <a:prstGeom prst="line">
                <a:avLst/>
              </a:prstGeom>
              <a:ln w="22225" cap="flat" cmpd="sng" algn="ctr">
                <a:solidFill>
                  <a:schemeClr val="tx2"/>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72" name="í$ľiḓê"/>
              <p:cNvGrpSpPr/>
              <p:nvPr/>
            </p:nvGrpSpPr>
            <p:grpSpPr>
              <a:xfrm>
                <a:off x="1796266" y="4749478"/>
                <a:ext cx="1031870" cy="1031870"/>
                <a:chOff x="2957516" y="4946652"/>
                <a:chExt cx="1031870" cy="1031870"/>
              </a:xfrm>
            </p:grpSpPr>
            <p:sp>
              <p:nvSpPr>
                <p:cNvPr id="79" name="išľíḑê"/>
                <p:cNvSpPr/>
                <p:nvPr/>
              </p:nvSpPr>
              <p:spPr>
                <a:xfrm>
                  <a:off x="2957516" y="4946652"/>
                  <a:ext cx="1031870" cy="1031870"/>
                </a:xfrm>
                <a:prstGeom prst="ellipse">
                  <a:avLst/>
                </a:prstGeom>
                <a:solidFill>
                  <a:schemeClr val="bg1">
                    <a:lumMod val="100000"/>
                  </a:schemeClr>
                </a:solidFill>
                <a:ln w="22225" cap="flat" cmpd="sng" algn="ctr">
                  <a:solidFill>
                    <a:schemeClr val="accent2">
                      <a:lumMod val="100000"/>
                    </a:schemeClr>
                  </a:solidFill>
                  <a:prstDash val="solid"/>
                  <a:miter lim="800000"/>
                  <a:headEnd type="none" w="med" len="med"/>
                  <a:tailEnd type="none" w="med" len="med"/>
                </a:ln>
                <a:effectLst/>
                <a:extLst/>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a:p>
              </p:txBody>
            </p:sp>
            <p:sp>
              <p:nvSpPr>
                <p:cNvPr id="80" name="îsḷîḓé"/>
                <p:cNvSpPr/>
                <p:nvPr/>
              </p:nvSpPr>
              <p:spPr>
                <a:xfrm>
                  <a:off x="3032127" y="5021263"/>
                  <a:ext cx="882648" cy="882648"/>
                </a:xfrm>
                <a:prstGeom prst="ellipse">
                  <a:avLst/>
                </a:prstGeom>
                <a:solidFill>
                  <a:schemeClr val="accent2">
                    <a:lumMod val="100000"/>
                  </a:schemeClr>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a:p>
              </p:txBody>
            </p:sp>
            <p:sp>
              <p:nvSpPr>
                <p:cNvPr id="81" name="iš1îḑé"/>
                <p:cNvSpPr/>
                <p:nvPr/>
              </p:nvSpPr>
              <p:spPr>
                <a:xfrm>
                  <a:off x="3231460" y="5328909"/>
                  <a:ext cx="483982" cy="268941"/>
                </a:xfrm>
                <a:custGeom>
                  <a:avLst/>
                  <a:gdLst>
                    <a:gd name="connsiteX0" fmla="*/ 228528 w 605733"/>
                    <a:gd name="connsiteY0" fmla="*/ 215224 h 336597"/>
                    <a:gd name="connsiteX1" fmla="*/ 495121 w 605733"/>
                    <a:gd name="connsiteY1" fmla="*/ 215224 h 336597"/>
                    <a:gd name="connsiteX2" fmla="*/ 505531 w 605733"/>
                    <a:gd name="connsiteY2" fmla="*/ 225597 h 336597"/>
                    <a:gd name="connsiteX3" fmla="*/ 495121 w 605733"/>
                    <a:gd name="connsiteY3" fmla="*/ 235970 h 336597"/>
                    <a:gd name="connsiteX4" fmla="*/ 228528 w 605733"/>
                    <a:gd name="connsiteY4" fmla="*/ 235970 h 336597"/>
                    <a:gd name="connsiteX5" fmla="*/ 218118 w 605733"/>
                    <a:gd name="connsiteY5" fmla="*/ 225597 h 336597"/>
                    <a:gd name="connsiteX6" fmla="*/ 228528 w 605733"/>
                    <a:gd name="connsiteY6" fmla="*/ 215224 h 336597"/>
                    <a:gd name="connsiteX7" fmla="*/ 141131 w 605733"/>
                    <a:gd name="connsiteY7" fmla="*/ 157972 h 336597"/>
                    <a:gd name="connsiteX8" fmla="*/ 130734 w 605733"/>
                    <a:gd name="connsiteY8" fmla="*/ 168369 h 336597"/>
                    <a:gd name="connsiteX9" fmla="*/ 141131 w 605733"/>
                    <a:gd name="connsiteY9" fmla="*/ 178766 h 336597"/>
                    <a:gd name="connsiteX10" fmla="*/ 151528 w 605733"/>
                    <a:gd name="connsiteY10" fmla="*/ 168369 h 336597"/>
                    <a:gd name="connsiteX11" fmla="*/ 141131 w 605733"/>
                    <a:gd name="connsiteY11" fmla="*/ 157972 h 336597"/>
                    <a:gd name="connsiteX12" fmla="*/ 228528 w 605733"/>
                    <a:gd name="connsiteY12" fmla="*/ 157925 h 336597"/>
                    <a:gd name="connsiteX13" fmla="*/ 495121 w 605733"/>
                    <a:gd name="connsiteY13" fmla="*/ 157925 h 336597"/>
                    <a:gd name="connsiteX14" fmla="*/ 505531 w 605733"/>
                    <a:gd name="connsiteY14" fmla="*/ 168334 h 336597"/>
                    <a:gd name="connsiteX15" fmla="*/ 495121 w 605733"/>
                    <a:gd name="connsiteY15" fmla="*/ 178742 h 336597"/>
                    <a:gd name="connsiteX16" fmla="*/ 228528 w 605733"/>
                    <a:gd name="connsiteY16" fmla="*/ 178742 h 336597"/>
                    <a:gd name="connsiteX17" fmla="*/ 218118 w 605733"/>
                    <a:gd name="connsiteY17" fmla="*/ 168334 h 336597"/>
                    <a:gd name="connsiteX18" fmla="*/ 228528 w 605733"/>
                    <a:gd name="connsiteY18" fmla="*/ 157925 h 336597"/>
                    <a:gd name="connsiteX19" fmla="*/ 141131 w 605733"/>
                    <a:gd name="connsiteY19" fmla="*/ 137179 h 336597"/>
                    <a:gd name="connsiteX20" fmla="*/ 172321 w 605733"/>
                    <a:gd name="connsiteY20" fmla="*/ 168369 h 336597"/>
                    <a:gd name="connsiteX21" fmla="*/ 141131 w 605733"/>
                    <a:gd name="connsiteY21" fmla="*/ 199559 h 336597"/>
                    <a:gd name="connsiteX22" fmla="*/ 109941 w 605733"/>
                    <a:gd name="connsiteY22" fmla="*/ 168369 h 336597"/>
                    <a:gd name="connsiteX23" fmla="*/ 141131 w 605733"/>
                    <a:gd name="connsiteY23" fmla="*/ 137179 h 336597"/>
                    <a:gd name="connsiteX24" fmla="*/ 228528 w 605733"/>
                    <a:gd name="connsiteY24" fmla="*/ 100697 h 336597"/>
                    <a:gd name="connsiteX25" fmla="*/ 495121 w 605733"/>
                    <a:gd name="connsiteY25" fmla="*/ 100697 h 336597"/>
                    <a:gd name="connsiteX26" fmla="*/ 505531 w 605733"/>
                    <a:gd name="connsiteY26" fmla="*/ 111070 h 336597"/>
                    <a:gd name="connsiteX27" fmla="*/ 495121 w 605733"/>
                    <a:gd name="connsiteY27" fmla="*/ 121443 h 336597"/>
                    <a:gd name="connsiteX28" fmla="*/ 228528 w 605733"/>
                    <a:gd name="connsiteY28" fmla="*/ 121443 h 336597"/>
                    <a:gd name="connsiteX29" fmla="*/ 218118 w 605733"/>
                    <a:gd name="connsiteY29" fmla="*/ 111070 h 336597"/>
                    <a:gd name="connsiteX30" fmla="*/ 228528 w 605733"/>
                    <a:gd name="connsiteY30" fmla="*/ 100697 h 336597"/>
                    <a:gd name="connsiteX31" fmla="*/ 144144 w 605733"/>
                    <a:gd name="connsiteY31" fmla="*/ 59736 h 336597"/>
                    <a:gd name="connsiteX32" fmla="*/ 59839 w 605733"/>
                    <a:gd name="connsiteY32" fmla="*/ 143912 h 336597"/>
                    <a:gd name="connsiteX33" fmla="*/ 59839 w 605733"/>
                    <a:gd name="connsiteY33" fmla="*/ 192651 h 336597"/>
                    <a:gd name="connsiteX34" fmla="*/ 144144 w 605733"/>
                    <a:gd name="connsiteY34" fmla="*/ 276931 h 336597"/>
                    <a:gd name="connsiteX35" fmla="*/ 545895 w 605733"/>
                    <a:gd name="connsiteY35" fmla="*/ 276931 h 336597"/>
                    <a:gd name="connsiteX36" fmla="*/ 545895 w 605733"/>
                    <a:gd name="connsiteY36" fmla="*/ 59736 h 336597"/>
                    <a:gd name="connsiteX37" fmla="*/ 136650 w 605733"/>
                    <a:gd name="connsiteY37" fmla="*/ 38952 h 336597"/>
                    <a:gd name="connsiteX38" fmla="*/ 556303 w 605733"/>
                    <a:gd name="connsiteY38" fmla="*/ 38952 h 336597"/>
                    <a:gd name="connsiteX39" fmla="*/ 566711 w 605733"/>
                    <a:gd name="connsiteY39" fmla="*/ 49344 h 336597"/>
                    <a:gd name="connsiteX40" fmla="*/ 566711 w 605733"/>
                    <a:gd name="connsiteY40" fmla="*/ 287323 h 336597"/>
                    <a:gd name="connsiteX41" fmla="*/ 556303 w 605733"/>
                    <a:gd name="connsiteY41" fmla="*/ 297715 h 336597"/>
                    <a:gd name="connsiteX42" fmla="*/ 136650 w 605733"/>
                    <a:gd name="connsiteY42" fmla="*/ 297715 h 336597"/>
                    <a:gd name="connsiteX43" fmla="*/ 126763 w 605733"/>
                    <a:gd name="connsiteY43" fmla="*/ 290337 h 336597"/>
                    <a:gd name="connsiteX44" fmla="*/ 46309 w 605733"/>
                    <a:gd name="connsiteY44" fmla="*/ 210110 h 336597"/>
                    <a:gd name="connsiteX45" fmla="*/ 39023 w 605733"/>
                    <a:gd name="connsiteY45" fmla="*/ 200133 h 336597"/>
                    <a:gd name="connsiteX46" fmla="*/ 39023 w 605733"/>
                    <a:gd name="connsiteY46" fmla="*/ 136534 h 336597"/>
                    <a:gd name="connsiteX47" fmla="*/ 46309 w 605733"/>
                    <a:gd name="connsiteY47" fmla="*/ 126557 h 336597"/>
                    <a:gd name="connsiteX48" fmla="*/ 126763 w 605733"/>
                    <a:gd name="connsiteY48" fmla="*/ 46330 h 336597"/>
                    <a:gd name="connsiteX49" fmla="*/ 136650 w 605733"/>
                    <a:gd name="connsiteY49" fmla="*/ 38952 h 336597"/>
                    <a:gd name="connsiteX50" fmla="*/ 113445 w 605733"/>
                    <a:gd name="connsiteY50" fmla="*/ 20784 h 336597"/>
                    <a:gd name="connsiteX51" fmla="*/ 20816 w 605733"/>
                    <a:gd name="connsiteY51" fmla="*/ 113377 h 336597"/>
                    <a:gd name="connsiteX52" fmla="*/ 20816 w 605733"/>
                    <a:gd name="connsiteY52" fmla="*/ 223324 h 336597"/>
                    <a:gd name="connsiteX53" fmla="*/ 113445 w 605733"/>
                    <a:gd name="connsiteY53" fmla="*/ 315813 h 336597"/>
                    <a:gd name="connsiteX54" fmla="*/ 584917 w 605733"/>
                    <a:gd name="connsiteY54" fmla="*/ 315813 h 336597"/>
                    <a:gd name="connsiteX55" fmla="*/ 584917 w 605733"/>
                    <a:gd name="connsiteY55" fmla="*/ 20784 h 336597"/>
                    <a:gd name="connsiteX56" fmla="*/ 103557 w 605733"/>
                    <a:gd name="connsiteY56" fmla="*/ 0 h 336597"/>
                    <a:gd name="connsiteX57" fmla="*/ 595325 w 605733"/>
                    <a:gd name="connsiteY57" fmla="*/ 0 h 336597"/>
                    <a:gd name="connsiteX58" fmla="*/ 605733 w 605733"/>
                    <a:gd name="connsiteY58" fmla="*/ 10392 h 336597"/>
                    <a:gd name="connsiteX59" fmla="*/ 605733 w 605733"/>
                    <a:gd name="connsiteY59" fmla="*/ 326205 h 336597"/>
                    <a:gd name="connsiteX60" fmla="*/ 595325 w 605733"/>
                    <a:gd name="connsiteY60" fmla="*/ 336597 h 336597"/>
                    <a:gd name="connsiteX61" fmla="*/ 103557 w 605733"/>
                    <a:gd name="connsiteY61" fmla="*/ 336597 h 336597"/>
                    <a:gd name="connsiteX62" fmla="*/ 93150 w 605733"/>
                    <a:gd name="connsiteY62" fmla="*/ 326205 h 336597"/>
                    <a:gd name="connsiteX63" fmla="*/ 10408 w 605733"/>
                    <a:gd name="connsiteY63" fmla="*/ 243589 h 336597"/>
                    <a:gd name="connsiteX64" fmla="*/ 0 w 605733"/>
                    <a:gd name="connsiteY64" fmla="*/ 233197 h 336597"/>
                    <a:gd name="connsiteX65" fmla="*/ 0 w 605733"/>
                    <a:gd name="connsiteY65" fmla="*/ 103400 h 336597"/>
                    <a:gd name="connsiteX66" fmla="*/ 10408 w 605733"/>
                    <a:gd name="connsiteY66" fmla="*/ 93008 h 336597"/>
                    <a:gd name="connsiteX67" fmla="*/ 93150 w 605733"/>
                    <a:gd name="connsiteY67" fmla="*/ 10392 h 336597"/>
                    <a:gd name="connsiteX68" fmla="*/ 103557 w 605733"/>
                    <a:gd name="connsiteY68" fmla="*/ 0 h 336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05733" h="336597">
                      <a:moveTo>
                        <a:pt x="228528" y="215224"/>
                      </a:moveTo>
                      <a:lnTo>
                        <a:pt x="495121" y="215224"/>
                      </a:lnTo>
                      <a:cubicBezTo>
                        <a:pt x="500847" y="215224"/>
                        <a:pt x="505531" y="219892"/>
                        <a:pt x="505531" y="225597"/>
                      </a:cubicBezTo>
                      <a:cubicBezTo>
                        <a:pt x="505531" y="231302"/>
                        <a:pt x="500847" y="235970"/>
                        <a:pt x="495121" y="235970"/>
                      </a:cubicBezTo>
                      <a:lnTo>
                        <a:pt x="228528" y="235970"/>
                      </a:lnTo>
                      <a:cubicBezTo>
                        <a:pt x="222802" y="235970"/>
                        <a:pt x="218118" y="231302"/>
                        <a:pt x="218118" y="225597"/>
                      </a:cubicBezTo>
                      <a:cubicBezTo>
                        <a:pt x="218118" y="219892"/>
                        <a:pt x="222802" y="215224"/>
                        <a:pt x="228528" y="215224"/>
                      </a:cubicBezTo>
                      <a:close/>
                      <a:moveTo>
                        <a:pt x="141131" y="157972"/>
                      </a:moveTo>
                      <a:cubicBezTo>
                        <a:pt x="135413" y="157972"/>
                        <a:pt x="130734" y="162651"/>
                        <a:pt x="130734" y="168369"/>
                      </a:cubicBezTo>
                      <a:cubicBezTo>
                        <a:pt x="130734" y="174087"/>
                        <a:pt x="135413" y="178766"/>
                        <a:pt x="141131" y="178766"/>
                      </a:cubicBezTo>
                      <a:cubicBezTo>
                        <a:pt x="146849" y="178766"/>
                        <a:pt x="151528" y="174087"/>
                        <a:pt x="151528" y="168369"/>
                      </a:cubicBezTo>
                      <a:cubicBezTo>
                        <a:pt x="151528" y="162651"/>
                        <a:pt x="146849" y="157972"/>
                        <a:pt x="141131" y="157972"/>
                      </a:cubicBezTo>
                      <a:close/>
                      <a:moveTo>
                        <a:pt x="228528" y="157925"/>
                      </a:moveTo>
                      <a:lnTo>
                        <a:pt x="495121" y="157925"/>
                      </a:lnTo>
                      <a:cubicBezTo>
                        <a:pt x="500847" y="157925"/>
                        <a:pt x="505531" y="162609"/>
                        <a:pt x="505531" y="168334"/>
                      </a:cubicBezTo>
                      <a:cubicBezTo>
                        <a:pt x="505531" y="174058"/>
                        <a:pt x="500847" y="178742"/>
                        <a:pt x="495121" y="178742"/>
                      </a:cubicBezTo>
                      <a:lnTo>
                        <a:pt x="228528" y="178742"/>
                      </a:lnTo>
                      <a:cubicBezTo>
                        <a:pt x="222802" y="178742"/>
                        <a:pt x="218118" y="174058"/>
                        <a:pt x="218118" y="168334"/>
                      </a:cubicBezTo>
                      <a:cubicBezTo>
                        <a:pt x="218118" y="162609"/>
                        <a:pt x="222802" y="157925"/>
                        <a:pt x="228528" y="157925"/>
                      </a:cubicBezTo>
                      <a:close/>
                      <a:moveTo>
                        <a:pt x="141131" y="137179"/>
                      </a:moveTo>
                      <a:cubicBezTo>
                        <a:pt x="158389" y="137179"/>
                        <a:pt x="172321" y="151111"/>
                        <a:pt x="172321" y="168369"/>
                      </a:cubicBezTo>
                      <a:cubicBezTo>
                        <a:pt x="172321" y="185524"/>
                        <a:pt x="158389" y="199559"/>
                        <a:pt x="141131" y="199559"/>
                      </a:cubicBezTo>
                      <a:cubicBezTo>
                        <a:pt x="123976" y="199559"/>
                        <a:pt x="109941" y="185524"/>
                        <a:pt x="109941" y="168369"/>
                      </a:cubicBezTo>
                      <a:cubicBezTo>
                        <a:pt x="109941" y="151111"/>
                        <a:pt x="123976" y="137179"/>
                        <a:pt x="141131" y="137179"/>
                      </a:cubicBezTo>
                      <a:close/>
                      <a:moveTo>
                        <a:pt x="228528" y="100697"/>
                      </a:moveTo>
                      <a:lnTo>
                        <a:pt x="495121" y="100697"/>
                      </a:lnTo>
                      <a:cubicBezTo>
                        <a:pt x="500847" y="100697"/>
                        <a:pt x="505531" y="105365"/>
                        <a:pt x="505531" y="111070"/>
                      </a:cubicBezTo>
                      <a:cubicBezTo>
                        <a:pt x="505531" y="116775"/>
                        <a:pt x="500847" y="121443"/>
                        <a:pt x="495121" y="121443"/>
                      </a:cubicBezTo>
                      <a:lnTo>
                        <a:pt x="228528" y="121443"/>
                      </a:lnTo>
                      <a:cubicBezTo>
                        <a:pt x="222802" y="121443"/>
                        <a:pt x="218118" y="116775"/>
                        <a:pt x="218118" y="111070"/>
                      </a:cubicBezTo>
                      <a:cubicBezTo>
                        <a:pt x="218118" y="105365"/>
                        <a:pt x="222802" y="100697"/>
                        <a:pt x="228528" y="100697"/>
                      </a:cubicBezTo>
                      <a:close/>
                      <a:moveTo>
                        <a:pt x="144144" y="59736"/>
                      </a:moveTo>
                      <a:cubicBezTo>
                        <a:pt x="129677" y="98810"/>
                        <a:pt x="98869" y="129571"/>
                        <a:pt x="59839" y="143912"/>
                      </a:cubicBezTo>
                      <a:lnTo>
                        <a:pt x="59839" y="192651"/>
                      </a:lnTo>
                      <a:cubicBezTo>
                        <a:pt x="98869" y="207096"/>
                        <a:pt x="129677" y="237857"/>
                        <a:pt x="144144" y="276931"/>
                      </a:cubicBezTo>
                      <a:lnTo>
                        <a:pt x="545895" y="276931"/>
                      </a:lnTo>
                      <a:lnTo>
                        <a:pt x="545895" y="59736"/>
                      </a:lnTo>
                      <a:close/>
                      <a:moveTo>
                        <a:pt x="136650" y="38952"/>
                      </a:moveTo>
                      <a:lnTo>
                        <a:pt x="556303" y="38952"/>
                      </a:lnTo>
                      <a:cubicBezTo>
                        <a:pt x="562027" y="38952"/>
                        <a:pt x="566711" y="43628"/>
                        <a:pt x="566711" y="49344"/>
                      </a:cubicBezTo>
                      <a:lnTo>
                        <a:pt x="566711" y="287323"/>
                      </a:lnTo>
                      <a:cubicBezTo>
                        <a:pt x="566711" y="293039"/>
                        <a:pt x="562027" y="297715"/>
                        <a:pt x="556303" y="297715"/>
                      </a:cubicBezTo>
                      <a:lnTo>
                        <a:pt x="136650" y="297715"/>
                      </a:lnTo>
                      <a:cubicBezTo>
                        <a:pt x="132071" y="297715"/>
                        <a:pt x="128116" y="294701"/>
                        <a:pt x="126763" y="290337"/>
                      </a:cubicBezTo>
                      <a:cubicBezTo>
                        <a:pt x="114794" y="251990"/>
                        <a:pt x="84818" y="221957"/>
                        <a:pt x="46309" y="210110"/>
                      </a:cubicBezTo>
                      <a:cubicBezTo>
                        <a:pt x="41937" y="208759"/>
                        <a:pt x="39023" y="204706"/>
                        <a:pt x="39023" y="200133"/>
                      </a:cubicBezTo>
                      <a:lnTo>
                        <a:pt x="39023" y="136534"/>
                      </a:lnTo>
                      <a:cubicBezTo>
                        <a:pt x="39023" y="131961"/>
                        <a:pt x="41937" y="127908"/>
                        <a:pt x="46309" y="126557"/>
                      </a:cubicBezTo>
                      <a:cubicBezTo>
                        <a:pt x="84818" y="114710"/>
                        <a:pt x="114794" y="84677"/>
                        <a:pt x="126763" y="46330"/>
                      </a:cubicBezTo>
                      <a:cubicBezTo>
                        <a:pt x="128116" y="41966"/>
                        <a:pt x="132071" y="38952"/>
                        <a:pt x="136650" y="38952"/>
                      </a:cubicBezTo>
                      <a:close/>
                      <a:moveTo>
                        <a:pt x="113445" y="20784"/>
                      </a:moveTo>
                      <a:cubicBezTo>
                        <a:pt x="108553" y="69523"/>
                        <a:pt x="69628" y="108389"/>
                        <a:pt x="20816" y="113377"/>
                      </a:cubicBezTo>
                      <a:lnTo>
                        <a:pt x="20816" y="223324"/>
                      </a:lnTo>
                      <a:cubicBezTo>
                        <a:pt x="69628" y="228208"/>
                        <a:pt x="108553" y="267074"/>
                        <a:pt x="113445" y="315813"/>
                      </a:cubicBezTo>
                      <a:lnTo>
                        <a:pt x="584917" y="315813"/>
                      </a:lnTo>
                      <a:lnTo>
                        <a:pt x="584917" y="20784"/>
                      </a:lnTo>
                      <a:close/>
                      <a:moveTo>
                        <a:pt x="103557" y="0"/>
                      </a:moveTo>
                      <a:lnTo>
                        <a:pt x="595325" y="0"/>
                      </a:lnTo>
                      <a:cubicBezTo>
                        <a:pt x="601050" y="0"/>
                        <a:pt x="605733" y="4676"/>
                        <a:pt x="605733" y="10392"/>
                      </a:cubicBezTo>
                      <a:lnTo>
                        <a:pt x="605733" y="326205"/>
                      </a:lnTo>
                      <a:cubicBezTo>
                        <a:pt x="605733" y="331921"/>
                        <a:pt x="601050" y="336597"/>
                        <a:pt x="595325" y="336597"/>
                      </a:cubicBezTo>
                      <a:lnTo>
                        <a:pt x="103557" y="336597"/>
                      </a:lnTo>
                      <a:cubicBezTo>
                        <a:pt x="97833" y="336597"/>
                        <a:pt x="93150" y="331921"/>
                        <a:pt x="93150" y="326205"/>
                      </a:cubicBezTo>
                      <a:cubicBezTo>
                        <a:pt x="93150" y="280688"/>
                        <a:pt x="55994" y="243589"/>
                        <a:pt x="10408" y="243589"/>
                      </a:cubicBezTo>
                      <a:cubicBezTo>
                        <a:pt x="4684" y="243589"/>
                        <a:pt x="0" y="238912"/>
                        <a:pt x="0" y="233197"/>
                      </a:cubicBezTo>
                      <a:lnTo>
                        <a:pt x="0" y="103400"/>
                      </a:lnTo>
                      <a:cubicBezTo>
                        <a:pt x="0" y="97685"/>
                        <a:pt x="4684" y="93008"/>
                        <a:pt x="10408" y="93008"/>
                      </a:cubicBezTo>
                      <a:cubicBezTo>
                        <a:pt x="55994" y="93008"/>
                        <a:pt x="93150" y="56013"/>
                        <a:pt x="93150" y="10392"/>
                      </a:cubicBezTo>
                      <a:cubicBezTo>
                        <a:pt x="93150" y="4676"/>
                        <a:pt x="97833" y="0"/>
                        <a:pt x="103557" y="0"/>
                      </a:cubicBezTo>
                      <a:close/>
                    </a:path>
                  </a:pathLst>
                </a:custGeom>
                <a:solidFill>
                  <a:schemeClr val="bg1">
                    <a:lumMod val="100000"/>
                  </a:schemeClr>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a:p>
              </p:txBody>
            </p:sp>
          </p:grpSp>
          <p:grpSp>
            <p:nvGrpSpPr>
              <p:cNvPr id="73" name="i$1iďê"/>
              <p:cNvGrpSpPr/>
              <p:nvPr/>
            </p:nvGrpSpPr>
            <p:grpSpPr>
              <a:xfrm>
                <a:off x="3788324" y="2035429"/>
                <a:ext cx="2172675" cy="1447548"/>
                <a:chOff x="4931850" y="2247318"/>
                <a:chExt cx="2172675" cy="1447548"/>
              </a:xfrm>
            </p:grpSpPr>
            <p:sp>
              <p:nvSpPr>
                <p:cNvPr id="77" name="i$ḷidé">
                  <a:extLst>
                    <a:ext uri="{FF2B5EF4-FFF2-40B4-BE49-F238E27FC236}">
                      <a16:creationId xmlns:a16="http://schemas.microsoft.com/office/drawing/2014/main" id="{39340196-E1AA-4B49-976A-BF366BB2B662}"/>
                    </a:ext>
                  </a:extLst>
                </p:cNvPr>
                <p:cNvSpPr/>
                <p:nvPr/>
              </p:nvSpPr>
              <p:spPr bwMode="auto">
                <a:xfrm>
                  <a:off x="4931850" y="2634916"/>
                  <a:ext cx="2172675" cy="1059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0000" tIns="46800" rIns="90000" bIns="46800" anchor="t" anchorCtr="0">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71450" indent="-171450">
                    <a:lnSpc>
                      <a:spcPct val="130000"/>
                    </a:lnSpc>
                    <a:buFont typeface="Arial" panose="020B0604020202020204" pitchFamily="34" charset="0"/>
                    <a:buChar char="•"/>
                  </a:pPr>
                  <a:r>
                    <a:rPr lang="zh-CN" altLang="en-US" sz="1100" dirty="0" smtClean="0"/>
                    <a:t>支持</a:t>
                  </a:r>
                  <a:r>
                    <a:rPr lang="en-US" altLang="zh-CN" sz="1100" dirty="0" smtClean="0"/>
                    <a:t>excel</a:t>
                  </a:r>
                  <a:r>
                    <a:rPr lang="zh-CN" altLang="en-US" sz="1100" dirty="0" smtClean="0"/>
                    <a:t>文件读取模板</a:t>
                  </a:r>
                  <a:endParaRPr lang="en-US" altLang="zh-CN" sz="1100" dirty="0" smtClean="0"/>
                </a:p>
                <a:p>
                  <a:pPr marL="171450" indent="-171450">
                    <a:lnSpc>
                      <a:spcPct val="130000"/>
                    </a:lnSpc>
                    <a:buFont typeface="Arial" panose="020B0604020202020204" pitchFamily="34" charset="0"/>
                    <a:buChar char="•"/>
                  </a:pPr>
                  <a:r>
                    <a:rPr lang="zh-CN" altLang="en-US" sz="1100" dirty="0" smtClean="0"/>
                    <a:t>操作与工号绑定</a:t>
                  </a:r>
                  <a:endParaRPr lang="en-US" altLang="zh-CN" sz="1100" dirty="0" smtClean="0"/>
                </a:p>
                <a:p>
                  <a:pPr marL="171450" indent="-171450">
                    <a:lnSpc>
                      <a:spcPct val="130000"/>
                    </a:lnSpc>
                    <a:buFont typeface="Arial" panose="020B0604020202020204" pitchFamily="34" charset="0"/>
                    <a:buChar char="•"/>
                  </a:pPr>
                  <a:r>
                    <a:rPr lang="zh-CN" altLang="en-US" sz="1100" dirty="0" smtClean="0"/>
                    <a:t>操作日志记录</a:t>
                  </a:r>
                  <a:endParaRPr lang="en-US" altLang="zh-CN" sz="1100" dirty="0" smtClean="0"/>
                </a:p>
                <a:p>
                  <a:pPr>
                    <a:lnSpc>
                      <a:spcPct val="130000"/>
                    </a:lnSpc>
                  </a:pPr>
                  <a:endParaRPr lang="en-US" altLang="zh-CN" sz="1100" dirty="0"/>
                </a:p>
              </p:txBody>
            </p:sp>
            <p:sp>
              <p:nvSpPr>
                <p:cNvPr id="78" name="iṡľîḑê">
                  <a:extLst>
                    <a:ext uri="{FF2B5EF4-FFF2-40B4-BE49-F238E27FC236}">
                      <a16:creationId xmlns:a16="http://schemas.microsoft.com/office/drawing/2014/main" id="{4D5C24C6-4DD0-4193-AD42-019C1134797B}"/>
                    </a:ext>
                  </a:extLst>
                </p:cNvPr>
                <p:cNvSpPr txBox="1"/>
                <p:nvPr/>
              </p:nvSpPr>
              <p:spPr bwMode="auto">
                <a:xfrm>
                  <a:off x="4931850" y="2247318"/>
                  <a:ext cx="2108063" cy="3875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0000" tIns="46800" rIns="90000" bIns="46800" anchor="b" anchorCtr="0">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1" hangingPunct="1">
                    <a:lnSpc>
                      <a:spcPct val="100000"/>
                    </a:lnSpc>
                    <a:spcBef>
                      <a:spcPct val="0"/>
                    </a:spcBef>
                    <a:buFontTx/>
                    <a:buNone/>
                  </a:pPr>
                  <a:r>
                    <a:rPr lang="zh-CN" altLang="en-US" sz="1800" b="1" dirty="0" smtClean="0"/>
                    <a:t>打印机软件</a:t>
                  </a:r>
                  <a:endParaRPr lang="en-US" altLang="zh-CN" sz="1800" b="1" dirty="0"/>
                </a:p>
              </p:txBody>
            </p:sp>
          </p:grpSp>
          <p:sp>
            <p:nvSpPr>
              <p:cNvPr id="76" name="ïšļidé">
                <a:extLst>
                  <a:ext uri="{FF2B5EF4-FFF2-40B4-BE49-F238E27FC236}">
                    <a16:creationId xmlns:a16="http://schemas.microsoft.com/office/drawing/2014/main" id="{4D5C24C6-4DD0-4193-AD42-019C1134797B}"/>
                  </a:ext>
                </a:extLst>
              </p:cNvPr>
              <p:cNvSpPr txBox="1"/>
              <p:nvPr/>
            </p:nvSpPr>
            <p:spPr bwMode="auto">
              <a:xfrm>
                <a:off x="3014481" y="5071614"/>
                <a:ext cx="1600318" cy="3875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0000" tIns="46800" rIns="90000" bIns="46800" anchor="b" anchorCtr="0">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1" hangingPunct="1">
                  <a:lnSpc>
                    <a:spcPct val="100000"/>
                  </a:lnSpc>
                  <a:spcBef>
                    <a:spcPct val="0"/>
                  </a:spcBef>
                  <a:buFontTx/>
                  <a:buNone/>
                </a:pPr>
                <a:r>
                  <a:rPr lang="zh-CN" altLang="en-US" sz="1800" b="1" dirty="0" smtClean="0"/>
                  <a:t>标签（含二维码）</a:t>
                </a:r>
                <a:endParaRPr lang="en-US" altLang="zh-CN" sz="1800" b="1" dirty="0"/>
              </a:p>
            </p:txBody>
          </p:sp>
        </p:grpSp>
        <p:cxnSp>
          <p:nvCxnSpPr>
            <p:cNvPr id="69" name="直接连接符 68"/>
            <p:cNvCxnSpPr/>
            <p:nvPr/>
          </p:nvCxnSpPr>
          <p:spPr>
            <a:xfrm>
              <a:off x="5849606" y="1345338"/>
              <a:ext cx="0" cy="5018087"/>
            </a:xfrm>
            <a:prstGeom prst="line">
              <a:avLst/>
            </a:prstGeom>
            <a:ln w="3175" cap="rnd">
              <a:solidFill>
                <a:schemeClr val="bg1">
                  <a:lumMod val="75000"/>
                </a:schemeClr>
              </a:solidFill>
              <a:round/>
              <a:headEnd type="none"/>
              <a:tailEnd type="none" w="med" len="med"/>
            </a:ln>
          </p:spPr>
          <p:style>
            <a:lnRef idx="1">
              <a:schemeClr val="accent1"/>
            </a:lnRef>
            <a:fillRef idx="0">
              <a:schemeClr val="accent1"/>
            </a:fillRef>
            <a:effectRef idx="0">
              <a:schemeClr val="accent1"/>
            </a:effectRef>
            <a:fontRef idx="minor">
              <a:schemeClr val="tx1"/>
            </a:fontRef>
          </p:style>
        </p:cxnSp>
      </p:grpSp>
      <p:pic>
        <p:nvPicPr>
          <p:cNvPr id="85" name="图片 84"/>
          <p:cNvPicPr>
            <a:picLocks noChangeAspect="1"/>
          </p:cNvPicPr>
          <p:nvPr/>
        </p:nvPicPr>
        <p:blipFill>
          <a:blip r:embed="rId3"/>
          <a:stretch>
            <a:fillRect/>
          </a:stretch>
        </p:blipFill>
        <p:spPr>
          <a:xfrm>
            <a:off x="6679873" y="1178290"/>
            <a:ext cx="4665473" cy="3339557"/>
          </a:xfrm>
          <a:prstGeom prst="rect">
            <a:avLst/>
          </a:prstGeom>
        </p:spPr>
      </p:pic>
      <p:pic>
        <p:nvPicPr>
          <p:cNvPr id="86" name="图片 85"/>
          <p:cNvPicPr>
            <a:picLocks noChangeAspect="1"/>
          </p:cNvPicPr>
          <p:nvPr/>
        </p:nvPicPr>
        <p:blipFill>
          <a:blip r:embed="rId4"/>
          <a:stretch>
            <a:fillRect/>
          </a:stretch>
        </p:blipFill>
        <p:spPr>
          <a:xfrm rot="16200000">
            <a:off x="8301623" y="4069820"/>
            <a:ext cx="1421972" cy="2588360"/>
          </a:xfrm>
          <a:prstGeom prst="rect">
            <a:avLst/>
          </a:prstGeom>
        </p:spPr>
      </p:pic>
      <p:sp>
        <p:nvSpPr>
          <p:cNvPr id="88" name="右箭头 87"/>
          <p:cNvSpPr/>
          <p:nvPr/>
        </p:nvSpPr>
        <p:spPr>
          <a:xfrm>
            <a:off x="5465748" y="2275488"/>
            <a:ext cx="1149511" cy="627904"/>
          </a:xfrm>
          <a:prstGeom prst="right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89" name="右箭头 88"/>
          <p:cNvSpPr/>
          <p:nvPr/>
        </p:nvSpPr>
        <p:spPr>
          <a:xfrm>
            <a:off x="5465748" y="4974902"/>
            <a:ext cx="1149512" cy="635123"/>
          </a:xfrm>
          <a:prstGeom prst="rightArrow">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Tree>
    <p:extLst>
      <p:ext uri="{BB962C8B-B14F-4D97-AF65-F5344CB8AC3E}">
        <p14:creationId xmlns:p14="http://schemas.microsoft.com/office/powerpoint/2010/main" val="3838722283"/>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B000C574-65F0-4EB8-8A09-C75CBA5926C0}"/>
              </a:ext>
            </a:extLst>
          </p:cNvPr>
          <p:cNvSpPr>
            <a:spLocks noGrp="1"/>
          </p:cNvSpPr>
          <p:nvPr>
            <p:ph type="title"/>
          </p:nvPr>
        </p:nvSpPr>
        <p:spPr/>
        <p:txBody>
          <a:bodyPr/>
          <a:lstStyle/>
          <a:p>
            <a:r>
              <a:rPr lang="zh-CN" altLang="en-US" dirty="0" smtClean="0"/>
              <a:t>后台管理系统</a:t>
            </a:r>
            <a:endParaRPr lang="zh-CN" altLang="en-US" dirty="0"/>
          </a:p>
        </p:txBody>
      </p:sp>
      <p:sp>
        <p:nvSpPr>
          <p:cNvPr id="6" name="íŝḻîdè">
            <a:extLst>
              <a:ext uri="{FF2B5EF4-FFF2-40B4-BE49-F238E27FC236}">
                <a16:creationId xmlns:a16="http://schemas.microsoft.com/office/drawing/2014/main" id="{42873B9F-5BAA-4767-9796-AA34C8A57CCD}"/>
              </a:ext>
            </a:extLst>
          </p:cNvPr>
          <p:cNvSpPr/>
          <p:nvPr/>
        </p:nvSpPr>
        <p:spPr>
          <a:xfrm rot="13446499">
            <a:off x="6391902" y="2517972"/>
            <a:ext cx="992880" cy="992880"/>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cubicBezTo>
                  <a:pt x="3109" y="2352"/>
                  <a:pt x="6901" y="3625"/>
                  <a:pt x="10800" y="3625"/>
                </a:cubicBezTo>
                <a:cubicBezTo>
                  <a:pt x="14699" y="3625"/>
                  <a:pt x="18491" y="2352"/>
                  <a:pt x="21600" y="0"/>
                </a:cubicBezTo>
                <a:lnTo>
                  <a:pt x="21600" y="21600"/>
                </a:lnTo>
                <a:lnTo>
                  <a:pt x="0" y="21600"/>
                </a:lnTo>
                <a:lnTo>
                  <a:pt x="0" y="0"/>
                </a:lnTo>
                <a:close/>
              </a:path>
            </a:pathLst>
          </a:custGeom>
          <a:solidFill>
            <a:schemeClr val="tx2">
              <a:lumMod val="20000"/>
              <a:lumOff val="80000"/>
            </a:schemeClr>
          </a:solidFill>
          <a:ln w="12700">
            <a:miter lim="400000"/>
          </a:ln>
        </p:spPr>
        <p:txBody>
          <a:bodyPr anchor="ctr"/>
          <a:lstStyle/>
          <a:p>
            <a:pPr algn="ctr"/>
            <a:endParaRPr/>
          </a:p>
        </p:txBody>
      </p:sp>
      <p:sp>
        <p:nvSpPr>
          <p:cNvPr id="7" name="îşľíḓê">
            <a:extLst>
              <a:ext uri="{FF2B5EF4-FFF2-40B4-BE49-F238E27FC236}">
                <a16:creationId xmlns:a16="http://schemas.microsoft.com/office/drawing/2014/main" id="{567EE99D-2AE5-4831-8E80-1D218BCD234E}"/>
              </a:ext>
            </a:extLst>
          </p:cNvPr>
          <p:cNvSpPr/>
          <p:nvPr/>
        </p:nvSpPr>
        <p:spPr>
          <a:xfrm rot="18846498" flipH="1">
            <a:off x="6422563" y="4133552"/>
            <a:ext cx="992880" cy="992880"/>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cubicBezTo>
                  <a:pt x="3109" y="2352"/>
                  <a:pt x="6901" y="3625"/>
                  <a:pt x="10800" y="3625"/>
                </a:cubicBezTo>
                <a:cubicBezTo>
                  <a:pt x="14699" y="3625"/>
                  <a:pt x="18491" y="2352"/>
                  <a:pt x="21600" y="0"/>
                </a:cubicBezTo>
                <a:lnTo>
                  <a:pt x="21600" y="21600"/>
                </a:lnTo>
                <a:lnTo>
                  <a:pt x="0" y="21600"/>
                </a:lnTo>
                <a:lnTo>
                  <a:pt x="0" y="0"/>
                </a:lnTo>
                <a:close/>
              </a:path>
            </a:pathLst>
          </a:custGeom>
          <a:solidFill>
            <a:schemeClr val="tx2">
              <a:lumMod val="20000"/>
              <a:lumOff val="80000"/>
            </a:schemeClr>
          </a:solidFill>
          <a:ln w="12700">
            <a:miter lim="400000"/>
          </a:ln>
        </p:spPr>
        <p:txBody>
          <a:bodyPr anchor="ctr"/>
          <a:lstStyle/>
          <a:p>
            <a:pPr algn="ctr"/>
            <a:endParaRPr/>
          </a:p>
        </p:txBody>
      </p:sp>
      <p:sp>
        <p:nvSpPr>
          <p:cNvPr id="8" name="íṧ1iḍe">
            <a:extLst>
              <a:ext uri="{FF2B5EF4-FFF2-40B4-BE49-F238E27FC236}">
                <a16:creationId xmlns:a16="http://schemas.microsoft.com/office/drawing/2014/main" id="{14F95BF3-8D9D-4A26-A3EB-28A07C894CF9}"/>
              </a:ext>
            </a:extLst>
          </p:cNvPr>
          <p:cNvSpPr/>
          <p:nvPr/>
        </p:nvSpPr>
        <p:spPr>
          <a:xfrm rot="2646498">
            <a:off x="4793179" y="4161116"/>
            <a:ext cx="992880" cy="992880"/>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cubicBezTo>
                  <a:pt x="3109" y="2352"/>
                  <a:pt x="6901" y="3625"/>
                  <a:pt x="10800" y="3625"/>
                </a:cubicBezTo>
                <a:cubicBezTo>
                  <a:pt x="14699" y="3625"/>
                  <a:pt x="18491" y="2352"/>
                  <a:pt x="21600" y="0"/>
                </a:cubicBezTo>
                <a:lnTo>
                  <a:pt x="21600" y="21600"/>
                </a:lnTo>
                <a:lnTo>
                  <a:pt x="0" y="21600"/>
                </a:lnTo>
                <a:lnTo>
                  <a:pt x="0" y="0"/>
                </a:lnTo>
                <a:close/>
              </a:path>
            </a:pathLst>
          </a:custGeom>
          <a:solidFill>
            <a:schemeClr val="tx2">
              <a:lumMod val="20000"/>
              <a:lumOff val="80000"/>
            </a:schemeClr>
          </a:solidFill>
          <a:ln w="12700">
            <a:miter lim="400000"/>
          </a:ln>
        </p:spPr>
        <p:txBody>
          <a:bodyPr anchor="ctr"/>
          <a:lstStyle/>
          <a:p>
            <a:pPr algn="ctr"/>
            <a:endParaRPr/>
          </a:p>
        </p:txBody>
      </p:sp>
      <p:sp>
        <p:nvSpPr>
          <p:cNvPr id="9" name="ï$ḷiďè">
            <a:extLst>
              <a:ext uri="{FF2B5EF4-FFF2-40B4-BE49-F238E27FC236}">
                <a16:creationId xmlns:a16="http://schemas.microsoft.com/office/drawing/2014/main" id="{BDF45510-E58E-4E2B-A95E-A9D8B09FF78A}"/>
              </a:ext>
            </a:extLst>
          </p:cNvPr>
          <p:cNvSpPr/>
          <p:nvPr/>
        </p:nvSpPr>
        <p:spPr>
          <a:xfrm rot="8046499" flipH="1">
            <a:off x="4775054" y="2536541"/>
            <a:ext cx="992880" cy="992880"/>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cubicBezTo>
                  <a:pt x="3109" y="2352"/>
                  <a:pt x="6901" y="3625"/>
                  <a:pt x="10800" y="3625"/>
                </a:cubicBezTo>
                <a:cubicBezTo>
                  <a:pt x="14699" y="3625"/>
                  <a:pt x="18491" y="2352"/>
                  <a:pt x="21600" y="0"/>
                </a:cubicBezTo>
                <a:lnTo>
                  <a:pt x="21600" y="21600"/>
                </a:lnTo>
                <a:lnTo>
                  <a:pt x="0" y="21600"/>
                </a:lnTo>
                <a:lnTo>
                  <a:pt x="0" y="0"/>
                </a:lnTo>
                <a:close/>
              </a:path>
            </a:pathLst>
          </a:custGeom>
          <a:solidFill>
            <a:schemeClr val="tx2">
              <a:lumMod val="20000"/>
              <a:lumOff val="80000"/>
            </a:schemeClr>
          </a:solidFill>
          <a:ln w="12700">
            <a:miter lim="400000"/>
          </a:ln>
        </p:spPr>
        <p:txBody>
          <a:bodyPr anchor="ctr"/>
          <a:lstStyle/>
          <a:p>
            <a:pPr algn="ctr"/>
            <a:endParaRPr/>
          </a:p>
        </p:txBody>
      </p:sp>
      <p:sp>
        <p:nvSpPr>
          <p:cNvPr id="10" name="îṥḷíḑe">
            <a:extLst>
              <a:ext uri="{FF2B5EF4-FFF2-40B4-BE49-F238E27FC236}">
                <a16:creationId xmlns:a16="http://schemas.microsoft.com/office/drawing/2014/main" id="{4DBDA4E1-611B-4473-93EB-1438B6DB3703}"/>
              </a:ext>
            </a:extLst>
          </p:cNvPr>
          <p:cNvSpPr/>
          <p:nvPr/>
        </p:nvSpPr>
        <p:spPr>
          <a:xfrm>
            <a:off x="5166466" y="2905084"/>
            <a:ext cx="1848524" cy="1848524"/>
          </a:xfrm>
          <a:prstGeom prst="ellipse">
            <a:avLst/>
          </a:prstGeom>
          <a:solidFill>
            <a:srgbClr val="FFFFFF"/>
          </a:solidFill>
          <a:ln w="22225">
            <a:solidFill>
              <a:schemeClr val="bg1">
                <a:lumMod val="85000"/>
              </a:schemeClr>
            </a:solidFill>
            <a:miter lim="400000"/>
          </a:ln>
        </p:spPr>
        <p:txBody>
          <a:bodyPr anchor="ctr"/>
          <a:lstStyle/>
          <a:p>
            <a:pPr algn="ctr"/>
            <a:endParaRPr/>
          </a:p>
        </p:txBody>
      </p:sp>
      <p:sp>
        <p:nvSpPr>
          <p:cNvPr id="11" name="iŝļiďê">
            <a:extLst>
              <a:ext uri="{FF2B5EF4-FFF2-40B4-BE49-F238E27FC236}">
                <a16:creationId xmlns:a16="http://schemas.microsoft.com/office/drawing/2014/main" id="{C2FF5E9E-1C8C-4BC9-A676-F0E1F614C5B6}"/>
              </a:ext>
            </a:extLst>
          </p:cNvPr>
          <p:cNvSpPr/>
          <p:nvPr/>
        </p:nvSpPr>
        <p:spPr>
          <a:xfrm>
            <a:off x="5618941" y="3487400"/>
            <a:ext cx="921956" cy="683891"/>
          </a:xfrm>
          <a:custGeom>
            <a:avLst/>
            <a:gdLst>
              <a:gd name="connsiteX0" fmla="*/ 9246 w 338138"/>
              <a:gd name="connsiteY0" fmla="*/ 217487 h 250825"/>
              <a:gd name="connsiteX1" fmla="*/ 328892 w 338138"/>
              <a:gd name="connsiteY1" fmla="*/ 217487 h 250825"/>
              <a:gd name="connsiteX2" fmla="*/ 338138 w 338138"/>
              <a:gd name="connsiteY2" fmla="*/ 226822 h 250825"/>
              <a:gd name="connsiteX3" fmla="*/ 314363 w 338138"/>
              <a:gd name="connsiteY3" fmla="*/ 250825 h 250825"/>
              <a:gd name="connsiteX4" fmla="*/ 23775 w 338138"/>
              <a:gd name="connsiteY4" fmla="*/ 250825 h 250825"/>
              <a:gd name="connsiteX5" fmla="*/ 0 w 338138"/>
              <a:gd name="connsiteY5" fmla="*/ 226822 h 250825"/>
              <a:gd name="connsiteX6" fmla="*/ 9246 w 338138"/>
              <a:gd name="connsiteY6" fmla="*/ 217487 h 250825"/>
              <a:gd name="connsiteX7" fmla="*/ 100182 w 338138"/>
              <a:gd name="connsiteY7" fmla="*/ 100012 h 250825"/>
              <a:gd name="connsiteX8" fmla="*/ 123655 w 338138"/>
              <a:gd name="connsiteY8" fmla="*/ 100012 h 250825"/>
              <a:gd name="connsiteX9" fmla="*/ 130175 w 338138"/>
              <a:gd name="connsiteY9" fmla="*/ 106705 h 250825"/>
              <a:gd name="connsiteX10" fmla="*/ 130175 w 338138"/>
              <a:gd name="connsiteY10" fmla="*/ 161583 h 250825"/>
              <a:gd name="connsiteX11" fmla="*/ 123655 w 338138"/>
              <a:gd name="connsiteY11" fmla="*/ 168275 h 250825"/>
              <a:gd name="connsiteX12" fmla="*/ 100182 w 338138"/>
              <a:gd name="connsiteY12" fmla="*/ 168275 h 250825"/>
              <a:gd name="connsiteX13" fmla="*/ 93662 w 338138"/>
              <a:gd name="connsiteY13" fmla="*/ 161583 h 250825"/>
              <a:gd name="connsiteX14" fmla="*/ 93662 w 338138"/>
              <a:gd name="connsiteY14" fmla="*/ 106705 h 250825"/>
              <a:gd name="connsiteX15" fmla="*/ 100182 w 338138"/>
              <a:gd name="connsiteY15" fmla="*/ 100012 h 250825"/>
              <a:gd name="connsiteX16" fmla="*/ 157332 w 338138"/>
              <a:gd name="connsiteY16" fmla="*/ 77787 h 250825"/>
              <a:gd name="connsiteX17" fmla="*/ 180805 w 338138"/>
              <a:gd name="connsiteY17" fmla="*/ 77787 h 250825"/>
              <a:gd name="connsiteX18" fmla="*/ 187325 w 338138"/>
              <a:gd name="connsiteY18" fmla="*/ 84441 h 250825"/>
              <a:gd name="connsiteX19" fmla="*/ 187325 w 338138"/>
              <a:gd name="connsiteY19" fmla="*/ 161622 h 250825"/>
              <a:gd name="connsiteX20" fmla="*/ 180805 w 338138"/>
              <a:gd name="connsiteY20" fmla="*/ 168275 h 250825"/>
              <a:gd name="connsiteX21" fmla="*/ 157332 w 338138"/>
              <a:gd name="connsiteY21" fmla="*/ 168275 h 250825"/>
              <a:gd name="connsiteX22" fmla="*/ 150812 w 338138"/>
              <a:gd name="connsiteY22" fmla="*/ 161622 h 250825"/>
              <a:gd name="connsiteX23" fmla="*/ 150812 w 338138"/>
              <a:gd name="connsiteY23" fmla="*/ 84441 h 250825"/>
              <a:gd name="connsiteX24" fmla="*/ 157332 w 338138"/>
              <a:gd name="connsiteY24" fmla="*/ 77787 h 250825"/>
              <a:gd name="connsiteX25" fmla="*/ 216070 w 338138"/>
              <a:gd name="connsiteY25" fmla="*/ 49212 h 250825"/>
              <a:gd name="connsiteX26" fmla="*/ 239543 w 338138"/>
              <a:gd name="connsiteY26" fmla="*/ 49212 h 250825"/>
              <a:gd name="connsiteX27" fmla="*/ 246063 w 338138"/>
              <a:gd name="connsiteY27" fmla="*/ 55827 h 250825"/>
              <a:gd name="connsiteX28" fmla="*/ 246063 w 338138"/>
              <a:gd name="connsiteY28" fmla="*/ 161661 h 250825"/>
              <a:gd name="connsiteX29" fmla="*/ 239543 w 338138"/>
              <a:gd name="connsiteY29" fmla="*/ 168275 h 250825"/>
              <a:gd name="connsiteX30" fmla="*/ 216070 w 338138"/>
              <a:gd name="connsiteY30" fmla="*/ 168275 h 250825"/>
              <a:gd name="connsiteX31" fmla="*/ 209550 w 338138"/>
              <a:gd name="connsiteY31" fmla="*/ 161661 h 250825"/>
              <a:gd name="connsiteX32" fmla="*/ 209550 w 338138"/>
              <a:gd name="connsiteY32" fmla="*/ 55827 h 250825"/>
              <a:gd name="connsiteX33" fmla="*/ 216070 w 338138"/>
              <a:gd name="connsiteY33" fmla="*/ 49212 h 250825"/>
              <a:gd name="connsiteX34" fmla="*/ 53428 w 338138"/>
              <a:gd name="connsiteY34" fmla="*/ 22225 h 250825"/>
              <a:gd name="connsiteX35" fmla="*/ 50800 w 338138"/>
              <a:gd name="connsiteY35" fmla="*/ 24858 h 250825"/>
              <a:gd name="connsiteX36" fmla="*/ 50800 w 338138"/>
              <a:gd name="connsiteY36" fmla="*/ 182834 h 250825"/>
              <a:gd name="connsiteX37" fmla="*/ 53428 w 338138"/>
              <a:gd name="connsiteY37" fmla="*/ 184150 h 250825"/>
              <a:gd name="connsiteX38" fmla="*/ 284710 w 338138"/>
              <a:gd name="connsiteY38" fmla="*/ 184150 h 250825"/>
              <a:gd name="connsiteX39" fmla="*/ 287338 w 338138"/>
              <a:gd name="connsiteY39" fmla="*/ 182834 h 250825"/>
              <a:gd name="connsiteX40" fmla="*/ 287338 w 338138"/>
              <a:gd name="connsiteY40" fmla="*/ 24858 h 250825"/>
              <a:gd name="connsiteX41" fmla="*/ 284710 w 338138"/>
              <a:gd name="connsiteY41" fmla="*/ 22225 h 250825"/>
              <a:gd name="connsiteX42" fmla="*/ 53428 w 338138"/>
              <a:gd name="connsiteY42" fmla="*/ 22225 h 250825"/>
              <a:gd name="connsiteX43" fmla="*/ 53663 w 338138"/>
              <a:gd name="connsiteY43" fmla="*/ 0 h 250825"/>
              <a:gd name="connsiteX44" fmla="*/ 286062 w 338138"/>
              <a:gd name="connsiteY44" fmla="*/ 0 h 250825"/>
              <a:gd name="connsiteX45" fmla="*/ 311150 w 338138"/>
              <a:gd name="connsiteY45" fmla="*/ 25008 h 250825"/>
              <a:gd name="connsiteX46" fmla="*/ 311150 w 338138"/>
              <a:gd name="connsiteY46" fmla="*/ 182955 h 250825"/>
              <a:gd name="connsiteX47" fmla="*/ 286062 w 338138"/>
              <a:gd name="connsiteY47" fmla="*/ 207963 h 250825"/>
              <a:gd name="connsiteX48" fmla="*/ 53663 w 338138"/>
              <a:gd name="connsiteY48" fmla="*/ 207963 h 250825"/>
              <a:gd name="connsiteX49" fmla="*/ 28575 w 338138"/>
              <a:gd name="connsiteY49" fmla="*/ 182955 h 250825"/>
              <a:gd name="connsiteX50" fmla="*/ 28575 w 338138"/>
              <a:gd name="connsiteY50" fmla="*/ 25008 h 250825"/>
              <a:gd name="connsiteX51" fmla="*/ 53663 w 338138"/>
              <a:gd name="connsiteY51" fmla="*/ 0 h 250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338138" h="250825">
                <a:moveTo>
                  <a:pt x="9246" y="217487"/>
                </a:moveTo>
                <a:cubicBezTo>
                  <a:pt x="9246" y="217487"/>
                  <a:pt x="9246" y="217487"/>
                  <a:pt x="328892" y="217487"/>
                </a:cubicBezTo>
                <a:cubicBezTo>
                  <a:pt x="334176" y="217487"/>
                  <a:pt x="338138" y="221488"/>
                  <a:pt x="338138" y="226822"/>
                </a:cubicBezTo>
                <a:cubicBezTo>
                  <a:pt x="338138" y="240157"/>
                  <a:pt x="327571" y="250825"/>
                  <a:pt x="314363" y="250825"/>
                </a:cubicBezTo>
                <a:cubicBezTo>
                  <a:pt x="314363" y="250825"/>
                  <a:pt x="314363" y="250825"/>
                  <a:pt x="23775" y="250825"/>
                </a:cubicBezTo>
                <a:cubicBezTo>
                  <a:pt x="10567" y="250825"/>
                  <a:pt x="0" y="240157"/>
                  <a:pt x="0" y="226822"/>
                </a:cubicBezTo>
                <a:cubicBezTo>
                  <a:pt x="0" y="221488"/>
                  <a:pt x="3962" y="217487"/>
                  <a:pt x="9246" y="217487"/>
                </a:cubicBezTo>
                <a:close/>
                <a:moveTo>
                  <a:pt x="100182" y="100012"/>
                </a:moveTo>
                <a:cubicBezTo>
                  <a:pt x="100182" y="100012"/>
                  <a:pt x="100182" y="100012"/>
                  <a:pt x="123655" y="100012"/>
                </a:cubicBezTo>
                <a:cubicBezTo>
                  <a:pt x="127567" y="100012"/>
                  <a:pt x="130175" y="102689"/>
                  <a:pt x="130175" y="106705"/>
                </a:cubicBezTo>
                <a:cubicBezTo>
                  <a:pt x="130175" y="106705"/>
                  <a:pt x="130175" y="106705"/>
                  <a:pt x="130175" y="161583"/>
                </a:cubicBezTo>
                <a:cubicBezTo>
                  <a:pt x="130175" y="165598"/>
                  <a:pt x="127567" y="168275"/>
                  <a:pt x="123655" y="168275"/>
                </a:cubicBezTo>
                <a:cubicBezTo>
                  <a:pt x="123655" y="168275"/>
                  <a:pt x="123655" y="168275"/>
                  <a:pt x="100182" y="168275"/>
                </a:cubicBezTo>
                <a:cubicBezTo>
                  <a:pt x="96270" y="168275"/>
                  <a:pt x="93662" y="165598"/>
                  <a:pt x="93662" y="161583"/>
                </a:cubicBezTo>
                <a:cubicBezTo>
                  <a:pt x="93662" y="161583"/>
                  <a:pt x="93662" y="161583"/>
                  <a:pt x="93662" y="106705"/>
                </a:cubicBezTo>
                <a:cubicBezTo>
                  <a:pt x="93662" y="102689"/>
                  <a:pt x="96270" y="100012"/>
                  <a:pt x="100182" y="100012"/>
                </a:cubicBezTo>
                <a:close/>
                <a:moveTo>
                  <a:pt x="157332" y="77787"/>
                </a:moveTo>
                <a:cubicBezTo>
                  <a:pt x="157332" y="77787"/>
                  <a:pt x="157332" y="77787"/>
                  <a:pt x="180805" y="77787"/>
                </a:cubicBezTo>
                <a:cubicBezTo>
                  <a:pt x="184717" y="77787"/>
                  <a:pt x="187325" y="81779"/>
                  <a:pt x="187325" y="84441"/>
                </a:cubicBezTo>
                <a:cubicBezTo>
                  <a:pt x="187325" y="84441"/>
                  <a:pt x="187325" y="84441"/>
                  <a:pt x="187325" y="161622"/>
                </a:cubicBezTo>
                <a:cubicBezTo>
                  <a:pt x="187325" y="165614"/>
                  <a:pt x="184717" y="168275"/>
                  <a:pt x="180805" y="168275"/>
                </a:cubicBezTo>
                <a:cubicBezTo>
                  <a:pt x="180805" y="168275"/>
                  <a:pt x="180805" y="168275"/>
                  <a:pt x="157332" y="168275"/>
                </a:cubicBezTo>
                <a:cubicBezTo>
                  <a:pt x="153420" y="168275"/>
                  <a:pt x="150812" y="165614"/>
                  <a:pt x="150812" y="161622"/>
                </a:cubicBezTo>
                <a:cubicBezTo>
                  <a:pt x="150812" y="161622"/>
                  <a:pt x="150812" y="161622"/>
                  <a:pt x="150812" y="84441"/>
                </a:cubicBezTo>
                <a:cubicBezTo>
                  <a:pt x="150812" y="81779"/>
                  <a:pt x="153420" y="77787"/>
                  <a:pt x="157332" y="77787"/>
                </a:cubicBezTo>
                <a:close/>
                <a:moveTo>
                  <a:pt x="216070" y="49212"/>
                </a:moveTo>
                <a:cubicBezTo>
                  <a:pt x="216070" y="49212"/>
                  <a:pt x="216070" y="49212"/>
                  <a:pt x="239543" y="49212"/>
                </a:cubicBezTo>
                <a:cubicBezTo>
                  <a:pt x="243455" y="49212"/>
                  <a:pt x="246063" y="51858"/>
                  <a:pt x="246063" y="55827"/>
                </a:cubicBezTo>
                <a:cubicBezTo>
                  <a:pt x="246063" y="55827"/>
                  <a:pt x="246063" y="55827"/>
                  <a:pt x="246063" y="161661"/>
                </a:cubicBezTo>
                <a:cubicBezTo>
                  <a:pt x="246063" y="165629"/>
                  <a:pt x="243455" y="168275"/>
                  <a:pt x="239543" y="168275"/>
                </a:cubicBezTo>
                <a:cubicBezTo>
                  <a:pt x="239543" y="168275"/>
                  <a:pt x="239543" y="168275"/>
                  <a:pt x="216070" y="168275"/>
                </a:cubicBezTo>
                <a:cubicBezTo>
                  <a:pt x="212158" y="168275"/>
                  <a:pt x="209550" y="165629"/>
                  <a:pt x="209550" y="161661"/>
                </a:cubicBezTo>
                <a:cubicBezTo>
                  <a:pt x="209550" y="161661"/>
                  <a:pt x="209550" y="161661"/>
                  <a:pt x="209550" y="55827"/>
                </a:cubicBezTo>
                <a:cubicBezTo>
                  <a:pt x="209550" y="51858"/>
                  <a:pt x="212158" y="49212"/>
                  <a:pt x="216070" y="49212"/>
                </a:cubicBezTo>
                <a:close/>
                <a:moveTo>
                  <a:pt x="53428" y="22225"/>
                </a:moveTo>
                <a:cubicBezTo>
                  <a:pt x="52114" y="22225"/>
                  <a:pt x="50800" y="23541"/>
                  <a:pt x="50800" y="24858"/>
                </a:cubicBezTo>
                <a:lnTo>
                  <a:pt x="50800" y="182834"/>
                </a:lnTo>
                <a:cubicBezTo>
                  <a:pt x="50800" y="184150"/>
                  <a:pt x="52114" y="184150"/>
                  <a:pt x="53428" y="184150"/>
                </a:cubicBezTo>
                <a:cubicBezTo>
                  <a:pt x="53428" y="184150"/>
                  <a:pt x="53428" y="184150"/>
                  <a:pt x="284710" y="184150"/>
                </a:cubicBezTo>
                <a:cubicBezTo>
                  <a:pt x="286024" y="184150"/>
                  <a:pt x="287338" y="184150"/>
                  <a:pt x="287338" y="182834"/>
                </a:cubicBezTo>
                <a:cubicBezTo>
                  <a:pt x="287338" y="182834"/>
                  <a:pt x="287338" y="182834"/>
                  <a:pt x="287338" y="24858"/>
                </a:cubicBezTo>
                <a:cubicBezTo>
                  <a:pt x="287338" y="23541"/>
                  <a:pt x="286024" y="22225"/>
                  <a:pt x="284710" y="22225"/>
                </a:cubicBezTo>
                <a:cubicBezTo>
                  <a:pt x="284710" y="22225"/>
                  <a:pt x="284710" y="22225"/>
                  <a:pt x="53428" y="22225"/>
                </a:cubicBezTo>
                <a:close/>
                <a:moveTo>
                  <a:pt x="53663" y="0"/>
                </a:moveTo>
                <a:cubicBezTo>
                  <a:pt x="53663" y="0"/>
                  <a:pt x="53663" y="0"/>
                  <a:pt x="286062" y="0"/>
                </a:cubicBezTo>
                <a:cubicBezTo>
                  <a:pt x="300587" y="0"/>
                  <a:pt x="311150" y="10530"/>
                  <a:pt x="311150" y="25008"/>
                </a:cubicBezTo>
                <a:cubicBezTo>
                  <a:pt x="311150" y="25008"/>
                  <a:pt x="311150" y="25008"/>
                  <a:pt x="311150" y="182955"/>
                </a:cubicBezTo>
                <a:cubicBezTo>
                  <a:pt x="311150" y="196117"/>
                  <a:pt x="300587" y="207963"/>
                  <a:pt x="286062" y="207963"/>
                </a:cubicBezTo>
                <a:cubicBezTo>
                  <a:pt x="286062" y="207963"/>
                  <a:pt x="286062" y="207963"/>
                  <a:pt x="53663" y="207963"/>
                </a:cubicBezTo>
                <a:cubicBezTo>
                  <a:pt x="39138" y="207963"/>
                  <a:pt x="28575" y="196117"/>
                  <a:pt x="28575" y="182955"/>
                </a:cubicBezTo>
                <a:cubicBezTo>
                  <a:pt x="28575" y="182955"/>
                  <a:pt x="28575" y="182955"/>
                  <a:pt x="28575" y="25008"/>
                </a:cubicBezTo>
                <a:cubicBezTo>
                  <a:pt x="28575" y="10530"/>
                  <a:pt x="39138" y="0"/>
                  <a:pt x="53663" y="0"/>
                </a:cubicBezTo>
                <a:close/>
              </a:path>
            </a:pathLst>
          </a:custGeom>
          <a:solidFill>
            <a:schemeClr val="accent1"/>
          </a:solidFill>
          <a:ln w="12700">
            <a:miter lim="400000"/>
          </a:ln>
        </p:spPr>
        <p:txBody>
          <a:bodyPr anchor="ctr"/>
          <a:lstStyle/>
          <a:p>
            <a:pPr algn="ctr"/>
            <a:endParaRPr/>
          </a:p>
        </p:txBody>
      </p:sp>
      <p:sp>
        <p:nvSpPr>
          <p:cNvPr id="12" name="iṡļîḍê">
            <a:extLst>
              <a:ext uri="{FF2B5EF4-FFF2-40B4-BE49-F238E27FC236}">
                <a16:creationId xmlns:a16="http://schemas.microsoft.com/office/drawing/2014/main" id="{6A8F9E13-8ABC-4434-B4D4-D8BEBB302B81}"/>
              </a:ext>
            </a:extLst>
          </p:cNvPr>
          <p:cNvSpPr/>
          <p:nvPr/>
        </p:nvSpPr>
        <p:spPr bwMode="auto">
          <a:xfrm>
            <a:off x="4339584" y="2116318"/>
            <a:ext cx="1029055" cy="1024147"/>
          </a:xfrm>
          <a:prstGeom prst="ellipse">
            <a:avLst/>
          </a:prstGeom>
          <a:solidFill>
            <a:schemeClr val="accent1"/>
          </a:solidFill>
          <a:ln w="38100">
            <a:noFill/>
          </a:ln>
          <a:extLst/>
        </p:spPr>
        <p:style>
          <a:lnRef idx="2">
            <a:schemeClr val="dk1"/>
          </a:lnRef>
          <a:fillRef idx="1">
            <a:schemeClr val="lt1"/>
          </a:fillRef>
          <a:effectRef idx="0">
            <a:schemeClr val="dk1"/>
          </a:effectRef>
          <a:fontRef idx="minor">
            <a:schemeClr val="dk1"/>
          </a:fontRef>
        </p:style>
        <p:txBody>
          <a:bodyPr rtlCol="0" anchor="ctr"/>
          <a:lstStyle/>
          <a:p>
            <a:pPr algn="ctr"/>
            <a:r>
              <a:rPr lang="en-US" altLang="zh-CN" sz="2400" b="1" dirty="0">
                <a:solidFill>
                  <a:schemeClr val="bg1"/>
                </a:solidFill>
              </a:rPr>
              <a:t>01</a:t>
            </a:r>
            <a:endParaRPr lang="zh-CN" altLang="en-US" sz="2400" b="1" dirty="0">
              <a:solidFill>
                <a:schemeClr val="bg1"/>
              </a:solidFill>
            </a:endParaRPr>
          </a:p>
        </p:txBody>
      </p:sp>
      <p:sp>
        <p:nvSpPr>
          <p:cNvPr id="13" name="iṡḷîḋe">
            <a:extLst>
              <a:ext uri="{FF2B5EF4-FFF2-40B4-BE49-F238E27FC236}">
                <a16:creationId xmlns:a16="http://schemas.microsoft.com/office/drawing/2014/main" id="{03939E37-DA1C-47DE-8333-14B981AD526E}"/>
              </a:ext>
            </a:extLst>
          </p:cNvPr>
          <p:cNvSpPr/>
          <p:nvPr/>
        </p:nvSpPr>
        <p:spPr bwMode="auto">
          <a:xfrm>
            <a:off x="6778404" y="2116318"/>
            <a:ext cx="1029055" cy="1024147"/>
          </a:xfrm>
          <a:prstGeom prst="ellipse">
            <a:avLst/>
          </a:prstGeom>
          <a:solidFill>
            <a:schemeClr val="accent1"/>
          </a:solidFill>
          <a:ln w="38100">
            <a:noFill/>
          </a:ln>
          <a:extLst/>
        </p:spPr>
        <p:style>
          <a:lnRef idx="2">
            <a:schemeClr val="dk1"/>
          </a:lnRef>
          <a:fillRef idx="1">
            <a:schemeClr val="lt1"/>
          </a:fillRef>
          <a:effectRef idx="0">
            <a:schemeClr val="dk1"/>
          </a:effectRef>
          <a:fontRef idx="minor">
            <a:schemeClr val="dk1"/>
          </a:fontRef>
        </p:style>
        <p:txBody>
          <a:bodyPr rtlCol="0" anchor="ctr"/>
          <a:lstStyle/>
          <a:p>
            <a:pPr algn="ctr"/>
            <a:r>
              <a:rPr lang="en-US" altLang="zh-CN" sz="2400" b="1" dirty="0">
                <a:solidFill>
                  <a:schemeClr val="bg1"/>
                </a:solidFill>
              </a:rPr>
              <a:t>02</a:t>
            </a:r>
            <a:endParaRPr lang="zh-CN" altLang="en-US" sz="2400" b="1" dirty="0">
              <a:solidFill>
                <a:schemeClr val="bg1"/>
              </a:solidFill>
            </a:endParaRPr>
          </a:p>
        </p:txBody>
      </p:sp>
      <p:sp>
        <p:nvSpPr>
          <p:cNvPr id="14" name="ïṡ1ïḋe">
            <a:extLst>
              <a:ext uri="{FF2B5EF4-FFF2-40B4-BE49-F238E27FC236}">
                <a16:creationId xmlns:a16="http://schemas.microsoft.com/office/drawing/2014/main" id="{FB399C87-C3A6-4702-A03F-2257B7F59498}"/>
              </a:ext>
            </a:extLst>
          </p:cNvPr>
          <p:cNvSpPr/>
          <p:nvPr/>
        </p:nvSpPr>
        <p:spPr bwMode="auto">
          <a:xfrm>
            <a:off x="4339584" y="4562867"/>
            <a:ext cx="1029055" cy="1024147"/>
          </a:xfrm>
          <a:prstGeom prst="ellipse">
            <a:avLst/>
          </a:prstGeom>
          <a:solidFill>
            <a:schemeClr val="accent1"/>
          </a:solidFill>
          <a:ln w="38100">
            <a:noFill/>
          </a:ln>
          <a:extLst/>
        </p:spPr>
        <p:style>
          <a:lnRef idx="2">
            <a:schemeClr val="dk1"/>
          </a:lnRef>
          <a:fillRef idx="1">
            <a:schemeClr val="lt1"/>
          </a:fillRef>
          <a:effectRef idx="0">
            <a:schemeClr val="dk1"/>
          </a:effectRef>
          <a:fontRef idx="minor">
            <a:schemeClr val="dk1"/>
          </a:fontRef>
        </p:style>
        <p:txBody>
          <a:bodyPr rtlCol="0" anchor="ctr"/>
          <a:lstStyle/>
          <a:p>
            <a:pPr algn="ctr"/>
            <a:r>
              <a:rPr lang="en-US" altLang="zh-CN" sz="2400" b="1" dirty="0">
                <a:solidFill>
                  <a:schemeClr val="bg1"/>
                </a:solidFill>
              </a:rPr>
              <a:t>03</a:t>
            </a:r>
            <a:endParaRPr lang="zh-CN" altLang="en-US" sz="2400" b="1" dirty="0">
              <a:solidFill>
                <a:schemeClr val="bg1"/>
              </a:solidFill>
            </a:endParaRPr>
          </a:p>
        </p:txBody>
      </p:sp>
      <p:sp>
        <p:nvSpPr>
          <p:cNvPr id="15" name="i$ḻîdé">
            <a:extLst>
              <a:ext uri="{FF2B5EF4-FFF2-40B4-BE49-F238E27FC236}">
                <a16:creationId xmlns:a16="http://schemas.microsoft.com/office/drawing/2014/main" id="{80BFC062-D35D-4500-8C8A-D28E2136C70A}"/>
              </a:ext>
            </a:extLst>
          </p:cNvPr>
          <p:cNvSpPr/>
          <p:nvPr/>
        </p:nvSpPr>
        <p:spPr bwMode="auto">
          <a:xfrm>
            <a:off x="6875601" y="4562867"/>
            <a:ext cx="1029055" cy="1024147"/>
          </a:xfrm>
          <a:prstGeom prst="ellipse">
            <a:avLst/>
          </a:prstGeom>
          <a:solidFill>
            <a:schemeClr val="accent1"/>
          </a:solidFill>
          <a:ln w="38100">
            <a:noFill/>
          </a:ln>
          <a:extLst/>
        </p:spPr>
        <p:style>
          <a:lnRef idx="2">
            <a:schemeClr val="dk1"/>
          </a:lnRef>
          <a:fillRef idx="1">
            <a:schemeClr val="lt1"/>
          </a:fillRef>
          <a:effectRef idx="0">
            <a:schemeClr val="dk1"/>
          </a:effectRef>
          <a:fontRef idx="minor">
            <a:schemeClr val="dk1"/>
          </a:fontRef>
        </p:style>
        <p:txBody>
          <a:bodyPr rtlCol="0" anchor="ctr"/>
          <a:lstStyle/>
          <a:p>
            <a:pPr algn="ctr"/>
            <a:r>
              <a:rPr lang="en-US" altLang="zh-CN" sz="2400" b="1" dirty="0">
                <a:solidFill>
                  <a:schemeClr val="bg1"/>
                </a:solidFill>
              </a:rPr>
              <a:t>04</a:t>
            </a:r>
            <a:endParaRPr lang="zh-CN" altLang="en-US" sz="2400" b="1" dirty="0">
              <a:solidFill>
                <a:schemeClr val="bg1"/>
              </a:solidFill>
            </a:endParaRPr>
          </a:p>
        </p:txBody>
      </p:sp>
      <p:sp>
        <p:nvSpPr>
          <p:cNvPr id="26" name="í$ľíde">
            <a:extLst>
              <a:ext uri="{FF2B5EF4-FFF2-40B4-BE49-F238E27FC236}">
                <a16:creationId xmlns:a16="http://schemas.microsoft.com/office/drawing/2014/main" id="{6BB39732-C28F-4930-911E-29CA799045B4}"/>
              </a:ext>
            </a:extLst>
          </p:cNvPr>
          <p:cNvSpPr/>
          <p:nvPr/>
        </p:nvSpPr>
        <p:spPr bwMode="auto">
          <a:xfrm>
            <a:off x="1693398" y="2215246"/>
            <a:ext cx="3332165" cy="865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0000" tIns="46800" rIns="90000" bIns="46800" anchor="t" anchorCtr="0">
            <a:norm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marL="171450" indent="-171450">
              <a:lnSpc>
                <a:spcPct val="150000"/>
              </a:lnSpc>
              <a:spcBef>
                <a:spcPct val="0"/>
              </a:spcBef>
              <a:buFont typeface="Arial" panose="020B0604020202020204" pitchFamily="34" charset="0"/>
              <a:buChar char="•"/>
            </a:pPr>
            <a:r>
              <a:rPr lang="en-US" altLang="zh-CN" sz="2000" dirty="0" smtClean="0"/>
              <a:t>——</a:t>
            </a:r>
            <a:r>
              <a:rPr lang="zh-CN" altLang="en-US" sz="2000" dirty="0" smtClean="0"/>
              <a:t>明确员工权限</a:t>
            </a:r>
            <a:endParaRPr lang="en-US" altLang="zh-CN" sz="1100" dirty="0"/>
          </a:p>
        </p:txBody>
      </p:sp>
      <p:sp>
        <p:nvSpPr>
          <p:cNvPr id="27" name="í$ḷiďê">
            <a:extLst>
              <a:ext uri="{FF2B5EF4-FFF2-40B4-BE49-F238E27FC236}">
                <a16:creationId xmlns:a16="http://schemas.microsoft.com/office/drawing/2014/main" id="{7B8F6EDB-DDBD-4823-8FF0-29380A0AAFE4}"/>
              </a:ext>
            </a:extLst>
          </p:cNvPr>
          <p:cNvSpPr txBox="1"/>
          <p:nvPr/>
        </p:nvSpPr>
        <p:spPr bwMode="auto">
          <a:xfrm>
            <a:off x="669925" y="1833560"/>
            <a:ext cx="3332166" cy="441805"/>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90000" tIns="46800" rIns="90000" bIns="46800" anchor="ctr">
            <a:norm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eaLnBrk="1" hangingPunct="1">
              <a:lnSpc>
                <a:spcPct val="100000"/>
              </a:lnSpc>
              <a:spcBef>
                <a:spcPct val="0"/>
              </a:spcBef>
            </a:pPr>
            <a:r>
              <a:rPr lang="zh-CN" altLang="en-US" sz="2000" b="1" dirty="0" smtClean="0"/>
              <a:t>用户管理</a:t>
            </a:r>
            <a:endParaRPr lang="en-US" altLang="zh-CN" sz="2000" b="1" dirty="0"/>
          </a:p>
        </p:txBody>
      </p:sp>
      <p:sp>
        <p:nvSpPr>
          <p:cNvPr id="24" name="îśḷïdè">
            <a:extLst>
              <a:ext uri="{FF2B5EF4-FFF2-40B4-BE49-F238E27FC236}">
                <a16:creationId xmlns:a16="http://schemas.microsoft.com/office/drawing/2014/main" id="{94DBBD6D-EF64-4BF9-BDCD-9C0C20E112F2}"/>
              </a:ext>
            </a:extLst>
          </p:cNvPr>
          <p:cNvSpPr/>
          <p:nvPr/>
        </p:nvSpPr>
        <p:spPr bwMode="auto">
          <a:xfrm>
            <a:off x="8188322" y="2275365"/>
            <a:ext cx="3332165" cy="865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0000" tIns="46800" rIns="90000" bIns="46800" anchor="t" anchorCtr="0">
            <a:norm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marL="171450" indent="-171450" algn="r">
              <a:lnSpc>
                <a:spcPct val="150000"/>
              </a:lnSpc>
              <a:spcBef>
                <a:spcPct val="0"/>
              </a:spcBef>
              <a:buFont typeface="Arial" panose="020B0604020202020204" pitchFamily="34" charset="0"/>
              <a:buChar char="•"/>
            </a:pPr>
            <a:r>
              <a:rPr lang="en-US" altLang="zh-CN" sz="2000" dirty="0" smtClean="0"/>
              <a:t>——</a:t>
            </a:r>
            <a:r>
              <a:rPr lang="zh-CN" altLang="en-US" sz="2000" dirty="0" smtClean="0"/>
              <a:t>站位信息清晰</a:t>
            </a:r>
            <a:r>
              <a:rPr lang="en-US" altLang="zh-CN" sz="1100" dirty="0" smtClean="0"/>
              <a:t>.</a:t>
            </a:r>
            <a:endParaRPr lang="en-US" altLang="zh-CN" sz="1100" dirty="0"/>
          </a:p>
        </p:txBody>
      </p:sp>
      <p:sp>
        <p:nvSpPr>
          <p:cNvPr id="25" name="îSlîḍe">
            <a:extLst>
              <a:ext uri="{FF2B5EF4-FFF2-40B4-BE49-F238E27FC236}">
                <a16:creationId xmlns:a16="http://schemas.microsoft.com/office/drawing/2014/main" id="{FD6B23E9-CFA3-45D7-80AE-A20B0F5D2972}"/>
              </a:ext>
            </a:extLst>
          </p:cNvPr>
          <p:cNvSpPr txBox="1"/>
          <p:nvPr/>
        </p:nvSpPr>
        <p:spPr bwMode="auto">
          <a:xfrm>
            <a:off x="6141376" y="1864231"/>
            <a:ext cx="3332166" cy="441805"/>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90000" tIns="46800" rIns="90000" bIns="46800" anchor="ctr">
            <a:norm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algn="r" eaLnBrk="1" hangingPunct="1">
              <a:lnSpc>
                <a:spcPct val="100000"/>
              </a:lnSpc>
              <a:spcBef>
                <a:spcPct val="0"/>
              </a:spcBef>
            </a:pPr>
            <a:r>
              <a:rPr lang="zh-CN" altLang="en-US" sz="2000" b="1" dirty="0" smtClean="0"/>
              <a:t>站位表管理</a:t>
            </a:r>
            <a:endParaRPr lang="en-US" altLang="zh-CN" sz="2000" b="1" dirty="0"/>
          </a:p>
        </p:txBody>
      </p:sp>
      <p:sp>
        <p:nvSpPr>
          <p:cNvPr id="22" name="iṡľîḋê">
            <a:extLst>
              <a:ext uri="{FF2B5EF4-FFF2-40B4-BE49-F238E27FC236}">
                <a16:creationId xmlns:a16="http://schemas.microsoft.com/office/drawing/2014/main" id="{0B1C5CF6-804D-4DF8-82DE-FA66A1AE519D}"/>
              </a:ext>
            </a:extLst>
          </p:cNvPr>
          <p:cNvSpPr/>
          <p:nvPr/>
        </p:nvSpPr>
        <p:spPr bwMode="auto">
          <a:xfrm>
            <a:off x="1985366" y="4974207"/>
            <a:ext cx="3332165" cy="865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0000" tIns="46800" rIns="90000" bIns="46800" anchor="t" anchorCtr="0">
            <a:norm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marL="171450" indent="-171450">
              <a:lnSpc>
                <a:spcPct val="150000"/>
              </a:lnSpc>
              <a:spcBef>
                <a:spcPct val="0"/>
              </a:spcBef>
              <a:buFont typeface="Arial" panose="020B0604020202020204" pitchFamily="34" charset="0"/>
              <a:buChar char="•"/>
            </a:pPr>
            <a:r>
              <a:rPr lang="en-US" altLang="zh-CN" sz="2000" dirty="0" smtClean="0"/>
              <a:t>——</a:t>
            </a:r>
            <a:r>
              <a:rPr lang="zh-CN" altLang="en-US" sz="2000" dirty="0" smtClean="0"/>
              <a:t>个性化报警</a:t>
            </a:r>
            <a:endParaRPr lang="en-US" altLang="zh-CN" sz="2000" dirty="0"/>
          </a:p>
        </p:txBody>
      </p:sp>
      <p:sp>
        <p:nvSpPr>
          <p:cNvPr id="23" name="iŝľïdè">
            <a:extLst>
              <a:ext uri="{FF2B5EF4-FFF2-40B4-BE49-F238E27FC236}">
                <a16:creationId xmlns:a16="http://schemas.microsoft.com/office/drawing/2014/main" id="{76E82822-E81F-40EC-BFF6-046BBF0D23EF}"/>
              </a:ext>
            </a:extLst>
          </p:cNvPr>
          <p:cNvSpPr txBox="1"/>
          <p:nvPr/>
        </p:nvSpPr>
        <p:spPr bwMode="auto">
          <a:xfrm>
            <a:off x="669925" y="4562867"/>
            <a:ext cx="3332166" cy="441805"/>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90000" tIns="46800" rIns="90000" bIns="46800" anchor="ctr">
            <a:norm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eaLnBrk="1" hangingPunct="1">
              <a:lnSpc>
                <a:spcPct val="100000"/>
              </a:lnSpc>
              <a:spcBef>
                <a:spcPct val="0"/>
              </a:spcBef>
            </a:pPr>
            <a:r>
              <a:rPr lang="zh-CN" altLang="en-US" sz="2000" b="1" dirty="0" smtClean="0"/>
              <a:t>报警配置管理</a:t>
            </a:r>
            <a:endParaRPr lang="en-US" altLang="zh-CN" sz="2000" b="1" dirty="0"/>
          </a:p>
        </p:txBody>
      </p:sp>
      <p:sp>
        <p:nvSpPr>
          <p:cNvPr id="20" name="íṧlîḋe">
            <a:extLst>
              <a:ext uri="{FF2B5EF4-FFF2-40B4-BE49-F238E27FC236}">
                <a16:creationId xmlns:a16="http://schemas.microsoft.com/office/drawing/2014/main" id="{A34FBCBF-FD23-415E-8160-4E3A8F8A010D}"/>
              </a:ext>
            </a:extLst>
          </p:cNvPr>
          <p:cNvSpPr/>
          <p:nvPr/>
        </p:nvSpPr>
        <p:spPr bwMode="auto">
          <a:xfrm>
            <a:off x="8188322" y="5004672"/>
            <a:ext cx="3332165" cy="865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0000" tIns="46800" rIns="90000" bIns="46800" anchor="t" anchorCtr="0">
            <a:norm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marL="171450" indent="-171450" algn="r">
              <a:lnSpc>
                <a:spcPct val="150000"/>
              </a:lnSpc>
              <a:spcBef>
                <a:spcPct val="0"/>
              </a:spcBef>
              <a:buFont typeface="Arial" panose="020B0604020202020204" pitchFamily="34" charset="0"/>
              <a:buChar char="•"/>
            </a:pPr>
            <a:r>
              <a:rPr lang="en-US" altLang="zh-CN" sz="2000" dirty="0" smtClean="0"/>
              <a:t>——</a:t>
            </a:r>
            <a:r>
              <a:rPr lang="zh-CN" altLang="en-US" sz="2000" dirty="0" smtClean="0"/>
              <a:t>筛选信息，一键生成</a:t>
            </a:r>
            <a:endParaRPr lang="en-US" altLang="zh-CN" sz="2000" dirty="0"/>
          </a:p>
        </p:txBody>
      </p:sp>
      <p:sp>
        <p:nvSpPr>
          <p:cNvPr id="21" name="íšľidê">
            <a:extLst>
              <a:ext uri="{FF2B5EF4-FFF2-40B4-BE49-F238E27FC236}">
                <a16:creationId xmlns:a16="http://schemas.microsoft.com/office/drawing/2014/main" id="{308BA017-0A53-436D-8E92-31EA2863F5F3}"/>
              </a:ext>
            </a:extLst>
          </p:cNvPr>
          <p:cNvSpPr txBox="1"/>
          <p:nvPr/>
        </p:nvSpPr>
        <p:spPr bwMode="auto">
          <a:xfrm>
            <a:off x="5980312" y="4522508"/>
            <a:ext cx="3332166" cy="441805"/>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90000" tIns="46800" rIns="90000" bIns="46800" anchor="ctr">
            <a:norm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algn="r" eaLnBrk="1" hangingPunct="1">
              <a:lnSpc>
                <a:spcPct val="100000"/>
              </a:lnSpc>
              <a:spcBef>
                <a:spcPct val="0"/>
              </a:spcBef>
            </a:pPr>
            <a:r>
              <a:rPr lang="zh-CN" altLang="en-US" sz="2000" b="1" dirty="0" smtClean="0"/>
              <a:t>报表生成</a:t>
            </a:r>
            <a:endParaRPr lang="en-US" altLang="zh-CN" sz="2000" b="1" dirty="0"/>
          </a:p>
        </p:txBody>
      </p:sp>
    </p:spTree>
    <p:extLst>
      <p:ext uri="{BB962C8B-B14F-4D97-AF65-F5344CB8AC3E}">
        <p14:creationId xmlns:p14="http://schemas.microsoft.com/office/powerpoint/2010/main" val="3417780185"/>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smtClean="0"/>
              <a:t>人员管理</a:t>
            </a:r>
            <a:endParaRPr lang="zh-CN" altLang="en-US" dirty="0"/>
          </a:p>
        </p:txBody>
      </p:sp>
      <p:pic>
        <p:nvPicPr>
          <p:cNvPr id="9" name="图片 8"/>
          <p:cNvPicPr>
            <a:picLocks noChangeAspect="1"/>
          </p:cNvPicPr>
          <p:nvPr/>
        </p:nvPicPr>
        <p:blipFill>
          <a:blip r:embed="rId3"/>
          <a:stretch>
            <a:fillRect/>
          </a:stretch>
        </p:blipFill>
        <p:spPr>
          <a:xfrm>
            <a:off x="4711971" y="1345587"/>
            <a:ext cx="6859083" cy="5081307"/>
          </a:xfrm>
          <a:prstGeom prst="rect">
            <a:avLst/>
          </a:prstGeom>
        </p:spPr>
      </p:pic>
      <p:sp>
        <p:nvSpPr>
          <p:cNvPr id="10" name="î$1ïḋê">
            <a:extLst>
              <a:ext uri="{FF2B5EF4-FFF2-40B4-BE49-F238E27FC236}">
                <a16:creationId xmlns:a16="http://schemas.microsoft.com/office/drawing/2014/main" id="{3408C7CA-3285-402B-87EB-C9AC6DA5AED0}"/>
              </a:ext>
            </a:extLst>
          </p:cNvPr>
          <p:cNvSpPr/>
          <p:nvPr/>
        </p:nvSpPr>
        <p:spPr bwMode="auto">
          <a:xfrm>
            <a:off x="742693" y="1205275"/>
            <a:ext cx="3614155" cy="1654464"/>
          </a:xfrm>
          <a:prstGeom prst="homePlate">
            <a:avLst/>
          </a:prstGeom>
          <a:blipFill>
            <a:blip r:embed="rId4" cstate="email">
              <a:extLst>
                <a:ext uri="{28A0092B-C50C-407E-A947-70E740481C1C}">
                  <a14:useLocalDpi xmlns:a14="http://schemas.microsoft.com/office/drawing/2010/main"/>
                </a:ext>
              </a:extLst>
            </a:blip>
            <a:srcRect/>
            <a:stretch>
              <a:fillRect l="42"/>
            </a:stretch>
          </a:blipFill>
          <a:ln w="12700" cap="flat" cmpd="sng" algn="ctr">
            <a:noFill/>
            <a:prstDash val="solid"/>
            <a:miter lim="800000"/>
          </a:ln>
          <a:effectLst/>
          <a:ex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zh-CN" altLang="en-US" dirty="0">
              <a:solidFill>
                <a:schemeClr val="lt1"/>
              </a:solidFill>
            </a:endParaRPr>
          </a:p>
        </p:txBody>
      </p:sp>
      <p:sp>
        <p:nvSpPr>
          <p:cNvPr id="11" name="íŝḷiḍe">
            <a:extLst>
              <a:ext uri="{FF2B5EF4-FFF2-40B4-BE49-F238E27FC236}">
                <a16:creationId xmlns:a16="http://schemas.microsoft.com/office/drawing/2014/main" id="{C26FAFF6-A6E9-45C3-8A78-2D8D273B467D}"/>
              </a:ext>
            </a:extLst>
          </p:cNvPr>
          <p:cNvSpPr/>
          <p:nvPr/>
        </p:nvSpPr>
        <p:spPr bwMode="auto">
          <a:xfrm>
            <a:off x="742693" y="1205275"/>
            <a:ext cx="2488771" cy="1654464"/>
          </a:xfrm>
          <a:prstGeom prst="rect">
            <a:avLst/>
          </a:prstGeom>
          <a:solidFill>
            <a:schemeClr val="tx1">
              <a:alpha val="62000"/>
            </a:schemeClr>
          </a:solidFill>
          <a:ln w="12700" cap="flat" cmpd="sng" algn="ctr">
            <a:noFill/>
            <a:prstDash val="solid"/>
            <a:miter lim="800000"/>
          </a:ln>
          <a:effectLst/>
          <a:ex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zh-CN" altLang="en-US" dirty="0">
              <a:solidFill>
                <a:schemeClr val="lt1"/>
              </a:solidFill>
            </a:endParaRPr>
          </a:p>
        </p:txBody>
      </p:sp>
      <p:sp>
        <p:nvSpPr>
          <p:cNvPr id="12" name="iś1ide">
            <a:extLst>
              <a:ext uri="{FF2B5EF4-FFF2-40B4-BE49-F238E27FC236}">
                <a16:creationId xmlns:a16="http://schemas.microsoft.com/office/drawing/2014/main" id="{4D77ABE1-7EA1-436A-B486-5E1E381AA4BE}"/>
              </a:ext>
            </a:extLst>
          </p:cNvPr>
          <p:cNvSpPr/>
          <p:nvPr/>
        </p:nvSpPr>
        <p:spPr bwMode="auto">
          <a:xfrm>
            <a:off x="752294" y="2041508"/>
            <a:ext cx="2844054" cy="7465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0000" tIns="46800" rIns="90000" bIns="46800" anchor="t" anchorCtr="0">
            <a:no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a:lnSpc>
                <a:spcPct val="150000"/>
              </a:lnSpc>
            </a:pPr>
            <a:r>
              <a:rPr lang="zh-CN" altLang="en-US" sz="1000" dirty="0">
                <a:solidFill>
                  <a:schemeClr val="bg1"/>
                </a:solidFill>
                <a:latin typeface="微软雅黑" panose="020B0503020204020204" pitchFamily="34" charset="-122"/>
                <a:ea typeface="微软雅黑" panose="020B0503020204020204" pitchFamily="34" charset="-122"/>
              </a:rPr>
              <a:t>整合信息源，员工信息一目了然</a:t>
            </a:r>
            <a:endParaRPr lang="en-US" altLang="zh-CN" sz="1000" dirty="0">
              <a:solidFill>
                <a:schemeClr val="bg1"/>
              </a:solidFill>
              <a:latin typeface="微软雅黑" panose="020B0503020204020204" pitchFamily="34" charset="-122"/>
              <a:ea typeface="微软雅黑" panose="020B0503020204020204" pitchFamily="34" charset="-122"/>
            </a:endParaRPr>
          </a:p>
          <a:p>
            <a:pPr>
              <a:lnSpc>
                <a:spcPct val="150000"/>
              </a:lnSpc>
            </a:pPr>
            <a:r>
              <a:rPr lang="zh-CN" altLang="en-US" sz="1000" dirty="0">
                <a:solidFill>
                  <a:schemeClr val="bg1"/>
                </a:solidFill>
                <a:latin typeface="微软雅黑" panose="020B0503020204020204" pitchFamily="34" charset="-122"/>
                <a:ea typeface="微软雅黑" panose="020B0503020204020204" pitchFamily="34" charset="-122"/>
              </a:rPr>
              <a:t>方便快捷的查询功能，简化工作流程</a:t>
            </a:r>
            <a:endParaRPr lang="en-US" altLang="zh-CN" sz="1000" dirty="0">
              <a:solidFill>
                <a:schemeClr val="bg1"/>
              </a:solidFill>
              <a:latin typeface="微软雅黑" panose="020B0503020204020204" pitchFamily="34" charset="-122"/>
              <a:ea typeface="微软雅黑" panose="020B0503020204020204" pitchFamily="34" charset="-122"/>
            </a:endParaRPr>
          </a:p>
          <a:p>
            <a:pPr>
              <a:lnSpc>
                <a:spcPct val="150000"/>
              </a:lnSpc>
            </a:pPr>
            <a:r>
              <a:rPr lang="zh-CN" altLang="en-US" sz="1000" dirty="0">
                <a:solidFill>
                  <a:schemeClr val="bg1"/>
                </a:solidFill>
                <a:latin typeface="微软雅黑" panose="020B0503020204020204" pitchFamily="34" charset="-122"/>
                <a:ea typeface="微软雅黑" panose="020B0503020204020204" pitchFamily="34" charset="-122"/>
              </a:rPr>
              <a:t>权限分级、一站式设置修改</a:t>
            </a:r>
            <a:endParaRPr lang="en-US" altLang="zh-CN" sz="1000" dirty="0">
              <a:solidFill>
                <a:schemeClr val="bg1"/>
              </a:solidFill>
            </a:endParaRPr>
          </a:p>
        </p:txBody>
      </p:sp>
      <p:sp>
        <p:nvSpPr>
          <p:cNvPr id="13" name="ïśliḑê">
            <a:extLst>
              <a:ext uri="{FF2B5EF4-FFF2-40B4-BE49-F238E27FC236}">
                <a16:creationId xmlns:a16="http://schemas.microsoft.com/office/drawing/2014/main" id="{7905BC70-631D-43F0-9121-7B3F238468A4}"/>
              </a:ext>
            </a:extLst>
          </p:cNvPr>
          <p:cNvSpPr txBox="1"/>
          <p:nvPr/>
        </p:nvSpPr>
        <p:spPr bwMode="auto">
          <a:xfrm>
            <a:off x="752294" y="1622272"/>
            <a:ext cx="2844054" cy="3707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0000" tIns="46800" rIns="90000" bIns="46800" anchor="ctr">
            <a:no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eaLnBrk="1" hangingPunct="1">
              <a:lnSpc>
                <a:spcPct val="100000"/>
              </a:lnSpc>
              <a:spcBef>
                <a:spcPct val="0"/>
              </a:spcBef>
              <a:buFontTx/>
              <a:buNone/>
            </a:pPr>
            <a:r>
              <a:rPr lang="zh-CN" altLang="en-US" sz="2000" b="1" dirty="0" smtClean="0">
                <a:solidFill>
                  <a:schemeClr val="bg1"/>
                </a:solidFill>
              </a:rPr>
              <a:t>人员管理</a:t>
            </a:r>
            <a:endParaRPr lang="en-US" altLang="zh-CN" sz="2000" b="1" dirty="0">
              <a:solidFill>
                <a:schemeClr val="bg1"/>
              </a:solidFill>
            </a:endParaRPr>
          </a:p>
        </p:txBody>
      </p:sp>
      <p:cxnSp>
        <p:nvCxnSpPr>
          <p:cNvPr id="22" name="直接连接符 21">
            <a:extLst>
              <a:ext uri="{FF2B5EF4-FFF2-40B4-BE49-F238E27FC236}">
                <a16:creationId xmlns:a16="http://schemas.microsoft.com/office/drawing/2014/main" id="{0E958E47-B088-471D-9E8C-831446027D5D}"/>
              </a:ext>
            </a:extLst>
          </p:cNvPr>
          <p:cNvCxnSpPr/>
          <p:nvPr/>
        </p:nvCxnSpPr>
        <p:spPr>
          <a:xfrm>
            <a:off x="4517419" y="1445258"/>
            <a:ext cx="0" cy="5019675"/>
          </a:xfrm>
          <a:prstGeom prst="line">
            <a:avLst/>
          </a:prstGeom>
          <a:ln w="3175" cap="rnd">
            <a:solidFill>
              <a:schemeClr val="bg1">
                <a:lumMod val="75000"/>
              </a:schemeClr>
            </a:solidFill>
            <a:round/>
            <a:headEnd type="none"/>
            <a:tailEnd type="none" w="med" len="med"/>
          </a:ln>
        </p:spPr>
        <p:style>
          <a:lnRef idx="1">
            <a:schemeClr val="accent1"/>
          </a:lnRef>
          <a:fillRef idx="0">
            <a:schemeClr val="accent1"/>
          </a:fillRef>
          <a:effectRef idx="0">
            <a:schemeClr val="accent1"/>
          </a:effectRef>
          <a:fontRef idx="minor">
            <a:schemeClr val="tx1"/>
          </a:fontRef>
        </p:style>
      </p:cxnSp>
      <p:grpSp>
        <p:nvGrpSpPr>
          <p:cNvPr id="24" name="组合 23"/>
          <p:cNvGrpSpPr/>
          <p:nvPr/>
        </p:nvGrpSpPr>
        <p:grpSpPr>
          <a:xfrm>
            <a:off x="669924" y="3581399"/>
            <a:ext cx="2844054" cy="2979084"/>
            <a:chOff x="402670" y="3581399"/>
            <a:chExt cx="2844054" cy="2979084"/>
          </a:xfrm>
        </p:grpSpPr>
        <p:grpSp>
          <p:nvGrpSpPr>
            <p:cNvPr id="21" name="组合 20"/>
            <p:cNvGrpSpPr/>
            <p:nvPr/>
          </p:nvGrpSpPr>
          <p:grpSpPr>
            <a:xfrm>
              <a:off x="1052491" y="3581399"/>
              <a:ext cx="2194233" cy="2979084"/>
              <a:chOff x="1052491" y="3581399"/>
              <a:chExt cx="2194233" cy="2979084"/>
            </a:xfrm>
          </p:grpSpPr>
          <p:sp>
            <p:nvSpPr>
              <p:cNvPr id="14" name="managers_115970"/>
              <p:cNvSpPr>
                <a:spLocks noChangeAspect="1"/>
              </p:cNvSpPr>
              <p:nvPr/>
            </p:nvSpPr>
            <p:spPr bwMode="auto">
              <a:xfrm>
                <a:off x="1052491" y="4052047"/>
                <a:ext cx="2194233" cy="2508436"/>
              </a:xfrm>
              <a:custGeom>
                <a:avLst/>
                <a:gdLst>
                  <a:gd name="connsiteX0" fmla="*/ 408227 w 484925"/>
                  <a:gd name="connsiteY0" fmla="*/ 203618 h 608627"/>
                  <a:gd name="connsiteX1" fmla="*/ 372887 w 484925"/>
                  <a:gd name="connsiteY1" fmla="*/ 238749 h 608627"/>
                  <a:gd name="connsiteX2" fmla="*/ 372887 w 484925"/>
                  <a:gd name="connsiteY2" fmla="*/ 573802 h 608627"/>
                  <a:gd name="connsiteX3" fmla="*/ 418829 w 484925"/>
                  <a:gd name="connsiteY3" fmla="*/ 573802 h 608627"/>
                  <a:gd name="connsiteX4" fmla="*/ 418829 w 484925"/>
                  <a:gd name="connsiteY4" fmla="*/ 422384 h 608627"/>
                  <a:gd name="connsiteX5" fmla="*/ 419904 w 484925"/>
                  <a:gd name="connsiteY5" fmla="*/ 416401 h 608627"/>
                  <a:gd name="connsiteX6" fmla="*/ 443567 w 484925"/>
                  <a:gd name="connsiteY6" fmla="*/ 351814 h 608627"/>
                  <a:gd name="connsiteX7" fmla="*/ 443567 w 484925"/>
                  <a:gd name="connsiteY7" fmla="*/ 238749 h 608627"/>
                  <a:gd name="connsiteX8" fmla="*/ 408227 w 484925"/>
                  <a:gd name="connsiteY8" fmla="*/ 203618 h 608627"/>
                  <a:gd name="connsiteX9" fmla="*/ 64380 w 484925"/>
                  <a:gd name="connsiteY9" fmla="*/ 197322 h 608627"/>
                  <a:gd name="connsiteX10" fmla="*/ 60693 w 484925"/>
                  <a:gd name="connsiteY10" fmla="*/ 198550 h 608627"/>
                  <a:gd name="connsiteX11" fmla="*/ 34879 w 484925"/>
                  <a:gd name="connsiteY11" fmla="*/ 234295 h 608627"/>
                  <a:gd name="connsiteX12" fmla="*/ 34879 w 484925"/>
                  <a:gd name="connsiteY12" fmla="*/ 349663 h 608627"/>
                  <a:gd name="connsiteX13" fmla="*/ 76519 w 484925"/>
                  <a:gd name="connsiteY13" fmla="*/ 412870 h 608627"/>
                  <a:gd name="connsiteX14" fmla="*/ 79285 w 484925"/>
                  <a:gd name="connsiteY14" fmla="*/ 422382 h 608627"/>
                  <a:gd name="connsiteX15" fmla="*/ 79285 w 484925"/>
                  <a:gd name="connsiteY15" fmla="*/ 573802 h 608627"/>
                  <a:gd name="connsiteX16" fmla="*/ 179773 w 484925"/>
                  <a:gd name="connsiteY16" fmla="*/ 573802 h 608627"/>
                  <a:gd name="connsiteX17" fmla="*/ 179773 w 484925"/>
                  <a:gd name="connsiteY17" fmla="*/ 422382 h 608627"/>
                  <a:gd name="connsiteX18" fmla="*/ 182539 w 484925"/>
                  <a:gd name="connsiteY18" fmla="*/ 412870 h 608627"/>
                  <a:gd name="connsiteX19" fmla="*/ 224179 w 484925"/>
                  <a:gd name="connsiteY19" fmla="*/ 349663 h 608627"/>
                  <a:gd name="connsiteX20" fmla="*/ 224179 w 484925"/>
                  <a:gd name="connsiteY20" fmla="*/ 234295 h 608627"/>
                  <a:gd name="connsiteX21" fmla="*/ 198365 w 484925"/>
                  <a:gd name="connsiteY21" fmla="*/ 198550 h 608627"/>
                  <a:gd name="connsiteX22" fmla="*/ 194677 w 484925"/>
                  <a:gd name="connsiteY22" fmla="*/ 197322 h 608627"/>
                  <a:gd name="connsiteX23" fmla="*/ 145816 w 484925"/>
                  <a:gd name="connsiteY23" fmla="*/ 330946 h 608627"/>
                  <a:gd name="connsiteX24" fmla="*/ 129529 w 484925"/>
                  <a:gd name="connsiteY24" fmla="*/ 342453 h 608627"/>
                  <a:gd name="connsiteX25" fmla="*/ 113088 w 484925"/>
                  <a:gd name="connsiteY25" fmla="*/ 330946 h 608627"/>
                  <a:gd name="connsiteX26" fmla="*/ 408227 w 484925"/>
                  <a:gd name="connsiteY26" fmla="*/ 168793 h 608627"/>
                  <a:gd name="connsiteX27" fmla="*/ 478292 w 484925"/>
                  <a:gd name="connsiteY27" fmla="*/ 238749 h 608627"/>
                  <a:gd name="connsiteX28" fmla="*/ 478292 w 484925"/>
                  <a:gd name="connsiteY28" fmla="*/ 354883 h 608627"/>
                  <a:gd name="connsiteX29" fmla="*/ 477216 w 484925"/>
                  <a:gd name="connsiteY29" fmla="*/ 360866 h 608627"/>
                  <a:gd name="connsiteX30" fmla="*/ 453708 w 484925"/>
                  <a:gd name="connsiteY30" fmla="*/ 425452 h 608627"/>
                  <a:gd name="connsiteX31" fmla="*/ 453708 w 484925"/>
                  <a:gd name="connsiteY31" fmla="*/ 591138 h 608627"/>
                  <a:gd name="connsiteX32" fmla="*/ 436191 w 484925"/>
                  <a:gd name="connsiteY32" fmla="*/ 608627 h 608627"/>
                  <a:gd name="connsiteX33" fmla="*/ 355524 w 484925"/>
                  <a:gd name="connsiteY33" fmla="*/ 608627 h 608627"/>
                  <a:gd name="connsiteX34" fmla="*/ 338008 w 484925"/>
                  <a:gd name="connsiteY34" fmla="*/ 591138 h 608627"/>
                  <a:gd name="connsiteX35" fmla="*/ 338008 w 484925"/>
                  <a:gd name="connsiteY35" fmla="*/ 238749 h 608627"/>
                  <a:gd name="connsiteX36" fmla="*/ 408227 w 484925"/>
                  <a:gd name="connsiteY36" fmla="*/ 168793 h 608627"/>
                  <a:gd name="connsiteX37" fmla="*/ 69912 w 484925"/>
                  <a:gd name="connsiteY37" fmla="*/ 159275 h 608627"/>
                  <a:gd name="connsiteX38" fmla="*/ 91423 w 484925"/>
                  <a:gd name="connsiteY38" fmla="*/ 169861 h 608627"/>
                  <a:gd name="connsiteX39" fmla="*/ 112627 w 484925"/>
                  <a:gd name="connsiteY39" fmla="*/ 228159 h 608627"/>
                  <a:gd name="connsiteX40" fmla="*/ 120156 w 484925"/>
                  <a:gd name="connsiteY40" fmla="*/ 194868 h 608627"/>
                  <a:gd name="connsiteX41" fmla="*/ 107864 w 484925"/>
                  <a:gd name="connsiteY41" fmla="*/ 173543 h 608627"/>
                  <a:gd name="connsiteX42" fmla="*/ 107864 w 484925"/>
                  <a:gd name="connsiteY42" fmla="*/ 164338 h 608627"/>
                  <a:gd name="connsiteX43" fmla="*/ 115854 w 484925"/>
                  <a:gd name="connsiteY43" fmla="*/ 159736 h 608627"/>
                  <a:gd name="connsiteX44" fmla="*/ 143204 w 484925"/>
                  <a:gd name="connsiteY44" fmla="*/ 159736 h 608627"/>
                  <a:gd name="connsiteX45" fmla="*/ 151194 w 484925"/>
                  <a:gd name="connsiteY45" fmla="*/ 164338 h 608627"/>
                  <a:gd name="connsiteX46" fmla="*/ 151194 w 484925"/>
                  <a:gd name="connsiteY46" fmla="*/ 173543 h 608627"/>
                  <a:gd name="connsiteX47" fmla="*/ 138902 w 484925"/>
                  <a:gd name="connsiteY47" fmla="*/ 194868 h 608627"/>
                  <a:gd name="connsiteX48" fmla="*/ 146277 w 484925"/>
                  <a:gd name="connsiteY48" fmla="*/ 228159 h 608627"/>
                  <a:gd name="connsiteX49" fmla="*/ 167635 w 484925"/>
                  <a:gd name="connsiteY49" fmla="*/ 169861 h 608627"/>
                  <a:gd name="connsiteX50" fmla="*/ 188992 w 484925"/>
                  <a:gd name="connsiteY50" fmla="*/ 159275 h 608627"/>
                  <a:gd name="connsiteX51" fmla="*/ 209274 w 484925"/>
                  <a:gd name="connsiteY51" fmla="*/ 165412 h 608627"/>
                  <a:gd name="connsiteX52" fmla="*/ 258904 w 484925"/>
                  <a:gd name="connsiteY52" fmla="*/ 234295 h 608627"/>
                  <a:gd name="connsiteX53" fmla="*/ 258904 w 484925"/>
                  <a:gd name="connsiteY53" fmla="*/ 354879 h 608627"/>
                  <a:gd name="connsiteX54" fmla="*/ 256138 w 484925"/>
                  <a:gd name="connsiteY54" fmla="*/ 364544 h 608627"/>
                  <a:gd name="connsiteX55" fmla="*/ 214499 w 484925"/>
                  <a:gd name="connsiteY55" fmla="*/ 427598 h 608627"/>
                  <a:gd name="connsiteX56" fmla="*/ 214499 w 484925"/>
                  <a:gd name="connsiteY56" fmla="*/ 591138 h 608627"/>
                  <a:gd name="connsiteX57" fmla="*/ 197136 w 484925"/>
                  <a:gd name="connsiteY57" fmla="*/ 608627 h 608627"/>
                  <a:gd name="connsiteX58" fmla="*/ 61922 w 484925"/>
                  <a:gd name="connsiteY58" fmla="*/ 608627 h 608627"/>
                  <a:gd name="connsiteX59" fmla="*/ 44559 w 484925"/>
                  <a:gd name="connsiteY59" fmla="*/ 591138 h 608627"/>
                  <a:gd name="connsiteX60" fmla="*/ 44559 w 484925"/>
                  <a:gd name="connsiteY60" fmla="*/ 427598 h 608627"/>
                  <a:gd name="connsiteX61" fmla="*/ 2919 w 484925"/>
                  <a:gd name="connsiteY61" fmla="*/ 364544 h 608627"/>
                  <a:gd name="connsiteX62" fmla="*/ 0 w 484925"/>
                  <a:gd name="connsiteY62" fmla="*/ 354879 h 608627"/>
                  <a:gd name="connsiteX63" fmla="*/ 0 w 484925"/>
                  <a:gd name="connsiteY63" fmla="*/ 234295 h 608627"/>
                  <a:gd name="connsiteX64" fmla="*/ 49783 w 484925"/>
                  <a:gd name="connsiteY64" fmla="*/ 165412 h 608627"/>
                  <a:gd name="connsiteX65" fmla="*/ 69912 w 484925"/>
                  <a:gd name="connsiteY65" fmla="*/ 159275 h 608627"/>
                  <a:gd name="connsiteX66" fmla="*/ 129522 w 484925"/>
                  <a:gd name="connsiteY66" fmla="*/ 34835 h 608627"/>
                  <a:gd name="connsiteX67" fmla="*/ 90967 w 484925"/>
                  <a:gd name="connsiteY67" fmla="*/ 73353 h 608627"/>
                  <a:gd name="connsiteX68" fmla="*/ 129522 w 484925"/>
                  <a:gd name="connsiteY68" fmla="*/ 111871 h 608627"/>
                  <a:gd name="connsiteX69" fmla="*/ 168077 w 484925"/>
                  <a:gd name="connsiteY69" fmla="*/ 73353 h 608627"/>
                  <a:gd name="connsiteX70" fmla="*/ 129522 w 484925"/>
                  <a:gd name="connsiteY70" fmla="*/ 34835 h 608627"/>
                  <a:gd name="connsiteX71" fmla="*/ 411467 w 484925"/>
                  <a:gd name="connsiteY71" fmla="*/ 34818 h 608627"/>
                  <a:gd name="connsiteX72" fmla="*/ 372893 w 484925"/>
                  <a:gd name="connsiteY72" fmla="*/ 73318 h 608627"/>
                  <a:gd name="connsiteX73" fmla="*/ 411467 w 484925"/>
                  <a:gd name="connsiteY73" fmla="*/ 111817 h 608627"/>
                  <a:gd name="connsiteX74" fmla="*/ 450194 w 484925"/>
                  <a:gd name="connsiteY74" fmla="*/ 73318 h 608627"/>
                  <a:gd name="connsiteX75" fmla="*/ 411467 w 484925"/>
                  <a:gd name="connsiteY75" fmla="*/ 34818 h 608627"/>
                  <a:gd name="connsiteX76" fmla="*/ 411467 w 484925"/>
                  <a:gd name="connsiteY76" fmla="*/ 0 h 608627"/>
                  <a:gd name="connsiteX77" fmla="*/ 484925 w 484925"/>
                  <a:gd name="connsiteY77" fmla="*/ 73318 h 608627"/>
                  <a:gd name="connsiteX78" fmla="*/ 411467 w 484925"/>
                  <a:gd name="connsiteY78" fmla="*/ 146635 h 608627"/>
                  <a:gd name="connsiteX79" fmla="*/ 338008 w 484925"/>
                  <a:gd name="connsiteY79" fmla="*/ 73318 h 608627"/>
                  <a:gd name="connsiteX80" fmla="*/ 411467 w 484925"/>
                  <a:gd name="connsiteY80" fmla="*/ 0 h 608627"/>
                  <a:gd name="connsiteX81" fmla="*/ 129522 w 484925"/>
                  <a:gd name="connsiteY81" fmla="*/ 0 h 608627"/>
                  <a:gd name="connsiteX82" fmla="*/ 202945 w 484925"/>
                  <a:gd name="connsiteY82" fmla="*/ 73353 h 608627"/>
                  <a:gd name="connsiteX83" fmla="*/ 129522 w 484925"/>
                  <a:gd name="connsiteY83" fmla="*/ 146706 h 608627"/>
                  <a:gd name="connsiteX84" fmla="*/ 56099 w 484925"/>
                  <a:gd name="connsiteY84" fmla="*/ 73353 h 608627"/>
                  <a:gd name="connsiteX85" fmla="*/ 129522 w 484925"/>
                  <a:gd name="connsiteY85" fmla="*/ 0 h 608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Lst>
                <a:rect l="l" t="t" r="r" b="b"/>
                <a:pathLst>
                  <a:path w="484925" h="608627">
                    <a:moveTo>
                      <a:pt x="408227" y="203618"/>
                    </a:moveTo>
                    <a:cubicBezTo>
                      <a:pt x="388713" y="203618"/>
                      <a:pt x="372887" y="219419"/>
                      <a:pt x="372887" y="238749"/>
                    </a:cubicBezTo>
                    <a:lnTo>
                      <a:pt x="372887" y="573802"/>
                    </a:lnTo>
                    <a:lnTo>
                      <a:pt x="418829" y="573802"/>
                    </a:lnTo>
                    <a:lnTo>
                      <a:pt x="418829" y="422384"/>
                    </a:lnTo>
                    <a:cubicBezTo>
                      <a:pt x="418829" y="420390"/>
                      <a:pt x="419136" y="418395"/>
                      <a:pt x="419904" y="416401"/>
                    </a:cubicBezTo>
                    <a:lnTo>
                      <a:pt x="443567" y="351814"/>
                    </a:lnTo>
                    <a:lnTo>
                      <a:pt x="443567" y="238749"/>
                    </a:lnTo>
                    <a:cubicBezTo>
                      <a:pt x="443567" y="219419"/>
                      <a:pt x="427741" y="203618"/>
                      <a:pt x="408227" y="203618"/>
                    </a:cubicBezTo>
                    <a:close/>
                    <a:moveTo>
                      <a:pt x="64380" y="197322"/>
                    </a:moveTo>
                    <a:lnTo>
                      <a:pt x="60693" y="198550"/>
                    </a:lnTo>
                    <a:cubicBezTo>
                      <a:pt x="45174" y="203766"/>
                      <a:pt x="34879" y="218033"/>
                      <a:pt x="34879" y="234295"/>
                    </a:cubicBezTo>
                    <a:lnTo>
                      <a:pt x="34879" y="349663"/>
                    </a:lnTo>
                    <a:lnTo>
                      <a:pt x="76519" y="412870"/>
                    </a:lnTo>
                    <a:cubicBezTo>
                      <a:pt x="78363" y="415785"/>
                      <a:pt x="79285" y="419006"/>
                      <a:pt x="79285" y="422382"/>
                    </a:cubicBezTo>
                    <a:lnTo>
                      <a:pt x="79285" y="573802"/>
                    </a:lnTo>
                    <a:lnTo>
                      <a:pt x="179773" y="573802"/>
                    </a:lnTo>
                    <a:lnTo>
                      <a:pt x="179773" y="422382"/>
                    </a:lnTo>
                    <a:cubicBezTo>
                      <a:pt x="179773" y="419006"/>
                      <a:pt x="180695" y="415785"/>
                      <a:pt x="182539" y="412870"/>
                    </a:cubicBezTo>
                    <a:lnTo>
                      <a:pt x="224179" y="349663"/>
                    </a:lnTo>
                    <a:lnTo>
                      <a:pt x="224179" y="234295"/>
                    </a:lnTo>
                    <a:cubicBezTo>
                      <a:pt x="224179" y="218033"/>
                      <a:pt x="213730" y="203766"/>
                      <a:pt x="198365" y="198550"/>
                    </a:cubicBezTo>
                    <a:lnTo>
                      <a:pt x="194677" y="197322"/>
                    </a:lnTo>
                    <a:lnTo>
                      <a:pt x="145816" y="330946"/>
                    </a:lnTo>
                    <a:cubicBezTo>
                      <a:pt x="143358" y="337850"/>
                      <a:pt x="136904" y="342453"/>
                      <a:pt x="129529" y="342453"/>
                    </a:cubicBezTo>
                    <a:cubicBezTo>
                      <a:pt x="122154" y="342453"/>
                      <a:pt x="115700" y="337850"/>
                      <a:pt x="113088" y="330946"/>
                    </a:cubicBezTo>
                    <a:close/>
                    <a:moveTo>
                      <a:pt x="408227" y="168793"/>
                    </a:moveTo>
                    <a:cubicBezTo>
                      <a:pt x="446947" y="168793"/>
                      <a:pt x="478292" y="200243"/>
                      <a:pt x="478292" y="238749"/>
                    </a:cubicBezTo>
                    <a:lnTo>
                      <a:pt x="478292" y="354883"/>
                    </a:lnTo>
                    <a:cubicBezTo>
                      <a:pt x="478292" y="357030"/>
                      <a:pt x="477985" y="359025"/>
                      <a:pt x="477216" y="360866"/>
                    </a:cubicBezTo>
                    <a:lnTo>
                      <a:pt x="453708" y="425452"/>
                    </a:lnTo>
                    <a:lnTo>
                      <a:pt x="453708" y="591138"/>
                    </a:lnTo>
                    <a:cubicBezTo>
                      <a:pt x="453708" y="600803"/>
                      <a:pt x="445871" y="608627"/>
                      <a:pt x="436191" y="608627"/>
                    </a:cubicBezTo>
                    <a:lnTo>
                      <a:pt x="355524" y="608627"/>
                    </a:lnTo>
                    <a:cubicBezTo>
                      <a:pt x="345844" y="608627"/>
                      <a:pt x="338008" y="600803"/>
                      <a:pt x="338008" y="591138"/>
                    </a:cubicBezTo>
                    <a:lnTo>
                      <a:pt x="338008" y="238749"/>
                    </a:lnTo>
                    <a:cubicBezTo>
                      <a:pt x="338008" y="200243"/>
                      <a:pt x="369507" y="168793"/>
                      <a:pt x="408227" y="168793"/>
                    </a:cubicBezTo>
                    <a:close/>
                    <a:moveTo>
                      <a:pt x="69912" y="159275"/>
                    </a:moveTo>
                    <a:cubicBezTo>
                      <a:pt x="78824" y="156514"/>
                      <a:pt x="88196" y="161270"/>
                      <a:pt x="91423" y="169861"/>
                    </a:cubicBezTo>
                    <a:lnTo>
                      <a:pt x="112627" y="228159"/>
                    </a:lnTo>
                    <a:lnTo>
                      <a:pt x="120156" y="194868"/>
                    </a:lnTo>
                    <a:lnTo>
                      <a:pt x="107864" y="173543"/>
                    </a:lnTo>
                    <a:cubicBezTo>
                      <a:pt x="106174" y="170782"/>
                      <a:pt x="106174" y="167253"/>
                      <a:pt x="107864" y="164338"/>
                    </a:cubicBezTo>
                    <a:cubicBezTo>
                      <a:pt x="109400" y="161577"/>
                      <a:pt x="112473" y="159736"/>
                      <a:pt x="115854" y="159736"/>
                    </a:cubicBezTo>
                    <a:lnTo>
                      <a:pt x="143204" y="159736"/>
                    </a:lnTo>
                    <a:cubicBezTo>
                      <a:pt x="146584" y="159736"/>
                      <a:pt x="149504" y="161577"/>
                      <a:pt x="151194" y="164338"/>
                    </a:cubicBezTo>
                    <a:cubicBezTo>
                      <a:pt x="152884" y="167253"/>
                      <a:pt x="152884" y="170782"/>
                      <a:pt x="151194" y="173543"/>
                    </a:cubicBezTo>
                    <a:lnTo>
                      <a:pt x="138902" y="194868"/>
                    </a:lnTo>
                    <a:lnTo>
                      <a:pt x="146277" y="228159"/>
                    </a:lnTo>
                    <a:lnTo>
                      <a:pt x="167635" y="169861"/>
                    </a:lnTo>
                    <a:cubicBezTo>
                      <a:pt x="170708" y="161270"/>
                      <a:pt x="180234" y="156514"/>
                      <a:pt x="188992" y="159275"/>
                    </a:cubicBezTo>
                    <a:cubicBezTo>
                      <a:pt x="188992" y="159275"/>
                      <a:pt x="209121" y="165412"/>
                      <a:pt x="209274" y="165412"/>
                    </a:cubicBezTo>
                    <a:cubicBezTo>
                      <a:pt x="238929" y="175384"/>
                      <a:pt x="258904" y="202999"/>
                      <a:pt x="258904" y="234295"/>
                    </a:cubicBezTo>
                    <a:lnTo>
                      <a:pt x="258904" y="354879"/>
                    </a:lnTo>
                    <a:cubicBezTo>
                      <a:pt x="258904" y="358254"/>
                      <a:pt x="257982" y="361629"/>
                      <a:pt x="256138" y="364544"/>
                    </a:cubicBezTo>
                    <a:lnTo>
                      <a:pt x="214499" y="427598"/>
                    </a:lnTo>
                    <a:lnTo>
                      <a:pt x="214499" y="591138"/>
                    </a:lnTo>
                    <a:cubicBezTo>
                      <a:pt x="214499" y="600803"/>
                      <a:pt x="206662" y="608627"/>
                      <a:pt x="197136" y="608627"/>
                    </a:cubicBezTo>
                    <a:lnTo>
                      <a:pt x="61922" y="608627"/>
                    </a:lnTo>
                    <a:cubicBezTo>
                      <a:pt x="52242" y="608627"/>
                      <a:pt x="44559" y="600803"/>
                      <a:pt x="44559" y="591138"/>
                    </a:cubicBezTo>
                    <a:lnTo>
                      <a:pt x="44559" y="427598"/>
                    </a:lnTo>
                    <a:lnTo>
                      <a:pt x="2919" y="364544"/>
                    </a:lnTo>
                    <a:cubicBezTo>
                      <a:pt x="1076" y="361629"/>
                      <a:pt x="0" y="358254"/>
                      <a:pt x="0" y="354879"/>
                    </a:cubicBezTo>
                    <a:lnTo>
                      <a:pt x="0" y="234295"/>
                    </a:lnTo>
                    <a:cubicBezTo>
                      <a:pt x="0" y="202999"/>
                      <a:pt x="20128" y="175384"/>
                      <a:pt x="49783" y="165412"/>
                    </a:cubicBezTo>
                    <a:cubicBezTo>
                      <a:pt x="49937" y="165412"/>
                      <a:pt x="69912" y="159275"/>
                      <a:pt x="69912" y="159275"/>
                    </a:cubicBezTo>
                    <a:close/>
                    <a:moveTo>
                      <a:pt x="129522" y="34835"/>
                    </a:moveTo>
                    <a:cubicBezTo>
                      <a:pt x="108171" y="34835"/>
                      <a:pt x="90967" y="52022"/>
                      <a:pt x="90967" y="73353"/>
                    </a:cubicBezTo>
                    <a:cubicBezTo>
                      <a:pt x="90967" y="94530"/>
                      <a:pt x="108171" y="111871"/>
                      <a:pt x="129522" y="111871"/>
                    </a:cubicBezTo>
                    <a:cubicBezTo>
                      <a:pt x="150719" y="111871"/>
                      <a:pt x="168077" y="94530"/>
                      <a:pt x="168077" y="73353"/>
                    </a:cubicBezTo>
                    <a:cubicBezTo>
                      <a:pt x="168077" y="52022"/>
                      <a:pt x="150719" y="34835"/>
                      <a:pt x="129522" y="34835"/>
                    </a:cubicBezTo>
                    <a:close/>
                    <a:moveTo>
                      <a:pt x="411467" y="34818"/>
                    </a:moveTo>
                    <a:cubicBezTo>
                      <a:pt x="390259" y="34818"/>
                      <a:pt x="372893" y="51997"/>
                      <a:pt x="372893" y="73318"/>
                    </a:cubicBezTo>
                    <a:cubicBezTo>
                      <a:pt x="372893" y="94484"/>
                      <a:pt x="390259" y="111817"/>
                      <a:pt x="411467" y="111817"/>
                    </a:cubicBezTo>
                    <a:cubicBezTo>
                      <a:pt x="432828" y="111817"/>
                      <a:pt x="450194" y="94484"/>
                      <a:pt x="450194" y="73318"/>
                    </a:cubicBezTo>
                    <a:cubicBezTo>
                      <a:pt x="450194" y="51997"/>
                      <a:pt x="432828" y="34818"/>
                      <a:pt x="411467" y="34818"/>
                    </a:cubicBezTo>
                    <a:close/>
                    <a:moveTo>
                      <a:pt x="411467" y="0"/>
                    </a:moveTo>
                    <a:cubicBezTo>
                      <a:pt x="452038" y="0"/>
                      <a:pt x="484925" y="32824"/>
                      <a:pt x="484925" y="73318"/>
                    </a:cubicBezTo>
                    <a:cubicBezTo>
                      <a:pt x="484925" y="113657"/>
                      <a:pt x="452038" y="146635"/>
                      <a:pt x="411467" y="146635"/>
                    </a:cubicBezTo>
                    <a:cubicBezTo>
                      <a:pt x="371049" y="146635"/>
                      <a:pt x="338008" y="113657"/>
                      <a:pt x="338008" y="73318"/>
                    </a:cubicBezTo>
                    <a:cubicBezTo>
                      <a:pt x="338008" y="32824"/>
                      <a:pt x="371049" y="0"/>
                      <a:pt x="411467" y="0"/>
                    </a:cubicBezTo>
                    <a:close/>
                    <a:moveTo>
                      <a:pt x="129522" y="0"/>
                    </a:moveTo>
                    <a:cubicBezTo>
                      <a:pt x="169920" y="0"/>
                      <a:pt x="202945" y="32840"/>
                      <a:pt x="202945" y="73353"/>
                    </a:cubicBezTo>
                    <a:cubicBezTo>
                      <a:pt x="202945" y="113712"/>
                      <a:pt x="169920" y="146706"/>
                      <a:pt x="129522" y="146706"/>
                    </a:cubicBezTo>
                    <a:cubicBezTo>
                      <a:pt x="88970" y="146706"/>
                      <a:pt x="56099" y="113712"/>
                      <a:pt x="56099" y="73353"/>
                    </a:cubicBezTo>
                    <a:cubicBezTo>
                      <a:pt x="56099" y="32840"/>
                      <a:pt x="88970" y="0"/>
                      <a:pt x="129522" y="0"/>
                    </a:cubicBezTo>
                    <a:close/>
                  </a:path>
                </a:pathLst>
              </a:custGeom>
              <a:solidFill>
                <a:schemeClr val="accent1"/>
              </a:solidFill>
              <a:ln>
                <a:noFill/>
              </a:ln>
            </p:spPr>
          </p:sp>
          <p:sp>
            <p:nvSpPr>
              <p:cNvPr id="17" name="speech-balloon-outline-for-conversation_32562"/>
              <p:cNvSpPr>
                <a:spLocks noChangeAspect="1"/>
              </p:cNvSpPr>
              <p:nvPr/>
            </p:nvSpPr>
            <p:spPr bwMode="auto">
              <a:xfrm>
                <a:off x="1901317" y="3581399"/>
                <a:ext cx="779130" cy="609685"/>
              </a:xfrm>
              <a:custGeom>
                <a:avLst/>
                <a:gdLst>
                  <a:gd name="connsiteX0" fmla="*/ 120324 w 547435"/>
                  <a:gd name="connsiteY0" fmla="*/ 473308 h 595778"/>
                  <a:gd name="connsiteX1" fmla="*/ 49293 w 547435"/>
                  <a:gd name="connsiteY1" fmla="*/ 553420 h 595778"/>
                  <a:gd name="connsiteX2" fmla="*/ 40068 w 547435"/>
                  <a:gd name="connsiteY2" fmla="*/ 558024 h 595778"/>
                  <a:gd name="connsiteX3" fmla="*/ 194123 w 547435"/>
                  <a:gd name="connsiteY3" fmla="*/ 513824 h 595778"/>
                  <a:gd name="connsiteX4" fmla="*/ 120324 w 547435"/>
                  <a:gd name="connsiteY4" fmla="*/ 473308 h 595778"/>
                  <a:gd name="connsiteX5" fmla="*/ 200967 w 547435"/>
                  <a:gd name="connsiteY5" fmla="*/ 325211 h 595778"/>
                  <a:gd name="connsiteX6" fmla="*/ 317662 w 547435"/>
                  <a:gd name="connsiteY6" fmla="*/ 360098 h 595778"/>
                  <a:gd name="connsiteX7" fmla="*/ 350856 w 547435"/>
                  <a:gd name="connsiteY7" fmla="*/ 374855 h 595778"/>
                  <a:gd name="connsiteX8" fmla="*/ 405256 w 547435"/>
                  <a:gd name="connsiteY8" fmla="*/ 343498 h 595778"/>
                  <a:gd name="connsiteX9" fmla="*/ 414476 w 547435"/>
                  <a:gd name="connsiteY9" fmla="*/ 342576 h 595778"/>
                  <a:gd name="connsiteX10" fmla="*/ 415398 w 547435"/>
                  <a:gd name="connsiteY10" fmla="*/ 350876 h 595778"/>
                  <a:gd name="connsiteX11" fmla="*/ 350856 w 547435"/>
                  <a:gd name="connsiteY11" fmla="*/ 387766 h 595778"/>
                  <a:gd name="connsiteX12" fmla="*/ 349934 w 547435"/>
                  <a:gd name="connsiteY12" fmla="*/ 387766 h 595778"/>
                  <a:gd name="connsiteX13" fmla="*/ 308442 w 547435"/>
                  <a:gd name="connsiteY13" fmla="*/ 368399 h 595778"/>
                  <a:gd name="connsiteX14" fmla="*/ 166449 w 547435"/>
                  <a:gd name="connsiteY14" fmla="*/ 344420 h 595778"/>
                  <a:gd name="connsiteX15" fmla="*/ 143398 w 547435"/>
                  <a:gd name="connsiteY15" fmla="*/ 364710 h 595778"/>
                  <a:gd name="connsiteX16" fmla="*/ 136943 w 547435"/>
                  <a:gd name="connsiteY16" fmla="*/ 370243 h 595778"/>
                  <a:gd name="connsiteX17" fmla="*/ 131411 w 547435"/>
                  <a:gd name="connsiteY17" fmla="*/ 363787 h 595778"/>
                  <a:gd name="connsiteX18" fmla="*/ 162760 w 547435"/>
                  <a:gd name="connsiteY18" fmla="*/ 332431 h 595778"/>
                  <a:gd name="connsiteX19" fmla="*/ 200967 w 547435"/>
                  <a:gd name="connsiteY19" fmla="*/ 325211 h 595778"/>
                  <a:gd name="connsiteX20" fmla="*/ 200967 w 547435"/>
                  <a:gd name="connsiteY20" fmla="*/ 244137 h 595778"/>
                  <a:gd name="connsiteX21" fmla="*/ 317662 w 547435"/>
                  <a:gd name="connsiteY21" fmla="*/ 279024 h 595778"/>
                  <a:gd name="connsiteX22" fmla="*/ 350856 w 547435"/>
                  <a:gd name="connsiteY22" fmla="*/ 294703 h 595778"/>
                  <a:gd name="connsiteX23" fmla="*/ 405256 w 547435"/>
                  <a:gd name="connsiteY23" fmla="*/ 262424 h 595778"/>
                  <a:gd name="connsiteX24" fmla="*/ 414476 w 547435"/>
                  <a:gd name="connsiteY24" fmla="*/ 261502 h 595778"/>
                  <a:gd name="connsiteX25" fmla="*/ 415398 w 547435"/>
                  <a:gd name="connsiteY25" fmla="*/ 270724 h 595778"/>
                  <a:gd name="connsiteX26" fmla="*/ 350856 w 547435"/>
                  <a:gd name="connsiteY26" fmla="*/ 306692 h 595778"/>
                  <a:gd name="connsiteX27" fmla="*/ 349934 w 547435"/>
                  <a:gd name="connsiteY27" fmla="*/ 306692 h 595778"/>
                  <a:gd name="connsiteX28" fmla="*/ 308442 w 547435"/>
                  <a:gd name="connsiteY28" fmla="*/ 287325 h 595778"/>
                  <a:gd name="connsiteX29" fmla="*/ 166449 w 547435"/>
                  <a:gd name="connsiteY29" fmla="*/ 263346 h 595778"/>
                  <a:gd name="connsiteX30" fmla="*/ 143398 w 547435"/>
                  <a:gd name="connsiteY30" fmla="*/ 284558 h 595778"/>
                  <a:gd name="connsiteX31" fmla="*/ 136943 w 547435"/>
                  <a:gd name="connsiteY31" fmla="*/ 290092 h 595778"/>
                  <a:gd name="connsiteX32" fmla="*/ 131411 w 547435"/>
                  <a:gd name="connsiteY32" fmla="*/ 283636 h 595778"/>
                  <a:gd name="connsiteX33" fmla="*/ 162760 w 547435"/>
                  <a:gd name="connsiteY33" fmla="*/ 251357 h 595778"/>
                  <a:gd name="connsiteX34" fmla="*/ 200967 w 547435"/>
                  <a:gd name="connsiteY34" fmla="*/ 244137 h 595778"/>
                  <a:gd name="connsiteX35" fmla="*/ 201003 w 547435"/>
                  <a:gd name="connsiteY35" fmla="*/ 149692 h 595778"/>
                  <a:gd name="connsiteX36" fmla="*/ 317759 w 547435"/>
                  <a:gd name="connsiteY36" fmla="*/ 184190 h 595778"/>
                  <a:gd name="connsiteX37" fmla="*/ 350969 w 547435"/>
                  <a:gd name="connsiteY37" fmla="*/ 199869 h 595778"/>
                  <a:gd name="connsiteX38" fmla="*/ 405398 w 547435"/>
                  <a:gd name="connsiteY38" fmla="*/ 168512 h 595778"/>
                  <a:gd name="connsiteX39" fmla="*/ 414623 w 547435"/>
                  <a:gd name="connsiteY39" fmla="*/ 167590 h 595778"/>
                  <a:gd name="connsiteX40" fmla="*/ 415545 w 547435"/>
                  <a:gd name="connsiteY40" fmla="*/ 175890 h 595778"/>
                  <a:gd name="connsiteX41" fmla="*/ 350969 w 547435"/>
                  <a:gd name="connsiteY41" fmla="*/ 211858 h 595778"/>
                  <a:gd name="connsiteX42" fmla="*/ 350047 w 547435"/>
                  <a:gd name="connsiteY42" fmla="*/ 211858 h 595778"/>
                  <a:gd name="connsiteX43" fmla="*/ 308534 w 547435"/>
                  <a:gd name="connsiteY43" fmla="*/ 192491 h 595778"/>
                  <a:gd name="connsiteX44" fmla="*/ 166467 w 547435"/>
                  <a:gd name="connsiteY44" fmla="*/ 168512 h 595778"/>
                  <a:gd name="connsiteX45" fmla="*/ 143404 w 547435"/>
                  <a:gd name="connsiteY45" fmla="*/ 189724 h 595778"/>
                  <a:gd name="connsiteX46" fmla="*/ 136946 w 547435"/>
                  <a:gd name="connsiteY46" fmla="*/ 195258 h 595778"/>
                  <a:gd name="connsiteX47" fmla="*/ 131411 w 547435"/>
                  <a:gd name="connsiteY47" fmla="*/ 188802 h 595778"/>
                  <a:gd name="connsiteX48" fmla="*/ 162777 w 547435"/>
                  <a:gd name="connsiteY48" fmla="*/ 157445 h 595778"/>
                  <a:gd name="connsiteX49" fmla="*/ 201003 w 547435"/>
                  <a:gd name="connsiteY49" fmla="*/ 149692 h 595778"/>
                  <a:gd name="connsiteX50" fmla="*/ 282682 w 547435"/>
                  <a:gd name="connsiteY50" fmla="*/ 36834 h 595778"/>
                  <a:gd name="connsiteX51" fmla="*/ 54828 w 547435"/>
                  <a:gd name="connsiteY51" fmla="*/ 264279 h 595778"/>
                  <a:gd name="connsiteX52" fmla="*/ 282682 w 547435"/>
                  <a:gd name="connsiteY52" fmla="*/ 492645 h 595778"/>
                  <a:gd name="connsiteX53" fmla="*/ 510536 w 547435"/>
                  <a:gd name="connsiteY53" fmla="*/ 264279 h 595778"/>
                  <a:gd name="connsiteX54" fmla="*/ 282682 w 547435"/>
                  <a:gd name="connsiteY54" fmla="*/ 36834 h 595778"/>
                  <a:gd name="connsiteX55" fmla="*/ 282682 w 547435"/>
                  <a:gd name="connsiteY55" fmla="*/ 0 h 595778"/>
                  <a:gd name="connsiteX56" fmla="*/ 547435 w 547435"/>
                  <a:gd name="connsiteY56" fmla="*/ 264279 h 595778"/>
                  <a:gd name="connsiteX57" fmla="*/ 282682 w 547435"/>
                  <a:gd name="connsiteY57" fmla="*/ 529478 h 595778"/>
                  <a:gd name="connsiteX58" fmla="*/ 251317 w 547435"/>
                  <a:gd name="connsiteY58" fmla="*/ 527637 h 595778"/>
                  <a:gd name="connsiteX59" fmla="*/ 49293 w 547435"/>
                  <a:gd name="connsiteY59" fmla="*/ 595778 h 595778"/>
                  <a:gd name="connsiteX60" fmla="*/ 12394 w 547435"/>
                  <a:gd name="connsiteY60" fmla="*/ 585649 h 595778"/>
                  <a:gd name="connsiteX61" fmla="*/ 401 w 547435"/>
                  <a:gd name="connsiteY61" fmla="*/ 554341 h 595778"/>
                  <a:gd name="connsiteX62" fmla="*/ 40068 w 547435"/>
                  <a:gd name="connsiteY62" fmla="*/ 518428 h 595778"/>
                  <a:gd name="connsiteX63" fmla="*/ 90805 w 547435"/>
                  <a:gd name="connsiteY63" fmla="*/ 446604 h 595778"/>
                  <a:gd name="connsiteX64" fmla="*/ 17928 w 547435"/>
                  <a:gd name="connsiteY64" fmla="*/ 264279 h 595778"/>
                  <a:gd name="connsiteX65" fmla="*/ 282682 w 547435"/>
                  <a:gd name="connsiteY65" fmla="*/ 0 h 5957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Lst>
                <a:rect l="l" t="t" r="r" b="b"/>
                <a:pathLst>
                  <a:path w="547435" h="595778">
                    <a:moveTo>
                      <a:pt x="120324" y="473308"/>
                    </a:moveTo>
                    <a:cubicBezTo>
                      <a:pt x="110177" y="501853"/>
                      <a:pt x="88960" y="543291"/>
                      <a:pt x="49293" y="553420"/>
                    </a:cubicBezTo>
                    <a:cubicBezTo>
                      <a:pt x="45603" y="554341"/>
                      <a:pt x="41913" y="556182"/>
                      <a:pt x="40068" y="558024"/>
                    </a:cubicBezTo>
                    <a:cubicBezTo>
                      <a:pt x="52983" y="560787"/>
                      <a:pt x="92650" y="559866"/>
                      <a:pt x="194123" y="513824"/>
                    </a:cubicBezTo>
                    <a:cubicBezTo>
                      <a:pt x="167371" y="504616"/>
                      <a:pt x="142464" y="490803"/>
                      <a:pt x="120324" y="473308"/>
                    </a:cubicBezTo>
                    <a:close/>
                    <a:moveTo>
                      <a:pt x="200967" y="325211"/>
                    </a:moveTo>
                    <a:cubicBezTo>
                      <a:pt x="242978" y="322574"/>
                      <a:pt x="292767" y="333814"/>
                      <a:pt x="317662" y="360098"/>
                    </a:cubicBezTo>
                    <a:cubicBezTo>
                      <a:pt x="327805" y="370243"/>
                      <a:pt x="337947" y="375777"/>
                      <a:pt x="350856" y="374855"/>
                    </a:cubicBezTo>
                    <a:cubicBezTo>
                      <a:pt x="379439" y="373932"/>
                      <a:pt x="405256" y="343498"/>
                      <a:pt x="405256" y="343498"/>
                    </a:cubicBezTo>
                    <a:cubicBezTo>
                      <a:pt x="408022" y="340731"/>
                      <a:pt x="411710" y="340731"/>
                      <a:pt x="414476" y="342576"/>
                    </a:cubicBezTo>
                    <a:cubicBezTo>
                      <a:pt x="417242" y="344420"/>
                      <a:pt x="417242" y="348109"/>
                      <a:pt x="415398" y="350876"/>
                    </a:cubicBezTo>
                    <a:cubicBezTo>
                      <a:pt x="413554" y="352720"/>
                      <a:pt x="385893" y="386844"/>
                      <a:pt x="350856" y="387766"/>
                    </a:cubicBezTo>
                    <a:cubicBezTo>
                      <a:pt x="350856" y="387766"/>
                      <a:pt x="349934" y="387766"/>
                      <a:pt x="349934" y="387766"/>
                    </a:cubicBezTo>
                    <a:cubicBezTo>
                      <a:pt x="334259" y="387766"/>
                      <a:pt x="320429" y="381310"/>
                      <a:pt x="308442" y="368399"/>
                    </a:cubicBezTo>
                    <a:cubicBezTo>
                      <a:pt x="278937" y="337042"/>
                      <a:pt x="207018" y="329664"/>
                      <a:pt x="166449" y="344420"/>
                    </a:cubicBezTo>
                    <a:cubicBezTo>
                      <a:pt x="158150" y="347187"/>
                      <a:pt x="144320" y="353643"/>
                      <a:pt x="143398" y="364710"/>
                    </a:cubicBezTo>
                    <a:cubicBezTo>
                      <a:pt x="143398" y="368399"/>
                      <a:pt x="139710" y="371166"/>
                      <a:pt x="136943" y="370243"/>
                    </a:cubicBezTo>
                    <a:cubicBezTo>
                      <a:pt x="133255" y="370243"/>
                      <a:pt x="131411" y="367477"/>
                      <a:pt x="131411" y="363787"/>
                    </a:cubicBezTo>
                    <a:cubicBezTo>
                      <a:pt x="131411" y="354565"/>
                      <a:pt x="137865" y="341653"/>
                      <a:pt x="162760" y="332431"/>
                    </a:cubicBezTo>
                    <a:cubicBezTo>
                      <a:pt x="173825" y="328511"/>
                      <a:pt x="186964" y="326090"/>
                      <a:pt x="200967" y="325211"/>
                    </a:cubicBezTo>
                    <a:close/>
                    <a:moveTo>
                      <a:pt x="200967" y="244137"/>
                    </a:moveTo>
                    <a:cubicBezTo>
                      <a:pt x="242978" y="241500"/>
                      <a:pt x="292767" y="252740"/>
                      <a:pt x="317662" y="279024"/>
                    </a:cubicBezTo>
                    <a:cubicBezTo>
                      <a:pt x="327805" y="290092"/>
                      <a:pt x="337947" y="294703"/>
                      <a:pt x="350856" y="294703"/>
                    </a:cubicBezTo>
                    <a:cubicBezTo>
                      <a:pt x="379439" y="293781"/>
                      <a:pt x="405256" y="263346"/>
                      <a:pt x="405256" y="262424"/>
                    </a:cubicBezTo>
                    <a:cubicBezTo>
                      <a:pt x="408022" y="259657"/>
                      <a:pt x="411710" y="259657"/>
                      <a:pt x="414476" y="261502"/>
                    </a:cubicBezTo>
                    <a:cubicBezTo>
                      <a:pt x="417242" y="264268"/>
                      <a:pt x="417242" y="267957"/>
                      <a:pt x="415398" y="270724"/>
                    </a:cubicBezTo>
                    <a:cubicBezTo>
                      <a:pt x="413554" y="271646"/>
                      <a:pt x="385893" y="305770"/>
                      <a:pt x="350856" y="306692"/>
                    </a:cubicBezTo>
                    <a:cubicBezTo>
                      <a:pt x="350856" y="306692"/>
                      <a:pt x="349934" y="306692"/>
                      <a:pt x="349934" y="306692"/>
                    </a:cubicBezTo>
                    <a:cubicBezTo>
                      <a:pt x="334259" y="306692"/>
                      <a:pt x="320429" y="300236"/>
                      <a:pt x="308442" y="287325"/>
                    </a:cubicBezTo>
                    <a:cubicBezTo>
                      <a:pt x="278937" y="256890"/>
                      <a:pt x="207018" y="248590"/>
                      <a:pt x="166449" y="263346"/>
                    </a:cubicBezTo>
                    <a:cubicBezTo>
                      <a:pt x="158150" y="266113"/>
                      <a:pt x="144320" y="273491"/>
                      <a:pt x="143398" y="284558"/>
                    </a:cubicBezTo>
                    <a:cubicBezTo>
                      <a:pt x="143398" y="287325"/>
                      <a:pt x="139710" y="290092"/>
                      <a:pt x="136943" y="290092"/>
                    </a:cubicBezTo>
                    <a:cubicBezTo>
                      <a:pt x="133255" y="289169"/>
                      <a:pt x="131411" y="286403"/>
                      <a:pt x="131411" y="283636"/>
                    </a:cubicBezTo>
                    <a:cubicBezTo>
                      <a:pt x="131411" y="273491"/>
                      <a:pt x="137865" y="260579"/>
                      <a:pt x="162760" y="251357"/>
                    </a:cubicBezTo>
                    <a:cubicBezTo>
                      <a:pt x="173825" y="247437"/>
                      <a:pt x="186964" y="245016"/>
                      <a:pt x="200967" y="244137"/>
                    </a:cubicBezTo>
                    <a:close/>
                    <a:moveTo>
                      <a:pt x="201003" y="149692"/>
                    </a:moveTo>
                    <a:cubicBezTo>
                      <a:pt x="243035" y="146666"/>
                      <a:pt x="292851" y="157906"/>
                      <a:pt x="317759" y="184190"/>
                    </a:cubicBezTo>
                    <a:cubicBezTo>
                      <a:pt x="327906" y="195258"/>
                      <a:pt x="338054" y="199869"/>
                      <a:pt x="350969" y="199869"/>
                    </a:cubicBezTo>
                    <a:cubicBezTo>
                      <a:pt x="379567" y="198947"/>
                      <a:pt x="405398" y="168512"/>
                      <a:pt x="405398" y="168512"/>
                    </a:cubicBezTo>
                    <a:cubicBezTo>
                      <a:pt x="408165" y="165745"/>
                      <a:pt x="411855" y="164823"/>
                      <a:pt x="414623" y="167590"/>
                    </a:cubicBezTo>
                    <a:cubicBezTo>
                      <a:pt x="417390" y="169434"/>
                      <a:pt x="417390" y="173123"/>
                      <a:pt x="415545" y="175890"/>
                    </a:cubicBezTo>
                    <a:cubicBezTo>
                      <a:pt x="413700" y="177735"/>
                      <a:pt x="386025" y="210936"/>
                      <a:pt x="350969" y="211858"/>
                    </a:cubicBezTo>
                    <a:cubicBezTo>
                      <a:pt x="350969" y="211858"/>
                      <a:pt x="350047" y="211858"/>
                      <a:pt x="350047" y="211858"/>
                    </a:cubicBezTo>
                    <a:cubicBezTo>
                      <a:pt x="334364" y="211858"/>
                      <a:pt x="320526" y="205402"/>
                      <a:pt x="308534" y="192491"/>
                    </a:cubicBezTo>
                    <a:cubicBezTo>
                      <a:pt x="279013" y="162056"/>
                      <a:pt x="207057" y="154678"/>
                      <a:pt x="166467" y="168512"/>
                    </a:cubicBezTo>
                    <a:cubicBezTo>
                      <a:pt x="158164" y="171279"/>
                      <a:pt x="144326" y="178657"/>
                      <a:pt x="143404" y="189724"/>
                    </a:cubicBezTo>
                    <a:cubicBezTo>
                      <a:pt x="143404" y="192491"/>
                      <a:pt x="139714" y="195258"/>
                      <a:pt x="136946" y="195258"/>
                    </a:cubicBezTo>
                    <a:cubicBezTo>
                      <a:pt x="133256" y="195258"/>
                      <a:pt x="131411" y="191569"/>
                      <a:pt x="131411" y="188802"/>
                    </a:cubicBezTo>
                    <a:cubicBezTo>
                      <a:pt x="131411" y="179579"/>
                      <a:pt x="137869" y="165745"/>
                      <a:pt x="162777" y="157445"/>
                    </a:cubicBezTo>
                    <a:cubicBezTo>
                      <a:pt x="173847" y="153295"/>
                      <a:pt x="186993" y="150701"/>
                      <a:pt x="201003" y="149692"/>
                    </a:cubicBezTo>
                    <a:close/>
                    <a:moveTo>
                      <a:pt x="282682" y="36834"/>
                    </a:moveTo>
                    <a:cubicBezTo>
                      <a:pt x="157224" y="36834"/>
                      <a:pt x="54828" y="139046"/>
                      <a:pt x="54828" y="264279"/>
                    </a:cubicBezTo>
                    <a:cubicBezTo>
                      <a:pt x="54828" y="390433"/>
                      <a:pt x="157224" y="492645"/>
                      <a:pt x="282682" y="492645"/>
                    </a:cubicBezTo>
                    <a:cubicBezTo>
                      <a:pt x="408140" y="492645"/>
                      <a:pt x="510536" y="390433"/>
                      <a:pt x="510536" y="264279"/>
                    </a:cubicBezTo>
                    <a:cubicBezTo>
                      <a:pt x="510536" y="139046"/>
                      <a:pt x="408140" y="36834"/>
                      <a:pt x="282682" y="36834"/>
                    </a:cubicBezTo>
                    <a:close/>
                    <a:moveTo>
                      <a:pt x="282682" y="0"/>
                    </a:moveTo>
                    <a:cubicBezTo>
                      <a:pt x="429357" y="0"/>
                      <a:pt x="547435" y="118788"/>
                      <a:pt x="547435" y="264279"/>
                    </a:cubicBezTo>
                    <a:cubicBezTo>
                      <a:pt x="547435" y="410691"/>
                      <a:pt x="429357" y="529478"/>
                      <a:pt x="282682" y="529478"/>
                    </a:cubicBezTo>
                    <a:cubicBezTo>
                      <a:pt x="271612" y="529478"/>
                      <a:pt x="261465" y="528558"/>
                      <a:pt x="251317" y="527637"/>
                    </a:cubicBezTo>
                    <a:cubicBezTo>
                      <a:pt x="183053" y="560787"/>
                      <a:pt x="101875" y="595778"/>
                      <a:pt x="49293" y="595778"/>
                    </a:cubicBezTo>
                    <a:cubicBezTo>
                      <a:pt x="34533" y="595778"/>
                      <a:pt x="21618" y="593016"/>
                      <a:pt x="12394" y="585649"/>
                    </a:cubicBezTo>
                    <a:cubicBezTo>
                      <a:pt x="3169" y="578282"/>
                      <a:pt x="-1444" y="567232"/>
                      <a:pt x="401" y="554341"/>
                    </a:cubicBezTo>
                    <a:cubicBezTo>
                      <a:pt x="4091" y="538687"/>
                      <a:pt x="19773" y="523953"/>
                      <a:pt x="40068" y="518428"/>
                    </a:cubicBezTo>
                    <a:cubicBezTo>
                      <a:pt x="67743" y="510141"/>
                      <a:pt x="84347" y="468703"/>
                      <a:pt x="90805" y="446604"/>
                    </a:cubicBezTo>
                    <a:cubicBezTo>
                      <a:pt x="45603" y="398720"/>
                      <a:pt x="17928" y="335183"/>
                      <a:pt x="17928" y="264279"/>
                    </a:cubicBezTo>
                    <a:cubicBezTo>
                      <a:pt x="17928" y="118788"/>
                      <a:pt x="136929" y="0"/>
                      <a:pt x="282682" y="0"/>
                    </a:cubicBezTo>
                    <a:close/>
                  </a:path>
                </a:pathLst>
              </a:custGeom>
              <a:solidFill>
                <a:schemeClr val="accent1"/>
              </a:solidFill>
              <a:ln>
                <a:noFill/>
              </a:ln>
            </p:spPr>
            <p:txBody>
              <a:bodyPr/>
              <a:lstStyle/>
              <a:p>
                <a:endParaRPr lang="zh-CN" altLang="en-US"/>
              </a:p>
            </p:txBody>
          </p:sp>
        </p:grpSp>
        <p:sp>
          <p:nvSpPr>
            <p:cNvPr id="23" name="iś1ide">
              <a:extLst>
                <a:ext uri="{FF2B5EF4-FFF2-40B4-BE49-F238E27FC236}">
                  <a16:creationId xmlns:a16="http://schemas.microsoft.com/office/drawing/2014/main" id="{4D77ABE1-7EA1-436A-B486-5E1E381AA4BE}"/>
                </a:ext>
              </a:extLst>
            </p:cNvPr>
            <p:cNvSpPr/>
            <p:nvPr/>
          </p:nvSpPr>
          <p:spPr bwMode="auto">
            <a:xfrm>
              <a:off x="402670" y="4316014"/>
              <a:ext cx="583448" cy="15469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0000" tIns="46800" rIns="90000" bIns="46800" anchor="t" anchorCtr="0">
              <a:no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a:lnSpc>
                  <a:spcPct val="150000"/>
                </a:lnSpc>
                <a:tabLst>
                  <a:tab pos="228594" algn="l"/>
                </a:tabLst>
                <a:defRPr/>
              </a:pPr>
              <a:r>
                <a:rPr lang="zh-CN" altLang="en-US" sz="1600" dirty="0" smtClean="0">
                  <a:latin typeface="+mn-ea"/>
                </a:rPr>
                <a:t>人</a:t>
              </a:r>
              <a:endParaRPr lang="en-US" altLang="zh-CN" sz="1600" dirty="0" smtClean="0">
                <a:latin typeface="+mn-ea"/>
              </a:endParaRPr>
            </a:p>
            <a:p>
              <a:pPr>
                <a:lnSpc>
                  <a:spcPct val="150000"/>
                </a:lnSpc>
                <a:tabLst>
                  <a:tab pos="228594" algn="l"/>
                </a:tabLst>
                <a:defRPr/>
              </a:pPr>
              <a:r>
                <a:rPr lang="zh-CN" altLang="en-US" sz="1600" dirty="0" smtClean="0">
                  <a:latin typeface="+mn-ea"/>
                </a:rPr>
                <a:t>工</a:t>
              </a:r>
              <a:endParaRPr lang="en-US" altLang="zh-CN" sz="1600" dirty="0" smtClean="0">
                <a:latin typeface="+mn-ea"/>
              </a:endParaRPr>
            </a:p>
            <a:p>
              <a:pPr>
                <a:lnSpc>
                  <a:spcPct val="150000"/>
                </a:lnSpc>
                <a:tabLst>
                  <a:tab pos="228594" algn="l"/>
                </a:tabLst>
                <a:defRPr/>
              </a:pPr>
              <a:r>
                <a:rPr lang="zh-CN" altLang="en-US" sz="1600" dirty="0" smtClean="0">
                  <a:latin typeface="+mn-ea"/>
                </a:rPr>
                <a:t>管</a:t>
              </a:r>
              <a:endParaRPr lang="en-US" altLang="zh-CN" sz="1600" dirty="0" smtClean="0">
                <a:latin typeface="+mn-ea"/>
              </a:endParaRPr>
            </a:p>
            <a:p>
              <a:pPr>
                <a:lnSpc>
                  <a:spcPct val="150000"/>
                </a:lnSpc>
                <a:tabLst>
                  <a:tab pos="228594" algn="l"/>
                </a:tabLst>
                <a:defRPr/>
              </a:pPr>
              <a:r>
                <a:rPr lang="zh-CN" altLang="en-US" sz="1600" dirty="0" smtClean="0">
                  <a:latin typeface="+mn-ea"/>
                </a:rPr>
                <a:t>理</a:t>
              </a:r>
              <a:endParaRPr lang="en-US" altLang="zh-CN" sz="1600" dirty="0">
                <a:latin typeface="+mn-ea"/>
              </a:endParaRPr>
            </a:p>
          </p:txBody>
        </p:sp>
      </p:grpSp>
      <p:sp>
        <p:nvSpPr>
          <p:cNvPr id="18" name="cancel-mark_17124"/>
          <p:cNvSpPr>
            <a:spLocks noChangeAspect="1"/>
          </p:cNvSpPr>
          <p:nvPr/>
        </p:nvSpPr>
        <p:spPr bwMode="auto">
          <a:xfrm>
            <a:off x="1608495" y="4650280"/>
            <a:ext cx="1679171" cy="1676673"/>
          </a:xfrm>
          <a:custGeom>
            <a:avLst/>
            <a:gdLst>
              <a:gd name="T0" fmla="*/ 127 w 3392"/>
              <a:gd name="T1" fmla="*/ 2898 h 3392"/>
              <a:gd name="T2" fmla="*/ 473 w 3392"/>
              <a:gd name="T3" fmla="*/ 3248 h 3392"/>
              <a:gd name="T4" fmla="*/ 936 w 3392"/>
              <a:gd name="T5" fmla="*/ 3251 h 3392"/>
              <a:gd name="T6" fmla="*/ 1691 w 3392"/>
              <a:gd name="T7" fmla="*/ 2508 h 3392"/>
              <a:gd name="T8" fmla="*/ 2434 w 3392"/>
              <a:gd name="T9" fmla="*/ 3262 h 3392"/>
              <a:gd name="T10" fmla="*/ 2898 w 3392"/>
              <a:gd name="T11" fmla="*/ 3265 h 3392"/>
              <a:gd name="T12" fmla="*/ 3248 w 3392"/>
              <a:gd name="T13" fmla="*/ 2920 h 3392"/>
              <a:gd name="T14" fmla="*/ 3251 w 3392"/>
              <a:gd name="T15" fmla="*/ 2456 h 3392"/>
              <a:gd name="T16" fmla="*/ 2508 w 3392"/>
              <a:gd name="T17" fmla="*/ 1702 h 3392"/>
              <a:gd name="T18" fmla="*/ 3262 w 3392"/>
              <a:gd name="T19" fmla="*/ 959 h 3392"/>
              <a:gd name="T20" fmla="*/ 3265 w 3392"/>
              <a:gd name="T21" fmla="*/ 495 h 3392"/>
              <a:gd name="T22" fmla="*/ 2920 w 3392"/>
              <a:gd name="T23" fmla="*/ 145 h 3392"/>
              <a:gd name="T24" fmla="*/ 2456 w 3392"/>
              <a:gd name="T25" fmla="*/ 141 h 3392"/>
              <a:gd name="T26" fmla="*/ 1702 w 3392"/>
              <a:gd name="T27" fmla="*/ 885 h 3392"/>
              <a:gd name="T28" fmla="*/ 959 w 3392"/>
              <a:gd name="T29" fmla="*/ 131 h 3392"/>
              <a:gd name="T30" fmla="*/ 495 w 3392"/>
              <a:gd name="T31" fmla="*/ 127 h 3392"/>
              <a:gd name="T32" fmla="*/ 145 w 3392"/>
              <a:gd name="T33" fmla="*/ 473 h 3392"/>
              <a:gd name="T34" fmla="*/ 141 w 3392"/>
              <a:gd name="T35" fmla="*/ 936 h 3392"/>
              <a:gd name="T36" fmla="*/ 885 w 3392"/>
              <a:gd name="T37" fmla="*/ 1690 h 3392"/>
              <a:gd name="T38" fmla="*/ 131 w 3392"/>
              <a:gd name="T39" fmla="*/ 2434 h 3392"/>
              <a:gd name="T40" fmla="*/ 127 w 3392"/>
              <a:gd name="T41" fmla="*/ 2898 h 3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392" h="3392">
                <a:moveTo>
                  <a:pt x="127" y="2898"/>
                </a:moveTo>
                <a:lnTo>
                  <a:pt x="473" y="3248"/>
                </a:lnTo>
                <a:cubicBezTo>
                  <a:pt x="600" y="3377"/>
                  <a:pt x="808" y="3378"/>
                  <a:pt x="936" y="3251"/>
                </a:cubicBezTo>
                <a:lnTo>
                  <a:pt x="1691" y="2508"/>
                </a:lnTo>
                <a:lnTo>
                  <a:pt x="2434" y="3262"/>
                </a:lnTo>
                <a:cubicBezTo>
                  <a:pt x="2561" y="3391"/>
                  <a:pt x="2769" y="3392"/>
                  <a:pt x="2898" y="3265"/>
                </a:cubicBezTo>
                <a:lnTo>
                  <a:pt x="3248" y="2920"/>
                </a:lnTo>
                <a:cubicBezTo>
                  <a:pt x="3377" y="2793"/>
                  <a:pt x="3378" y="2585"/>
                  <a:pt x="3251" y="2456"/>
                </a:cubicBezTo>
                <a:lnTo>
                  <a:pt x="2508" y="1702"/>
                </a:lnTo>
                <a:lnTo>
                  <a:pt x="3262" y="959"/>
                </a:lnTo>
                <a:cubicBezTo>
                  <a:pt x="3391" y="832"/>
                  <a:pt x="3392" y="624"/>
                  <a:pt x="3265" y="495"/>
                </a:cubicBezTo>
                <a:lnTo>
                  <a:pt x="2920" y="145"/>
                </a:lnTo>
                <a:cubicBezTo>
                  <a:pt x="2793" y="16"/>
                  <a:pt x="2585" y="14"/>
                  <a:pt x="2456" y="141"/>
                </a:cubicBezTo>
                <a:lnTo>
                  <a:pt x="1702" y="885"/>
                </a:lnTo>
                <a:lnTo>
                  <a:pt x="959" y="131"/>
                </a:lnTo>
                <a:cubicBezTo>
                  <a:pt x="832" y="2"/>
                  <a:pt x="624" y="0"/>
                  <a:pt x="495" y="127"/>
                </a:cubicBezTo>
                <a:lnTo>
                  <a:pt x="145" y="473"/>
                </a:lnTo>
                <a:cubicBezTo>
                  <a:pt x="16" y="600"/>
                  <a:pt x="14" y="807"/>
                  <a:pt x="141" y="936"/>
                </a:cubicBezTo>
                <a:lnTo>
                  <a:pt x="885" y="1690"/>
                </a:lnTo>
                <a:lnTo>
                  <a:pt x="131" y="2434"/>
                </a:lnTo>
                <a:cubicBezTo>
                  <a:pt x="2" y="2561"/>
                  <a:pt x="0" y="2769"/>
                  <a:pt x="127" y="2898"/>
                </a:cubicBezTo>
                <a:close/>
              </a:path>
            </a:pathLst>
          </a:custGeom>
          <a:solidFill>
            <a:srgbClr val="FF0000"/>
          </a:solidFill>
          <a:ln>
            <a:solidFill>
              <a:srgbClr val="FF0000"/>
            </a:solidFill>
          </a:ln>
        </p:spPr>
      </p:sp>
    </p:spTree>
    <p:extLst>
      <p:ext uri="{BB962C8B-B14F-4D97-AF65-F5344CB8AC3E}">
        <p14:creationId xmlns:p14="http://schemas.microsoft.com/office/powerpoint/2010/main" val="345685720"/>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smtClean="0"/>
              <a:t>站位表管理</a:t>
            </a:r>
            <a:endParaRPr lang="zh-CN" altLang="en-US" dirty="0"/>
          </a:p>
        </p:txBody>
      </p:sp>
      <p:pic>
        <p:nvPicPr>
          <p:cNvPr id="5" name="图片 4"/>
          <p:cNvPicPr>
            <a:picLocks noChangeAspect="1"/>
          </p:cNvPicPr>
          <p:nvPr/>
        </p:nvPicPr>
        <p:blipFill rotWithShape="1">
          <a:blip r:embed="rId3"/>
          <a:srcRect b="37806"/>
          <a:stretch/>
        </p:blipFill>
        <p:spPr>
          <a:xfrm>
            <a:off x="537099" y="3410365"/>
            <a:ext cx="5429427" cy="2667706"/>
          </a:xfrm>
          <a:prstGeom prst="rect">
            <a:avLst/>
          </a:prstGeom>
        </p:spPr>
      </p:pic>
      <p:sp>
        <p:nvSpPr>
          <p:cNvPr id="17" name="ïşḻíḋé">
            <a:extLst>
              <a:ext uri="{FF2B5EF4-FFF2-40B4-BE49-F238E27FC236}">
                <a16:creationId xmlns:a16="http://schemas.microsoft.com/office/drawing/2014/main" id="{00C30ADA-D779-41B0-B0DD-FF13725E9809}"/>
              </a:ext>
            </a:extLst>
          </p:cNvPr>
          <p:cNvSpPr/>
          <p:nvPr/>
        </p:nvSpPr>
        <p:spPr>
          <a:xfrm flipH="1">
            <a:off x="175610" y="1579811"/>
            <a:ext cx="5740313" cy="1199247"/>
          </a:xfrm>
          <a:prstGeom prst="homePlate">
            <a:avLst>
              <a:gd name="adj" fmla="val 33591"/>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wrap="square" lIns="91440" tIns="45720" rIns="91440" bIns="45720" rtlCol="0" anchor="ctr">
            <a:noAutofit/>
          </a:bodyPr>
          <a:lstStyle/>
          <a:p>
            <a:endParaRPr lang="en-US" altLang="zh-CN" sz="1200" dirty="0">
              <a:solidFill>
                <a:schemeClr val="tx1"/>
              </a:solidFill>
            </a:endParaRPr>
          </a:p>
        </p:txBody>
      </p:sp>
      <p:sp>
        <p:nvSpPr>
          <p:cNvPr id="18" name="iş1îďè">
            <a:extLst>
              <a:ext uri="{FF2B5EF4-FFF2-40B4-BE49-F238E27FC236}">
                <a16:creationId xmlns:a16="http://schemas.microsoft.com/office/drawing/2014/main" id="{DF5E9077-C10C-4FFB-9DA3-4934D641CDF8}"/>
              </a:ext>
            </a:extLst>
          </p:cNvPr>
          <p:cNvSpPr txBox="1"/>
          <p:nvPr/>
        </p:nvSpPr>
        <p:spPr>
          <a:xfrm>
            <a:off x="616914" y="1579812"/>
            <a:ext cx="3383410" cy="499702"/>
          </a:xfrm>
          <a:prstGeom prst="rect">
            <a:avLst/>
          </a:prstGeom>
          <a:noFill/>
        </p:spPr>
        <p:txBody>
          <a:bodyPr wrap="none" lIns="90000" tIns="46800" rIns="90000" bIns="46800" rtlCol="0" anchor="ctr" anchorCtr="0">
            <a:normAutofit/>
          </a:bodyPr>
          <a:lstStyle/>
          <a:p>
            <a:r>
              <a:rPr lang="zh-CN" altLang="en-US" b="1" dirty="0" smtClean="0">
                <a:solidFill>
                  <a:schemeClr val="accent1"/>
                </a:solidFill>
              </a:rPr>
              <a:t>站位表管理</a:t>
            </a:r>
            <a:endParaRPr lang="en-US" altLang="zh-CN" b="1" dirty="0">
              <a:solidFill>
                <a:schemeClr val="accent1"/>
              </a:solidFill>
            </a:endParaRPr>
          </a:p>
        </p:txBody>
      </p:sp>
      <p:sp>
        <p:nvSpPr>
          <p:cNvPr id="19" name="îṩlîḓè">
            <a:extLst>
              <a:ext uri="{FF2B5EF4-FFF2-40B4-BE49-F238E27FC236}">
                <a16:creationId xmlns:a16="http://schemas.microsoft.com/office/drawing/2014/main" id="{3F48B77D-F0FD-403D-A193-185CD30C4886}"/>
              </a:ext>
            </a:extLst>
          </p:cNvPr>
          <p:cNvSpPr txBox="1"/>
          <p:nvPr/>
        </p:nvSpPr>
        <p:spPr>
          <a:xfrm>
            <a:off x="616338" y="2013807"/>
            <a:ext cx="3383409" cy="830958"/>
          </a:xfrm>
          <a:prstGeom prst="rect">
            <a:avLst/>
          </a:prstGeom>
          <a:noFill/>
        </p:spPr>
        <p:txBody>
          <a:bodyPr wrap="square" lIns="90000" tIns="46800" rIns="90000" bIns="46800" rtlCol="0">
            <a:noAutofit/>
          </a:bodyPr>
          <a:lstStyle/>
          <a:p>
            <a:pPr>
              <a:lnSpc>
                <a:spcPct val="150000"/>
              </a:lnSpc>
            </a:pPr>
            <a:r>
              <a:rPr lang="zh-CN" altLang="en-US" sz="1000" dirty="0">
                <a:latin typeface="微软雅黑" panose="020B0503020204020204" pitchFamily="34" charset="-122"/>
                <a:ea typeface="微软雅黑" panose="020B0503020204020204" pitchFamily="34" charset="-122"/>
              </a:rPr>
              <a:t>本地上传、自动格式化表单</a:t>
            </a:r>
            <a:endParaRPr lang="en-US" altLang="zh-CN" sz="1000" dirty="0">
              <a:latin typeface="微软雅黑" panose="020B0503020204020204" pitchFamily="34" charset="-122"/>
              <a:ea typeface="微软雅黑" panose="020B0503020204020204" pitchFamily="34" charset="-122"/>
            </a:endParaRPr>
          </a:p>
          <a:p>
            <a:pPr>
              <a:lnSpc>
                <a:spcPct val="150000"/>
              </a:lnSpc>
            </a:pPr>
            <a:r>
              <a:rPr lang="zh-CN" altLang="en-US" sz="1000" dirty="0">
                <a:latin typeface="微软雅黑" panose="020B0503020204020204" pitchFamily="34" charset="-122"/>
                <a:ea typeface="微软雅黑" panose="020B0503020204020204" pitchFamily="34" charset="-122"/>
              </a:rPr>
              <a:t>在线编辑，轻松更改表单状态</a:t>
            </a:r>
            <a:endParaRPr lang="en-US" altLang="zh-CN" sz="1000" dirty="0">
              <a:latin typeface="微软雅黑" panose="020B0503020204020204" pitchFamily="34" charset="-122"/>
              <a:ea typeface="微软雅黑" panose="020B0503020204020204" pitchFamily="34" charset="-122"/>
            </a:endParaRPr>
          </a:p>
          <a:p>
            <a:pPr>
              <a:lnSpc>
                <a:spcPct val="150000"/>
              </a:lnSpc>
            </a:pPr>
            <a:r>
              <a:rPr lang="zh-CN" altLang="en-US" sz="1000" dirty="0">
                <a:latin typeface="微软雅黑" panose="020B0503020204020204" pitchFamily="34" charset="-122"/>
                <a:ea typeface="微软雅黑" panose="020B0503020204020204" pitchFamily="34" charset="-122"/>
              </a:rPr>
              <a:t>查询过滤，所需内容唾手可得</a:t>
            </a:r>
            <a:endParaRPr lang="zh-CN" altLang="en-US" sz="1000" dirty="0"/>
          </a:p>
        </p:txBody>
      </p:sp>
      <p:sp>
        <p:nvSpPr>
          <p:cNvPr id="20" name="iŝḷïḑé">
            <a:extLst>
              <a:ext uri="{FF2B5EF4-FFF2-40B4-BE49-F238E27FC236}">
                <a16:creationId xmlns:a16="http://schemas.microsoft.com/office/drawing/2014/main" id="{DCE7C897-40E2-4273-8155-3A592F526534}"/>
              </a:ext>
            </a:extLst>
          </p:cNvPr>
          <p:cNvSpPr/>
          <p:nvPr/>
        </p:nvSpPr>
        <p:spPr>
          <a:xfrm>
            <a:off x="4089675" y="1587239"/>
            <a:ext cx="1825961" cy="1191820"/>
          </a:xfrm>
          <a:prstGeom prst="rect">
            <a:avLst/>
          </a:prstGeom>
          <a:blipFill>
            <a:blip r:embed="rId4" cstate="email">
              <a:extLst>
                <a:ext uri="{28A0092B-C50C-407E-A947-70E740481C1C}">
                  <a14:useLocalDpi xmlns:a14="http://schemas.microsoft.com/office/drawing/2010/main"/>
                </a:ext>
              </a:extLst>
            </a:blip>
            <a:srcRect/>
            <a:stretch>
              <a:fillRect l="4012"/>
            </a:stretch>
          </a:blipFill>
          <a:ln w="381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Autofit/>
          </a:bodyPr>
          <a:lstStyle/>
          <a:p>
            <a:pPr algn="ctr"/>
            <a:endParaRPr lang="zh-CN" altLang="en-US" sz="2200"/>
          </a:p>
        </p:txBody>
      </p:sp>
      <p:pic>
        <p:nvPicPr>
          <p:cNvPr id="21" name="图片 20"/>
          <p:cNvPicPr>
            <a:picLocks noChangeAspect="1"/>
          </p:cNvPicPr>
          <p:nvPr/>
        </p:nvPicPr>
        <p:blipFill>
          <a:blip r:embed="rId5"/>
          <a:stretch>
            <a:fillRect/>
          </a:stretch>
        </p:blipFill>
        <p:spPr>
          <a:xfrm>
            <a:off x="6095205" y="1302084"/>
            <a:ext cx="5457220" cy="5378481"/>
          </a:xfrm>
          <a:prstGeom prst="rect">
            <a:avLst/>
          </a:prstGeom>
        </p:spPr>
      </p:pic>
      <p:cxnSp>
        <p:nvCxnSpPr>
          <p:cNvPr id="22" name="直接连接符 21">
            <a:extLst>
              <a:ext uri="{FF2B5EF4-FFF2-40B4-BE49-F238E27FC236}">
                <a16:creationId xmlns:a16="http://schemas.microsoft.com/office/drawing/2014/main" id="{0E958E47-B088-471D-9E8C-831446027D5D}"/>
              </a:ext>
            </a:extLst>
          </p:cNvPr>
          <p:cNvCxnSpPr/>
          <p:nvPr/>
        </p:nvCxnSpPr>
        <p:spPr>
          <a:xfrm>
            <a:off x="6005564" y="1445258"/>
            <a:ext cx="0" cy="5019675"/>
          </a:xfrm>
          <a:prstGeom prst="line">
            <a:avLst/>
          </a:prstGeom>
          <a:ln w="3175" cap="rnd">
            <a:solidFill>
              <a:schemeClr val="bg1">
                <a:lumMod val="75000"/>
              </a:schemeClr>
            </a:solidFill>
            <a:round/>
            <a:headEnd type="none"/>
            <a:tailEnd type="non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48116954"/>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smtClean="0"/>
              <a:t>报警配置管理</a:t>
            </a:r>
            <a:endParaRPr lang="zh-CN" altLang="en-US" dirty="0"/>
          </a:p>
        </p:txBody>
      </p:sp>
      <p:pic>
        <p:nvPicPr>
          <p:cNvPr id="8" name="图片 7"/>
          <p:cNvPicPr>
            <a:picLocks noChangeAspect="1"/>
          </p:cNvPicPr>
          <p:nvPr/>
        </p:nvPicPr>
        <p:blipFill>
          <a:blip r:embed="rId4"/>
          <a:stretch>
            <a:fillRect/>
          </a:stretch>
        </p:blipFill>
        <p:spPr>
          <a:xfrm>
            <a:off x="1491005" y="3704062"/>
            <a:ext cx="10075653" cy="2102400"/>
          </a:xfrm>
          <a:prstGeom prst="rect">
            <a:avLst/>
          </a:prstGeom>
        </p:spPr>
      </p:pic>
      <p:sp>
        <p:nvSpPr>
          <p:cNvPr id="9" name="íSḷïḍé">
            <a:extLst>
              <a:ext uri="{FF2B5EF4-FFF2-40B4-BE49-F238E27FC236}">
                <a16:creationId xmlns:a16="http://schemas.microsoft.com/office/drawing/2014/main" id="{BF5863A8-9091-4EC0-B981-B498A61DE852}"/>
              </a:ext>
            </a:extLst>
          </p:cNvPr>
          <p:cNvSpPr/>
          <p:nvPr/>
        </p:nvSpPr>
        <p:spPr>
          <a:xfrm flipH="1">
            <a:off x="5780174" y="1389419"/>
            <a:ext cx="5740313" cy="1045050"/>
          </a:xfrm>
          <a:prstGeom prst="homePlate">
            <a:avLst>
              <a:gd name="adj" fmla="val 33591"/>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wrap="square" lIns="91440" tIns="45720" rIns="91440" bIns="45720" rtlCol="0" anchor="ctr">
            <a:noAutofit/>
          </a:bodyPr>
          <a:lstStyle/>
          <a:p>
            <a:endParaRPr lang="en-US" altLang="zh-CN" sz="1200" dirty="0">
              <a:solidFill>
                <a:schemeClr val="tx1"/>
              </a:solidFill>
            </a:endParaRPr>
          </a:p>
        </p:txBody>
      </p:sp>
      <p:sp>
        <p:nvSpPr>
          <p:cNvPr id="10" name="íṡľíde">
            <a:extLst>
              <a:ext uri="{FF2B5EF4-FFF2-40B4-BE49-F238E27FC236}">
                <a16:creationId xmlns:a16="http://schemas.microsoft.com/office/drawing/2014/main" id="{A7F57054-B5AE-4BFF-89A1-029DA59E5480}"/>
              </a:ext>
            </a:extLst>
          </p:cNvPr>
          <p:cNvSpPr txBox="1"/>
          <p:nvPr/>
        </p:nvSpPr>
        <p:spPr>
          <a:xfrm>
            <a:off x="6221477" y="1389419"/>
            <a:ext cx="3383410" cy="499702"/>
          </a:xfrm>
          <a:prstGeom prst="rect">
            <a:avLst/>
          </a:prstGeom>
          <a:noFill/>
        </p:spPr>
        <p:txBody>
          <a:bodyPr wrap="none" lIns="90000" tIns="46800" rIns="90000" bIns="46800" rtlCol="0" anchor="ctr" anchorCtr="0">
            <a:normAutofit/>
          </a:bodyPr>
          <a:lstStyle/>
          <a:p>
            <a:r>
              <a:rPr lang="zh-CN" altLang="en-US" b="1" dirty="0" smtClean="0">
                <a:solidFill>
                  <a:schemeClr val="accent1"/>
                </a:solidFill>
              </a:rPr>
              <a:t>报警配置管理</a:t>
            </a:r>
            <a:endParaRPr lang="en-US" altLang="zh-CN" b="1" dirty="0">
              <a:solidFill>
                <a:schemeClr val="accent1"/>
              </a:solidFill>
            </a:endParaRPr>
          </a:p>
        </p:txBody>
      </p:sp>
      <p:sp>
        <p:nvSpPr>
          <p:cNvPr id="11" name="ïśļidè">
            <a:extLst>
              <a:ext uri="{FF2B5EF4-FFF2-40B4-BE49-F238E27FC236}">
                <a16:creationId xmlns:a16="http://schemas.microsoft.com/office/drawing/2014/main" id="{C3A548DC-C3AF-4B6B-86B0-2C629CCCD9FD}"/>
              </a:ext>
            </a:extLst>
          </p:cNvPr>
          <p:cNvSpPr txBox="1"/>
          <p:nvPr/>
        </p:nvSpPr>
        <p:spPr>
          <a:xfrm>
            <a:off x="6221189" y="1790554"/>
            <a:ext cx="3383409" cy="552773"/>
          </a:xfrm>
          <a:prstGeom prst="rect">
            <a:avLst/>
          </a:prstGeom>
          <a:noFill/>
        </p:spPr>
        <p:txBody>
          <a:bodyPr wrap="square" lIns="90000" tIns="46800" rIns="90000" bIns="46800" rtlCol="0">
            <a:normAutofit/>
          </a:bodyPr>
          <a:lstStyle/>
          <a:p>
            <a:pPr marL="171450" indent="-171450">
              <a:lnSpc>
                <a:spcPct val="150000"/>
              </a:lnSpc>
              <a:buFont typeface="Arial" panose="020B0604020202020204" pitchFamily="34" charset="0"/>
              <a:buChar char="•"/>
            </a:pPr>
            <a:r>
              <a:rPr lang="zh-CN" altLang="en-US" sz="1000" dirty="0" smtClean="0"/>
              <a:t>一键查询</a:t>
            </a:r>
            <a:endParaRPr lang="en-US" altLang="zh-CN" sz="1000" dirty="0" smtClean="0"/>
          </a:p>
          <a:p>
            <a:pPr marL="171450" indent="-171450">
              <a:lnSpc>
                <a:spcPct val="150000"/>
              </a:lnSpc>
              <a:buFont typeface="Arial" panose="020B0604020202020204" pitchFamily="34" charset="0"/>
              <a:buChar char="•"/>
            </a:pPr>
            <a:r>
              <a:rPr lang="zh-CN" altLang="en-US" sz="1000" dirty="0" smtClean="0"/>
              <a:t>产线报警个性化</a:t>
            </a:r>
            <a:endParaRPr lang="en-US" altLang="zh-CN" sz="1000" dirty="0"/>
          </a:p>
        </p:txBody>
      </p:sp>
      <p:sp>
        <p:nvSpPr>
          <p:cNvPr id="12" name="ïŝľïḓê">
            <a:extLst>
              <a:ext uri="{FF2B5EF4-FFF2-40B4-BE49-F238E27FC236}">
                <a16:creationId xmlns:a16="http://schemas.microsoft.com/office/drawing/2014/main" id="{23BB0F2B-5716-43F5-AD37-75BB86D933B2}"/>
              </a:ext>
            </a:extLst>
          </p:cNvPr>
          <p:cNvSpPr/>
          <p:nvPr/>
        </p:nvSpPr>
        <p:spPr>
          <a:xfrm>
            <a:off x="9762299" y="1396846"/>
            <a:ext cx="1757900" cy="1037623"/>
          </a:xfrm>
          <a:prstGeom prst="rect">
            <a:avLst/>
          </a:prstGeom>
          <a:blipFill>
            <a:blip r:embed="rId5" cstate="email">
              <a:extLst>
                <a:ext uri="{28A0092B-C50C-407E-A947-70E740481C1C}">
                  <a14:useLocalDpi xmlns:a14="http://schemas.microsoft.com/office/drawing/2010/main"/>
                </a:ext>
              </a:extLst>
            </a:blip>
            <a:srcRect/>
            <a:stretch>
              <a:fillRect l="4012"/>
            </a:stretch>
          </a:blipFill>
          <a:ln w="381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Autofit/>
          </a:bodyPr>
          <a:lstStyle/>
          <a:p>
            <a:pPr algn="ctr"/>
            <a:endParaRPr lang="zh-CN" altLang="en-US" sz="2200"/>
          </a:p>
        </p:txBody>
      </p:sp>
      <p:grpSp>
        <p:nvGrpSpPr>
          <p:cNvPr id="13" name="b8d461c5-096d-4cce-8f13-312b2c5f134e"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p:cNvGrpSpPr>
            <a:grpSpLocks noChangeAspect="1"/>
          </p:cNvGrpSpPr>
          <p:nvPr>
            <p:custDataLst>
              <p:tags r:id="rId1"/>
            </p:custDataLst>
          </p:nvPr>
        </p:nvGrpSpPr>
        <p:grpSpPr>
          <a:xfrm>
            <a:off x="1341536" y="1639270"/>
            <a:ext cx="1829025" cy="1989711"/>
            <a:chOff x="4017963" y="1168400"/>
            <a:chExt cx="4156076" cy="4521201"/>
          </a:xfrm>
        </p:grpSpPr>
        <p:sp>
          <p:nvSpPr>
            <p:cNvPr id="14" name="íṥľïḍe">
              <a:extLst>
                <a:ext uri="{FF2B5EF4-FFF2-40B4-BE49-F238E27FC236}">
                  <a16:creationId xmlns:a16="http://schemas.microsoft.com/office/drawing/2014/main" id="{9D1E2335-3390-482B-AD6F-FB93F7E00D8F}"/>
                </a:ext>
              </a:extLst>
            </p:cNvPr>
            <p:cNvSpPr/>
            <p:nvPr/>
          </p:nvSpPr>
          <p:spPr bwMode="auto">
            <a:xfrm>
              <a:off x="4718051" y="1947863"/>
              <a:ext cx="2549525" cy="2743201"/>
            </a:xfrm>
            <a:custGeom>
              <a:avLst/>
              <a:gdLst>
                <a:gd name="T0" fmla="*/ 8 w 604"/>
                <a:gd name="T1" fmla="*/ 602 h 651"/>
                <a:gd name="T2" fmla="*/ 385 w 604"/>
                <a:gd name="T3" fmla="*/ 651 h 651"/>
                <a:gd name="T4" fmla="*/ 594 w 604"/>
                <a:gd name="T5" fmla="*/ 475 h 651"/>
                <a:gd name="T6" fmla="*/ 528 w 604"/>
                <a:gd name="T7" fmla="*/ 132 h 651"/>
                <a:gd name="T8" fmla="*/ 478 w 604"/>
                <a:gd name="T9" fmla="*/ 86 h 651"/>
                <a:gd name="T10" fmla="*/ 88 w 604"/>
                <a:gd name="T11" fmla="*/ 142 h 651"/>
                <a:gd name="T12" fmla="*/ 2 w 604"/>
                <a:gd name="T13" fmla="*/ 423 h 651"/>
                <a:gd name="T14" fmla="*/ 8 w 604"/>
                <a:gd name="T15" fmla="*/ 602 h 6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04" h="651">
                  <a:moveTo>
                    <a:pt x="8" y="602"/>
                  </a:moveTo>
                  <a:cubicBezTo>
                    <a:pt x="385" y="651"/>
                    <a:pt x="385" y="651"/>
                    <a:pt x="385" y="651"/>
                  </a:cubicBezTo>
                  <a:cubicBezTo>
                    <a:pt x="536" y="638"/>
                    <a:pt x="584" y="627"/>
                    <a:pt x="594" y="475"/>
                  </a:cubicBezTo>
                  <a:cubicBezTo>
                    <a:pt x="601" y="360"/>
                    <a:pt x="604" y="225"/>
                    <a:pt x="528" y="132"/>
                  </a:cubicBezTo>
                  <a:cubicBezTo>
                    <a:pt x="514" y="115"/>
                    <a:pt x="498" y="100"/>
                    <a:pt x="478" y="86"/>
                  </a:cubicBezTo>
                  <a:cubicBezTo>
                    <a:pt x="358" y="0"/>
                    <a:pt x="182" y="34"/>
                    <a:pt x="88" y="142"/>
                  </a:cubicBezTo>
                  <a:cubicBezTo>
                    <a:pt x="26" y="213"/>
                    <a:pt x="6" y="319"/>
                    <a:pt x="2" y="423"/>
                  </a:cubicBezTo>
                  <a:cubicBezTo>
                    <a:pt x="0" y="486"/>
                    <a:pt x="3" y="548"/>
                    <a:pt x="8" y="602"/>
                  </a:cubicBezTo>
                  <a:close/>
                </a:path>
              </a:pathLst>
            </a:custGeom>
            <a:solidFill>
              <a:srgbClr val="EE404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5" name="îṩ1îḓe">
              <a:extLst>
                <a:ext uri="{FF2B5EF4-FFF2-40B4-BE49-F238E27FC236}">
                  <a16:creationId xmlns:a16="http://schemas.microsoft.com/office/drawing/2014/main" id="{51D8B80C-8CC7-426E-AE4D-A3285FB9EB21}"/>
                </a:ext>
              </a:extLst>
            </p:cNvPr>
            <p:cNvSpPr/>
            <p:nvPr/>
          </p:nvSpPr>
          <p:spPr bwMode="auto">
            <a:xfrm>
              <a:off x="4718051" y="2503488"/>
              <a:ext cx="2549525" cy="2187575"/>
            </a:xfrm>
            <a:custGeom>
              <a:avLst/>
              <a:gdLst>
                <a:gd name="T0" fmla="*/ 8 w 604"/>
                <a:gd name="T1" fmla="*/ 470 h 519"/>
                <a:gd name="T2" fmla="*/ 385 w 604"/>
                <a:gd name="T3" fmla="*/ 519 h 519"/>
                <a:gd name="T4" fmla="*/ 594 w 604"/>
                <a:gd name="T5" fmla="*/ 343 h 519"/>
                <a:gd name="T6" fmla="*/ 528 w 604"/>
                <a:gd name="T7" fmla="*/ 0 h 519"/>
                <a:gd name="T8" fmla="*/ 511 w 604"/>
                <a:gd name="T9" fmla="*/ 268 h 519"/>
                <a:gd name="T10" fmla="*/ 101 w 604"/>
                <a:gd name="T11" fmla="*/ 343 h 519"/>
                <a:gd name="T12" fmla="*/ 2 w 604"/>
                <a:gd name="T13" fmla="*/ 291 h 519"/>
                <a:gd name="T14" fmla="*/ 8 w 604"/>
                <a:gd name="T15" fmla="*/ 470 h 51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04" h="519">
                  <a:moveTo>
                    <a:pt x="8" y="470"/>
                  </a:moveTo>
                  <a:cubicBezTo>
                    <a:pt x="385" y="519"/>
                    <a:pt x="385" y="519"/>
                    <a:pt x="385" y="519"/>
                  </a:cubicBezTo>
                  <a:cubicBezTo>
                    <a:pt x="536" y="506"/>
                    <a:pt x="584" y="495"/>
                    <a:pt x="594" y="343"/>
                  </a:cubicBezTo>
                  <a:cubicBezTo>
                    <a:pt x="601" y="228"/>
                    <a:pt x="604" y="93"/>
                    <a:pt x="528" y="0"/>
                  </a:cubicBezTo>
                  <a:cubicBezTo>
                    <a:pt x="572" y="84"/>
                    <a:pt x="578" y="197"/>
                    <a:pt x="511" y="268"/>
                  </a:cubicBezTo>
                  <a:cubicBezTo>
                    <a:pt x="421" y="363"/>
                    <a:pt x="217" y="375"/>
                    <a:pt x="101" y="343"/>
                  </a:cubicBezTo>
                  <a:cubicBezTo>
                    <a:pt x="74" y="335"/>
                    <a:pt x="36" y="307"/>
                    <a:pt x="2" y="291"/>
                  </a:cubicBezTo>
                  <a:cubicBezTo>
                    <a:pt x="0" y="354"/>
                    <a:pt x="3" y="416"/>
                    <a:pt x="8" y="470"/>
                  </a:cubicBezTo>
                  <a:close/>
                </a:path>
              </a:pathLst>
            </a:custGeom>
            <a:solidFill>
              <a:srgbClr val="DD222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6" name="îSļïḋé">
              <a:extLst>
                <a:ext uri="{FF2B5EF4-FFF2-40B4-BE49-F238E27FC236}">
                  <a16:creationId xmlns:a16="http://schemas.microsoft.com/office/drawing/2014/main" id="{EF89DD41-6681-4F0B-BCCC-851B11CEA09E}"/>
                </a:ext>
              </a:extLst>
            </p:cNvPr>
            <p:cNvSpPr/>
            <p:nvPr/>
          </p:nvSpPr>
          <p:spPr bwMode="auto">
            <a:xfrm>
              <a:off x="4392613" y="4202113"/>
              <a:ext cx="3198813" cy="1487488"/>
            </a:xfrm>
            <a:custGeom>
              <a:avLst/>
              <a:gdLst>
                <a:gd name="T0" fmla="*/ 20 w 758"/>
                <a:gd name="T1" fmla="*/ 242 h 353"/>
                <a:gd name="T2" fmla="*/ 25 w 758"/>
                <a:gd name="T3" fmla="*/ 257 h 353"/>
                <a:gd name="T4" fmla="*/ 197 w 758"/>
                <a:gd name="T5" fmla="*/ 335 h 353"/>
                <a:gd name="T6" fmla="*/ 614 w 758"/>
                <a:gd name="T7" fmla="*/ 328 h 353"/>
                <a:gd name="T8" fmla="*/ 742 w 758"/>
                <a:gd name="T9" fmla="*/ 137 h 353"/>
                <a:gd name="T10" fmla="*/ 737 w 758"/>
                <a:gd name="T11" fmla="*/ 104 h 353"/>
                <a:gd name="T12" fmla="*/ 591 w 758"/>
                <a:gd name="T13" fmla="*/ 9 h 353"/>
                <a:gd name="T14" fmla="*/ 235 w 758"/>
                <a:gd name="T15" fmla="*/ 12 h 353"/>
                <a:gd name="T16" fmla="*/ 41 w 758"/>
                <a:gd name="T17" fmla="*/ 54 h 353"/>
                <a:gd name="T18" fmla="*/ 13 w 758"/>
                <a:gd name="T19" fmla="*/ 101 h 353"/>
                <a:gd name="T20" fmla="*/ 20 w 758"/>
                <a:gd name="T21" fmla="*/ 242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58" h="353">
                  <a:moveTo>
                    <a:pt x="20" y="242"/>
                  </a:moveTo>
                  <a:cubicBezTo>
                    <a:pt x="22" y="247"/>
                    <a:pt x="23" y="252"/>
                    <a:pt x="25" y="257"/>
                  </a:cubicBezTo>
                  <a:cubicBezTo>
                    <a:pt x="57" y="343"/>
                    <a:pt x="102" y="334"/>
                    <a:pt x="197" y="335"/>
                  </a:cubicBezTo>
                  <a:cubicBezTo>
                    <a:pt x="335" y="337"/>
                    <a:pt x="477" y="353"/>
                    <a:pt x="614" y="328"/>
                  </a:cubicBezTo>
                  <a:cubicBezTo>
                    <a:pt x="745" y="304"/>
                    <a:pt x="758" y="251"/>
                    <a:pt x="742" y="137"/>
                  </a:cubicBezTo>
                  <a:cubicBezTo>
                    <a:pt x="741" y="127"/>
                    <a:pt x="739" y="115"/>
                    <a:pt x="737" y="104"/>
                  </a:cubicBezTo>
                  <a:cubicBezTo>
                    <a:pt x="722" y="9"/>
                    <a:pt x="695" y="10"/>
                    <a:pt x="591" y="9"/>
                  </a:cubicBezTo>
                  <a:cubicBezTo>
                    <a:pt x="472" y="7"/>
                    <a:pt x="353" y="0"/>
                    <a:pt x="235" y="12"/>
                  </a:cubicBezTo>
                  <a:cubicBezTo>
                    <a:pt x="182" y="17"/>
                    <a:pt x="85" y="19"/>
                    <a:pt x="41" y="54"/>
                  </a:cubicBezTo>
                  <a:cubicBezTo>
                    <a:pt x="27" y="66"/>
                    <a:pt x="18" y="82"/>
                    <a:pt x="13" y="101"/>
                  </a:cubicBezTo>
                  <a:cubicBezTo>
                    <a:pt x="0" y="145"/>
                    <a:pt x="8" y="202"/>
                    <a:pt x="20" y="242"/>
                  </a:cubicBezTo>
                  <a:close/>
                </a:path>
              </a:pathLst>
            </a:custGeom>
            <a:solidFill>
              <a:srgbClr val="3F3F3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7" name="iṡ1íḋe">
              <a:extLst>
                <a:ext uri="{FF2B5EF4-FFF2-40B4-BE49-F238E27FC236}">
                  <a16:creationId xmlns:a16="http://schemas.microsoft.com/office/drawing/2014/main" id="{51FAB512-C387-4F98-91EE-8478A0F8955B}"/>
                </a:ext>
              </a:extLst>
            </p:cNvPr>
            <p:cNvSpPr/>
            <p:nvPr/>
          </p:nvSpPr>
          <p:spPr bwMode="auto">
            <a:xfrm>
              <a:off x="4621213" y="4403726"/>
              <a:ext cx="198438" cy="893763"/>
            </a:xfrm>
            <a:custGeom>
              <a:avLst/>
              <a:gdLst>
                <a:gd name="T0" fmla="*/ 27 w 47"/>
                <a:gd name="T1" fmla="*/ 6 h 212"/>
                <a:gd name="T2" fmla="*/ 26 w 47"/>
                <a:gd name="T3" fmla="*/ 95 h 212"/>
                <a:gd name="T4" fmla="*/ 42 w 47"/>
                <a:gd name="T5" fmla="*/ 188 h 212"/>
                <a:gd name="T6" fmla="*/ 17 w 47"/>
                <a:gd name="T7" fmla="*/ 197 h 212"/>
                <a:gd name="T8" fmla="*/ 1 w 47"/>
                <a:gd name="T9" fmla="*/ 101 h 212"/>
                <a:gd name="T10" fmla="*/ 18 w 47"/>
                <a:gd name="T11" fmla="*/ 5 h 212"/>
                <a:gd name="T12" fmla="*/ 27 w 47"/>
                <a:gd name="T13" fmla="*/ 6 h 212"/>
              </a:gdLst>
              <a:ahLst/>
              <a:cxnLst>
                <a:cxn ang="0">
                  <a:pos x="T0" y="T1"/>
                </a:cxn>
                <a:cxn ang="0">
                  <a:pos x="T2" y="T3"/>
                </a:cxn>
                <a:cxn ang="0">
                  <a:pos x="T4" y="T5"/>
                </a:cxn>
                <a:cxn ang="0">
                  <a:pos x="T6" y="T7"/>
                </a:cxn>
                <a:cxn ang="0">
                  <a:pos x="T8" y="T9"/>
                </a:cxn>
                <a:cxn ang="0">
                  <a:pos x="T10" y="T11"/>
                </a:cxn>
                <a:cxn ang="0">
                  <a:pos x="T12" y="T13"/>
                </a:cxn>
              </a:cxnLst>
              <a:rect l="0" t="0" r="r" b="b"/>
              <a:pathLst>
                <a:path w="47" h="212">
                  <a:moveTo>
                    <a:pt x="27" y="6"/>
                  </a:moveTo>
                  <a:cubicBezTo>
                    <a:pt x="26" y="35"/>
                    <a:pt x="26" y="65"/>
                    <a:pt x="26" y="95"/>
                  </a:cubicBezTo>
                  <a:cubicBezTo>
                    <a:pt x="26" y="126"/>
                    <a:pt x="31" y="158"/>
                    <a:pt x="42" y="188"/>
                  </a:cubicBezTo>
                  <a:cubicBezTo>
                    <a:pt x="47" y="203"/>
                    <a:pt x="23" y="212"/>
                    <a:pt x="17" y="197"/>
                  </a:cubicBezTo>
                  <a:cubicBezTo>
                    <a:pt x="6" y="166"/>
                    <a:pt x="2" y="134"/>
                    <a:pt x="1" y="101"/>
                  </a:cubicBezTo>
                  <a:cubicBezTo>
                    <a:pt x="0" y="67"/>
                    <a:pt x="6" y="37"/>
                    <a:pt x="18" y="5"/>
                  </a:cubicBezTo>
                  <a:cubicBezTo>
                    <a:pt x="19" y="0"/>
                    <a:pt x="27" y="2"/>
                    <a:pt x="27" y="6"/>
                  </a:cubicBezTo>
                  <a:close/>
                </a:path>
              </a:pathLst>
            </a:custGeom>
            <a:solidFill>
              <a:srgbClr val="4D4C4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8" name="iṧlïďê">
              <a:extLst>
                <a:ext uri="{FF2B5EF4-FFF2-40B4-BE49-F238E27FC236}">
                  <a16:creationId xmlns:a16="http://schemas.microsoft.com/office/drawing/2014/main" id="{B56EC3CE-3022-45EA-A97F-03B2FFD777FD}"/>
                </a:ext>
              </a:extLst>
            </p:cNvPr>
            <p:cNvSpPr/>
            <p:nvPr/>
          </p:nvSpPr>
          <p:spPr bwMode="auto">
            <a:xfrm>
              <a:off x="4979988" y="2192338"/>
              <a:ext cx="1185863" cy="1001713"/>
            </a:xfrm>
            <a:custGeom>
              <a:avLst/>
              <a:gdLst>
                <a:gd name="T0" fmla="*/ 153 w 281"/>
                <a:gd name="T1" fmla="*/ 211 h 238"/>
                <a:gd name="T2" fmla="*/ 71 w 281"/>
                <a:gd name="T3" fmla="*/ 75 h 238"/>
                <a:gd name="T4" fmla="*/ 270 w 281"/>
                <a:gd name="T5" fmla="*/ 87 h 238"/>
                <a:gd name="T6" fmla="*/ 153 w 281"/>
                <a:gd name="T7" fmla="*/ 211 h 238"/>
              </a:gdLst>
              <a:ahLst/>
              <a:cxnLst>
                <a:cxn ang="0">
                  <a:pos x="T0" y="T1"/>
                </a:cxn>
                <a:cxn ang="0">
                  <a:pos x="T2" y="T3"/>
                </a:cxn>
                <a:cxn ang="0">
                  <a:pos x="T4" y="T5"/>
                </a:cxn>
                <a:cxn ang="0">
                  <a:pos x="T6" y="T7"/>
                </a:cxn>
              </a:cxnLst>
              <a:rect l="0" t="0" r="r" b="b"/>
              <a:pathLst>
                <a:path w="281" h="238">
                  <a:moveTo>
                    <a:pt x="153" y="211"/>
                  </a:moveTo>
                  <a:cubicBezTo>
                    <a:pt x="59" y="238"/>
                    <a:pt x="0" y="148"/>
                    <a:pt x="71" y="75"/>
                  </a:cubicBezTo>
                  <a:cubicBezTo>
                    <a:pt x="117" y="28"/>
                    <a:pt x="255" y="0"/>
                    <a:pt x="270" y="87"/>
                  </a:cubicBezTo>
                  <a:cubicBezTo>
                    <a:pt x="281" y="148"/>
                    <a:pt x="201" y="197"/>
                    <a:pt x="153" y="211"/>
                  </a:cubicBezTo>
                  <a:close/>
                </a:path>
              </a:pathLst>
            </a:custGeom>
            <a:solidFill>
              <a:srgbClr val="F05E6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9" name="íśḷídê">
              <a:extLst>
                <a:ext uri="{FF2B5EF4-FFF2-40B4-BE49-F238E27FC236}">
                  <a16:creationId xmlns:a16="http://schemas.microsoft.com/office/drawing/2014/main" id="{3200D634-B3FA-49ED-899C-1BF659265223}"/>
                </a:ext>
              </a:extLst>
            </p:cNvPr>
            <p:cNvSpPr/>
            <p:nvPr/>
          </p:nvSpPr>
          <p:spPr bwMode="auto">
            <a:xfrm>
              <a:off x="5840413" y="1168400"/>
              <a:ext cx="147638" cy="479425"/>
            </a:xfrm>
            <a:custGeom>
              <a:avLst/>
              <a:gdLst>
                <a:gd name="T0" fmla="*/ 32 w 35"/>
                <a:gd name="T1" fmla="*/ 10 h 114"/>
                <a:gd name="T2" fmla="*/ 34 w 35"/>
                <a:gd name="T3" fmla="*/ 61 h 114"/>
                <a:gd name="T4" fmla="*/ 24 w 35"/>
                <a:gd name="T5" fmla="*/ 107 h 114"/>
                <a:gd name="T6" fmla="*/ 6 w 35"/>
                <a:gd name="T7" fmla="*/ 104 h 114"/>
                <a:gd name="T8" fmla="*/ 6 w 35"/>
                <a:gd name="T9" fmla="*/ 59 h 114"/>
                <a:gd name="T10" fmla="*/ 17 w 35"/>
                <a:gd name="T11" fmla="*/ 9 h 114"/>
                <a:gd name="T12" fmla="*/ 32 w 35"/>
                <a:gd name="T13" fmla="*/ 10 h 114"/>
              </a:gdLst>
              <a:ahLst/>
              <a:cxnLst>
                <a:cxn ang="0">
                  <a:pos x="T0" y="T1"/>
                </a:cxn>
                <a:cxn ang="0">
                  <a:pos x="T2" y="T3"/>
                </a:cxn>
                <a:cxn ang="0">
                  <a:pos x="T4" y="T5"/>
                </a:cxn>
                <a:cxn ang="0">
                  <a:pos x="T6" y="T7"/>
                </a:cxn>
                <a:cxn ang="0">
                  <a:pos x="T8" y="T9"/>
                </a:cxn>
                <a:cxn ang="0">
                  <a:pos x="T10" y="T11"/>
                </a:cxn>
                <a:cxn ang="0">
                  <a:pos x="T12" y="T13"/>
                </a:cxn>
              </a:cxnLst>
              <a:rect l="0" t="0" r="r" b="b"/>
              <a:pathLst>
                <a:path w="35" h="114">
                  <a:moveTo>
                    <a:pt x="32" y="10"/>
                  </a:moveTo>
                  <a:cubicBezTo>
                    <a:pt x="32" y="27"/>
                    <a:pt x="34" y="44"/>
                    <a:pt x="34" y="61"/>
                  </a:cubicBezTo>
                  <a:cubicBezTo>
                    <a:pt x="34" y="76"/>
                    <a:pt x="35" y="95"/>
                    <a:pt x="24" y="107"/>
                  </a:cubicBezTo>
                  <a:cubicBezTo>
                    <a:pt x="19" y="114"/>
                    <a:pt x="9" y="111"/>
                    <a:pt x="6" y="104"/>
                  </a:cubicBezTo>
                  <a:cubicBezTo>
                    <a:pt x="0" y="91"/>
                    <a:pt x="5" y="73"/>
                    <a:pt x="6" y="59"/>
                  </a:cubicBezTo>
                  <a:cubicBezTo>
                    <a:pt x="8" y="42"/>
                    <a:pt x="12" y="26"/>
                    <a:pt x="17" y="9"/>
                  </a:cubicBezTo>
                  <a:cubicBezTo>
                    <a:pt x="19" y="1"/>
                    <a:pt x="32" y="0"/>
                    <a:pt x="32" y="10"/>
                  </a:cubicBezTo>
                  <a:close/>
                </a:path>
              </a:pathLst>
            </a:custGeom>
            <a:solidFill>
              <a:srgbClr val="DD222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0" name="iṧlíḋè">
              <a:extLst>
                <a:ext uri="{FF2B5EF4-FFF2-40B4-BE49-F238E27FC236}">
                  <a16:creationId xmlns:a16="http://schemas.microsoft.com/office/drawing/2014/main" id="{9D70A145-15E3-4FC8-B9A7-D188FE6EC862}"/>
                </a:ext>
              </a:extLst>
            </p:cNvPr>
            <p:cNvSpPr/>
            <p:nvPr/>
          </p:nvSpPr>
          <p:spPr bwMode="auto">
            <a:xfrm>
              <a:off x="4641851" y="1744663"/>
              <a:ext cx="392113" cy="300038"/>
            </a:xfrm>
            <a:custGeom>
              <a:avLst/>
              <a:gdLst>
                <a:gd name="T0" fmla="*/ 74 w 93"/>
                <a:gd name="T1" fmla="*/ 67 h 71"/>
                <a:gd name="T2" fmla="*/ 72 w 93"/>
                <a:gd name="T3" fmla="*/ 65 h 71"/>
                <a:gd name="T4" fmla="*/ 58 w 93"/>
                <a:gd name="T5" fmla="*/ 61 h 71"/>
                <a:gd name="T6" fmla="*/ 35 w 93"/>
                <a:gd name="T7" fmla="*/ 48 h 71"/>
                <a:gd name="T8" fmla="*/ 3 w 93"/>
                <a:gd name="T9" fmla="*/ 15 h 71"/>
                <a:gd name="T10" fmla="*/ 15 w 93"/>
                <a:gd name="T11" fmla="*/ 1 h 71"/>
                <a:gd name="T12" fmla="*/ 56 w 93"/>
                <a:gd name="T13" fmla="*/ 23 h 71"/>
                <a:gd name="T14" fmla="*/ 76 w 93"/>
                <a:gd name="T15" fmla="*/ 39 h 71"/>
                <a:gd name="T16" fmla="*/ 83 w 93"/>
                <a:gd name="T17" fmla="*/ 48 h 71"/>
                <a:gd name="T18" fmla="*/ 83 w 93"/>
                <a:gd name="T19" fmla="*/ 47 h 71"/>
                <a:gd name="T20" fmla="*/ 87 w 93"/>
                <a:gd name="T21" fmla="*/ 52 h 71"/>
                <a:gd name="T22" fmla="*/ 74 w 93"/>
                <a:gd name="T23" fmla="*/ 67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3" h="71">
                  <a:moveTo>
                    <a:pt x="74" y="67"/>
                  </a:moveTo>
                  <a:cubicBezTo>
                    <a:pt x="72" y="66"/>
                    <a:pt x="67" y="65"/>
                    <a:pt x="72" y="65"/>
                  </a:cubicBezTo>
                  <a:cubicBezTo>
                    <a:pt x="67" y="65"/>
                    <a:pt x="63" y="62"/>
                    <a:pt x="58" y="61"/>
                  </a:cubicBezTo>
                  <a:cubicBezTo>
                    <a:pt x="50" y="57"/>
                    <a:pt x="43" y="53"/>
                    <a:pt x="35" y="48"/>
                  </a:cubicBezTo>
                  <a:cubicBezTo>
                    <a:pt x="22" y="39"/>
                    <a:pt x="9" y="30"/>
                    <a:pt x="3" y="15"/>
                  </a:cubicBezTo>
                  <a:cubicBezTo>
                    <a:pt x="0" y="8"/>
                    <a:pt x="7" y="0"/>
                    <a:pt x="15" y="1"/>
                  </a:cubicBezTo>
                  <a:cubicBezTo>
                    <a:pt x="30" y="5"/>
                    <a:pt x="43" y="13"/>
                    <a:pt x="56" y="23"/>
                  </a:cubicBezTo>
                  <a:cubicBezTo>
                    <a:pt x="63" y="27"/>
                    <a:pt x="70" y="33"/>
                    <a:pt x="76" y="39"/>
                  </a:cubicBezTo>
                  <a:cubicBezTo>
                    <a:pt x="78" y="41"/>
                    <a:pt x="82" y="44"/>
                    <a:pt x="83" y="48"/>
                  </a:cubicBezTo>
                  <a:cubicBezTo>
                    <a:pt x="81" y="46"/>
                    <a:pt x="81" y="45"/>
                    <a:pt x="83" y="47"/>
                  </a:cubicBezTo>
                  <a:cubicBezTo>
                    <a:pt x="84" y="49"/>
                    <a:pt x="85" y="50"/>
                    <a:pt x="87" y="52"/>
                  </a:cubicBezTo>
                  <a:cubicBezTo>
                    <a:pt x="93" y="60"/>
                    <a:pt x="83" y="71"/>
                    <a:pt x="74" y="67"/>
                  </a:cubicBezTo>
                  <a:close/>
                </a:path>
              </a:pathLst>
            </a:custGeom>
            <a:solidFill>
              <a:srgbClr val="DD222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1" name="iSļíďè">
              <a:extLst>
                <a:ext uri="{FF2B5EF4-FFF2-40B4-BE49-F238E27FC236}">
                  <a16:creationId xmlns:a16="http://schemas.microsoft.com/office/drawing/2014/main" id="{9FE39DE5-80EA-417F-91B3-53DA18AD778F}"/>
                </a:ext>
              </a:extLst>
            </p:cNvPr>
            <p:cNvSpPr/>
            <p:nvPr/>
          </p:nvSpPr>
          <p:spPr bwMode="auto">
            <a:xfrm>
              <a:off x="4122738" y="2900363"/>
              <a:ext cx="396875" cy="134938"/>
            </a:xfrm>
            <a:custGeom>
              <a:avLst/>
              <a:gdLst>
                <a:gd name="T0" fmla="*/ 91 w 94"/>
                <a:gd name="T1" fmla="*/ 21 h 32"/>
                <a:gd name="T2" fmla="*/ 54 w 94"/>
                <a:gd name="T3" fmla="*/ 31 h 32"/>
                <a:gd name="T4" fmla="*/ 11 w 94"/>
                <a:gd name="T5" fmla="*/ 25 h 32"/>
                <a:gd name="T6" fmla="*/ 10 w 94"/>
                <a:gd name="T7" fmla="*/ 6 h 32"/>
                <a:gd name="T8" fmla="*/ 50 w 94"/>
                <a:gd name="T9" fmla="*/ 1 h 32"/>
                <a:gd name="T10" fmla="*/ 90 w 94"/>
                <a:gd name="T11" fmla="*/ 12 h 32"/>
                <a:gd name="T12" fmla="*/ 91 w 94"/>
                <a:gd name="T13" fmla="*/ 21 h 32"/>
              </a:gdLst>
              <a:ahLst/>
              <a:cxnLst>
                <a:cxn ang="0">
                  <a:pos x="T0" y="T1"/>
                </a:cxn>
                <a:cxn ang="0">
                  <a:pos x="T2" y="T3"/>
                </a:cxn>
                <a:cxn ang="0">
                  <a:pos x="T4" y="T5"/>
                </a:cxn>
                <a:cxn ang="0">
                  <a:pos x="T6" y="T7"/>
                </a:cxn>
                <a:cxn ang="0">
                  <a:pos x="T8" y="T9"/>
                </a:cxn>
                <a:cxn ang="0">
                  <a:pos x="T10" y="T11"/>
                </a:cxn>
                <a:cxn ang="0">
                  <a:pos x="T12" y="T13"/>
                </a:cxn>
              </a:cxnLst>
              <a:rect l="0" t="0" r="r" b="b"/>
              <a:pathLst>
                <a:path w="94" h="32">
                  <a:moveTo>
                    <a:pt x="91" y="21"/>
                  </a:moveTo>
                  <a:cubicBezTo>
                    <a:pt x="80" y="32"/>
                    <a:pt x="69" y="32"/>
                    <a:pt x="54" y="31"/>
                  </a:cubicBezTo>
                  <a:cubicBezTo>
                    <a:pt x="39" y="31"/>
                    <a:pt x="25" y="29"/>
                    <a:pt x="11" y="25"/>
                  </a:cubicBezTo>
                  <a:cubicBezTo>
                    <a:pt x="2" y="23"/>
                    <a:pt x="0" y="10"/>
                    <a:pt x="10" y="6"/>
                  </a:cubicBezTo>
                  <a:cubicBezTo>
                    <a:pt x="23" y="0"/>
                    <a:pt x="36" y="0"/>
                    <a:pt x="50" y="1"/>
                  </a:cubicBezTo>
                  <a:cubicBezTo>
                    <a:pt x="65" y="2"/>
                    <a:pt x="79" y="3"/>
                    <a:pt x="90" y="12"/>
                  </a:cubicBezTo>
                  <a:cubicBezTo>
                    <a:pt x="93" y="14"/>
                    <a:pt x="94" y="19"/>
                    <a:pt x="91" y="21"/>
                  </a:cubicBezTo>
                  <a:close/>
                </a:path>
              </a:pathLst>
            </a:custGeom>
            <a:solidFill>
              <a:srgbClr val="DD222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2" name="ïśļíḋè">
              <a:extLst>
                <a:ext uri="{FF2B5EF4-FFF2-40B4-BE49-F238E27FC236}">
                  <a16:creationId xmlns:a16="http://schemas.microsoft.com/office/drawing/2014/main" id="{E48691D7-5C24-4F92-9623-CD934890FC15}"/>
                </a:ext>
              </a:extLst>
            </p:cNvPr>
            <p:cNvSpPr/>
            <p:nvPr/>
          </p:nvSpPr>
          <p:spPr bwMode="auto">
            <a:xfrm>
              <a:off x="7051676" y="1547813"/>
              <a:ext cx="371475" cy="319088"/>
            </a:xfrm>
            <a:custGeom>
              <a:avLst/>
              <a:gdLst>
                <a:gd name="T0" fmla="*/ 3 w 88"/>
                <a:gd name="T1" fmla="*/ 68 h 76"/>
                <a:gd name="T2" fmla="*/ 22 w 88"/>
                <a:gd name="T3" fmla="*/ 34 h 76"/>
                <a:gd name="T4" fmla="*/ 61 w 88"/>
                <a:gd name="T5" fmla="*/ 5 h 76"/>
                <a:gd name="T6" fmla="*/ 78 w 88"/>
                <a:gd name="T7" fmla="*/ 4 h 76"/>
                <a:gd name="T8" fmla="*/ 79 w 88"/>
                <a:gd name="T9" fmla="*/ 4 h 76"/>
                <a:gd name="T10" fmla="*/ 87 w 88"/>
                <a:gd name="T11" fmla="*/ 15 h 76"/>
                <a:gd name="T12" fmla="*/ 86 w 88"/>
                <a:gd name="T13" fmla="*/ 13 h 76"/>
                <a:gd name="T14" fmla="*/ 83 w 88"/>
                <a:gd name="T15" fmla="*/ 29 h 76"/>
                <a:gd name="T16" fmla="*/ 48 w 88"/>
                <a:gd name="T17" fmla="*/ 55 h 76"/>
                <a:gd name="T18" fmla="*/ 8 w 88"/>
                <a:gd name="T19" fmla="*/ 73 h 76"/>
                <a:gd name="T20" fmla="*/ 3 w 88"/>
                <a:gd name="T21" fmla="*/ 68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8" h="76">
                  <a:moveTo>
                    <a:pt x="3" y="68"/>
                  </a:moveTo>
                  <a:cubicBezTo>
                    <a:pt x="0" y="51"/>
                    <a:pt x="11" y="44"/>
                    <a:pt x="22" y="34"/>
                  </a:cubicBezTo>
                  <a:cubicBezTo>
                    <a:pt x="35" y="23"/>
                    <a:pt x="47" y="13"/>
                    <a:pt x="61" y="5"/>
                  </a:cubicBezTo>
                  <a:cubicBezTo>
                    <a:pt x="66" y="2"/>
                    <a:pt x="73" y="0"/>
                    <a:pt x="78" y="4"/>
                  </a:cubicBezTo>
                  <a:cubicBezTo>
                    <a:pt x="78" y="4"/>
                    <a:pt x="79" y="4"/>
                    <a:pt x="79" y="4"/>
                  </a:cubicBezTo>
                  <a:cubicBezTo>
                    <a:pt x="84" y="4"/>
                    <a:pt x="87" y="10"/>
                    <a:pt x="87" y="15"/>
                  </a:cubicBezTo>
                  <a:cubicBezTo>
                    <a:pt x="86" y="14"/>
                    <a:pt x="86" y="13"/>
                    <a:pt x="86" y="13"/>
                  </a:cubicBezTo>
                  <a:cubicBezTo>
                    <a:pt x="88" y="18"/>
                    <a:pt x="88" y="25"/>
                    <a:pt x="83" y="29"/>
                  </a:cubicBezTo>
                  <a:cubicBezTo>
                    <a:pt x="72" y="39"/>
                    <a:pt x="60" y="47"/>
                    <a:pt x="48" y="55"/>
                  </a:cubicBezTo>
                  <a:cubicBezTo>
                    <a:pt x="35" y="64"/>
                    <a:pt x="25" y="76"/>
                    <a:pt x="8" y="73"/>
                  </a:cubicBezTo>
                  <a:cubicBezTo>
                    <a:pt x="5" y="73"/>
                    <a:pt x="4" y="71"/>
                    <a:pt x="3" y="68"/>
                  </a:cubicBezTo>
                  <a:close/>
                </a:path>
              </a:pathLst>
            </a:custGeom>
            <a:solidFill>
              <a:srgbClr val="DD222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3" name="îSlíḓé">
              <a:extLst>
                <a:ext uri="{FF2B5EF4-FFF2-40B4-BE49-F238E27FC236}">
                  <a16:creationId xmlns:a16="http://schemas.microsoft.com/office/drawing/2014/main" id="{07EABBE0-5F70-42FD-A415-269CE155D3A9}"/>
                </a:ext>
              </a:extLst>
            </p:cNvPr>
            <p:cNvSpPr/>
            <p:nvPr/>
          </p:nvSpPr>
          <p:spPr bwMode="auto">
            <a:xfrm>
              <a:off x="7512051" y="2613025"/>
              <a:ext cx="661988" cy="147638"/>
            </a:xfrm>
            <a:custGeom>
              <a:avLst/>
              <a:gdLst>
                <a:gd name="T0" fmla="*/ 5 w 157"/>
                <a:gd name="T1" fmla="*/ 19 h 35"/>
                <a:gd name="T2" fmla="*/ 14 w 157"/>
                <a:gd name="T3" fmla="*/ 14 h 35"/>
                <a:gd name="T4" fmla="*/ 32 w 157"/>
                <a:gd name="T5" fmla="*/ 9 h 35"/>
                <a:gd name="T6" fmla="*/ 73 w 157"/>
                <a:gd name="T7" fmla="*/ 3 h 35"/>
                <a:gd name="T8" fmla="*/ 152 w 157"/>
                <a:gd name="T9" fmla="*/ 8 h 35"/>
                <a:gd name="T10" fmla="*/ 153 w 157"/>
                <a:gd name="T11" fmla="*/ 16 h 35"/>
                <a:gd name="T12" fmla="*/ 81 w 157"/>
                <a:gd name="T13" fmla="*/ 33 h 35"/>
                <a:gd name="T14" fmla="*/ 39 w 157"/>
                <a:gd name="T15" fmla="*/ 35 h 35"/>
                <a:gd name="T16" fmla="*/ 20 w 157"/>
                <a:gd name="T17" fmla="*/ 34 h 35"/>
                <a:gd name="T18" fmla="*/ 6 w 157"/>
                <a:gd name="T19" fmla="*/ 30 h 35"/>
                <a:gd name="T20" fmla="*/ 5 w 157"/>
                <a:gd name="T21" fmla="*/ 19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7" h="35">
                  <a:moveTo>
                    <a:pt x="5" y="19"/>
                  </a:moveTo>
                  <a:cubicBezTo>
                    <a:pt x="9" y="18"/>
                    <a:pt x="10" y="15"/>
                    <a:pt x="14" y="14"/>
                  </a:cubicBezTo>
                  <a:cubicBezTo>
                    <a:pt x="20" y="12"/>
                    <a:pt x="26" y="10"/>
                    <a:pt x="32" y="9"/>
                  </a:cubicBezTo>
                  <a:cubicBezTo>
                    <a:pt x="45" y="6"/>
                    <a:pt x="59" y="5"/>
                    <a:pt x="73" y="3"/>
                  </a:cubicBezTo>
                  <a:cubicBezTo>
                    <a:pt x="99" y="0"/>
                    <a:pt x="126" y="3"/>
                    <a:pt x="152" y="8"/>
                  </a:cubicBezTo>
                  <a:cubicBezTo>
                    <a:pt x="157" y="8"/>
                    <a:pt x="157" y="14"/>
                    <a:pt x="153" y="16"/>
                  </a:cubicBezTo>
                  <a:cubicBezTo>
                    <a:pt x="130" y="25"/>
                    <a:pt x="105" y="30"/>
                    <a:pt x="81" y="33"/>
                  </a:cubicBezTo>
                  <a:cubicBezTo>
                    <a:pt x="67" y="35"/>
                    <a:pt x="53" y="35"/>
                    <a:pt x="39" y="35"/>
                  </a:cubicBezTo>
                  <a:cubicBezTo>
                    <a:pt x="33" y="35"/>
                    <a:pt x="26" y="35"/>
                    <a:pt x="20" y="34"/>
                  </a:cubicBezTo>
                  <a:cubicBezTo>
                    <a:pt x="15" y="33"/>
                    <a:pt x="11" y="30"/>
                    <a:pt x="6" y="30"/>
                  </a:cubicBezTo>
                  <a:cubicBezTo>
                    <a:pt x="0" y="29"/>
                    <a:pt x="0" y="21"/>
                    <a:pt x="5" y="19"/>
                  </a:cubicBezTo>
                  <a:close/>
                </a:path>
              </a:pathLst>
            </a:custGeom>
            <a:solidFill>
              <a:srgbClr val="DD222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4" name="ïṧļiḋè">
              <a:extLst>
                <a:ext uri="{FF2B5EF4-FFF2-40B4-BE49-F238E27FC236}">
                  <a16:creationId xmlns:a16="http://schemas.microsoft.com/office/drawing/2014/main" id="{AC0076C9-C02B-4894-AA8A-CB0D79CDD88B}"/>
                </a:ext>
              </a:extLst>
            </p:cNvPr>
            <p:cNvSpPr/>
            <p:nvPr/>
          </p:nvSpPr>
          <p:spPr bwMode="auto">
            <a:xfrm>
              <a:off x="7550151" y="3535363"/>
              <a:ext cx="527050" cy="198438"/>
            </a:xfrm>
            <a:custGeom>
              <a:avLst/>
              <a:gdLst>
                <a:gd name="T0" fmla="*/ 15 w 125"/>
                <a:gd name="T1" fmla="*/ 3 h 47"/>
                <a:gd name="T2" fmla="*/ 70 w 125"/>
                <a:gd name="T3" fmla="*/ 8 h 47"/>
                <a:gd name="T4" fmla="*/ 120 w 125"/>
                <a:gd name="T5" fmla="*/ 31 h 47"/>
                <a:gd name="T6" fmla="*/ 115 w 125"/>
                <a:gd name="T7" fmla="*/ 47 h 47"/>
                <a:gd name="T8" fmla="*/ 64 w 125"/>
                <a:gd name="T9" fmla="*/ 39 h 47"/>
                <a:gd name="T10" fmla="*/ 11 w 125"/>
                <a:gd name="T11" fmla="*/ 24 h 47"/>
                <a:gd name="T12" fmla="*/ 15 w 125"/>
                <a:gd name="T13" fmla="*/ 3 h 47"/>
              </a:gdLst>
              <a:ahLst/>
              <a:cxnLst>
                <a:cxn ang="0">
                  <a:pos x="T0" y="T1"/>
                </a:cxn>
                <a:cxn ang="0">
                  <a:pos x="T2" y="T3"/>
                </a:cxn>
                <a:cxn ang="0">
                  <a:pos x="T4" y="T5"/>
                </a:cxn>
                <a:cxn ang="0">
                  <a:pos x="T6" y="T7"/>
                </a:cxn>
                <a:cxn ang="0">
                  <a:pos x="T8" y="T9"/>
                </a:cxn>
                <a:cxn ang="0">
                  <a:pos x="T10" y="T11"/>
                </a:cxn>
                <a:cxn ang="0">
                  <a:pos x="T12" y="T13"/>
                </a:cxn>
              </a:cxnLst>
              <a:rect l="0" t="0" r="r" b="b"/>
              <a:pathLst>
                <a:path w="125" h="47">
                  <a:moveTo>
                    <a:pt x="15" y="3"/>
                  </a:moveTo>
                  <a:cubicBezTo>
                    <a:pt x="34" y="0"/>
                    <a:pt x="52" y="4"/>
                    <a:pt x="70" y="8"/>
                  </a:cubicBezTo>
                  <a:cubicBezTo>
                    <a:pt x="88" y="13"/>
                    <a:pt x="107" y="19"/>
                    <a:pt x="120" y="31"/>
                  </a:cubicBezTo>
                  <a:cubicBezTo>
                    <a:pt x="125" y="36"/>
                    <a:pt x="124" y="47"/>
                    <a:pt x="115" y="47"/>
                  </a:cubicBezTo>
                  <a:cubicBezTo>
                    <a:pt x="98" y="47"/>
                    <a:pt x="81" y="43"/>
                    <a:pt x="64" y="39"/>
                  </a:cubicBezTo>
                  <a:cubicBezTo>
                    <a:pt x="46" y="35"/>
                    <a:pt x="28" y="33"/>
                    <a:pt x="11" y="24"/>
                  </a:cubicBezTo>
                  <a:cubicBezTo>
                    <a:pt x="0" y="19"/>
                    <a:pt x="4" y="4"/>
                    <a:pt x="15" y="3"/>
                  </a:cubicBezTo>
                  <a:close/>
                </a:path>
              </a:pathLst>
            </a:custGeom>
            <a:solidFill>
              <a:srgbClr val="DD222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5" name="ísḻïḓè">
              <a:extLst>
                <a:ext uri="{FF2B5EF4-FFF2-40B4-BE49-F238E27FC236}">
                  <a16:creationId xmlns:a16="http://schemas.microsoft.com/office/drawing/2014/main" id="{8502C5F8-502A-46FD-A9AE-CEF0B19E32DE}"/>
                </a:ext>
              </a:extLst>
            </p:cNvPr>
            <p:cNvSpPr/>
            <p:nvPr/>
          </p:nvSpPr>
          <p:spPr bwMode="auto">
            <a:xfrm>
              <a:off x="4017963" y="3848101"/>
              <a:ext cx="400050" cy="260350"/>
            </a:xfrm>
            <a:custGeom>
              <a:avLst/>
              <a:gdLst>
                <a:gd name="T0" fmla="*/ 90 w 95"/>
                <a:gd name="T1" fmla="*/ 17 h 62"/>
                <a:gd name="T2" fmla="*/ 13 w 95"/>
                <a:gd name="T3" fmla="*/ 61 h 62"/>
                <a:gd name="T4" fmla="*/ 7 w 95"/>
                <a:gd name="T5" fmla="*/ 44 h 62"/>
                <a:gd name="T6" fmla="*/ 76 w 95"/>
                <a:gd name="T7" fmla="*/ 6 h 62"/>
                <a:gd name="T8" fmla="*/ 90 w 95"/>
                <a:gd name="T9" fmla="*/ 17 h 62"/>
              </a:gdLst>
              <a:ahLst/>
              <a:cxnLst>
                <a:cxn ang="0">
                  <a:pos x="T0" y="T1"/>
                </a:cxn>
                <a:cxn ang="0">
                  <a:pos x="T2" y="T3"/>
                </a:cxn>
                <a:cxn ang="0">
                  <a:pos x="T4" y="T5"/>
                </a:cxn>
                <a:cxn ang="0">
                  <a:pos x="T6" y="T7"/>
                </a:cxn>
                <a:cxn ang="0">
                  <a:pos x="T8" y="T9"/>
                </a:cxn>
              </a:cxnLst>
              <a:rect l="0" t="0" r="r" b="b"/>
              <a:pathLst>
                <a:path w="95" h="62">
                  <a:moveTo>
                    <a:pt x="90" y="17"/>
                  </a:moveTo>
                  <a:cubicBezTo>
                    <a:pt x="74" y="43"/>
                    <a:pt x="42" y="55"/>
                    <a:pt x="13" y="61"/>
                  </a:cubicBezTo>
                  <a:cubicBezTo>
                    <a:pt x="3" y="62"/>
                    <a:pt x="0" y="49"/>
                    <a:pt x="7" y="44"/>
                  </a:cubicBezTo>
                  <a:cubicBezTo>
                    <a:pt x="28" y="29"/>
                    <a:pt x="55" y="22"/>
                    <a:pt x="76" y="6"/>
                  </a:cubicBezTo>
                  <a:cubicBezTo>
                    <a:pt x="83" y="0"/>
                    <a:pt x="95" y="9"/>
                    <a:pt x="90" y="17"/>
                  </a:cubicBezTo>
                  <a:close/>
                </a:path>
              </a:pathLst>
            </a:custGeom>
            <a:solidFill>
              <a:srgbClr val="DD222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6" name="íš1îde">
              <a:extLst>
                <a:ext uri="{FF2B5EF4-FFF2-40B4-BE49-F238E27FC236}">
                  <a16:creationId xmlns:a16="http://schemas.microsoft.com/office/drawing/2014/main" id="{978B855D-0528-48F5-870B-D6F8075DED67}"/>
                </a:ext>
              </a:extLst>
            </p:cNvPr>
            <p:cNvSpPr/>
            <p:nvPr/>
          </p:nvSpPr>
          <p:spPr bwMode="auto">
            <a:xfrm>
              <a:off x="4476751" y="4778376"/>
              <a:ext cx="3114675" cy="911225"/>
            </a:xfrm>
            <a:custGeom>
              <a:avLst/>
              <a:gdLst>
                <a:gd name="T0" fmla="*/ 0 w 738"/>
                <a:gd name="T1" fmla="*/ 105 h 216"/>
                <a:gd name="T2" fmla="*/ 5 w 738"/>
                <a:gd name="T3" fmla="*/ 120 h 216"/>
                <a:gd name="T4" fmla="*/ 177 w 738"/>
                <a:gd name="T5" fmla="*/ 198 h 216"/>
                <a:gd name="T6" fmla="*/ 594 w 738"/>
                <a:gd name="T7" fmla="*/ 191 h 216"/>
                <a:gd name="T8" fmla="*/ 722 w 738"/>
                <a:gd name="T9" fmla="*/ 0 h 216"/>
                <a:gd name="T10" fmla="*/ 650 w 738"/>
                <a:gd name="T11" fmla="*/ 109 h 216"/>
                <a:gd name="T12" fmla="*/ 362 w 738"/>
                <a:gd name="T13" fmla="*/ 154 h 216"/>
                <a:gd name="T14" fmla="*/ 103 w 738"/>
                <a:gd name="T15" fmla="*/ 154 h 216"/>
                <a:gd name="T16" fmla="*/ 8 w 738"/>
                <a:gd name="T17" fmla="*/ 114 h 216"/>
                <a:gd name="T18" fmla="*/ 0 w 738"/>
                <a:gd name="T19" fmla="*/ 105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38" h="216">
                  <a:moveTo>
                    <a:pt x="0" y="105"/>
                  </a:moveTo>
                  <a:cubicBezTo>
                    <a:pt x="2" y="110"/>
                    <a:pt x="3" y="115"/>
                    <a:pt x="5" y="120"/>
                  </a:cubicBezTo>
                  <a:cubicBezTo>
                    <a:pt x="37" y="206"/>
                    <a:pt x="82" y="197"/>
                    <a:pt x="177" y="198"/>
                  </a:cubicBezTo>
                  <a:cubicBezTo>
                    <a:pt x="315" y="200"/>
                    <a:pt x="457" y="216"/>
                    <a:pt x="594" y="191"/>
                  </a:cubicBezTo>
                  <a:cubicBezTo>
                    <a:pt x="725" y="167"/>
                    <a:pt x="738" y="114"/>
                    <a:pt x="722" y="0"/>
                  </a:cubicBezTo>
                  <a:cubicBezTo>
                    <a:pt x="708" y="48"/>
                    <a:pt x="676" y="96"/>
                    <a:pt x="650" y="109"/>
                  </a:cubicBezTo>
                  <a:cubicBezTo>
                    <a:pt x="573" y="146"/>
                    <a:pt x="449" y="151"/>
                    <a:pt x="362" y="154"/>
                  </a:cubicBezTo>
                  <a:cubicBezTo>
                    <a:pt x="277" y="157"/>
                    <a:pt x="184" y="168"/>
                    <a:pt x="103" y="154"/>
                  </a:cubicBezTo>
                  <a:cubicBezTo>
                    <a:pt x="64" y="148"/>
                    <a:pt x="36" y="147"/>
                    <a:pt x="8" y="114"/>
                  </a:cubicBezTo>
                  <a:cubicBezTo>
                    <a:pt x="5" y="111"/>
                    <a:pt x="3" y="108"/>
                    <a:pt x="0" y="105"/>
                  </a:cubicBez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grpSp>
    </p:spTree>
    <p:extLst>
      <p:ext uri="{BB962C8B-B14F-4D97-AF65-F5344CB8AC3E}">
        <p14:creationId xmlns:p14="http://schemas.microsoft.com/office/powerpoint/2010/main" val="4185927000"/>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smtClean="0"/>
              <a:t>报表生成</a:t>
            </a:r>
            <a:endParaRPr lang="zh-CN" altLang="en-US" dirty="0"/>
          </a:p>
        </p:txBody>
      </p:sp>
      <p:sp>
        <p:nvSpPr>
          <p:cNvPr id="354" name="ïšļidé">
            <a:extLst>
              <a:ext uri="{FF2B5EF4-FFF2-40B4-BE49-F238E27FC236}">
                <a16:creationId xmlns:a16="http://schemas.microsoft.com/office/drawing/2014/main" id="{81B77A07-09A8-44B3-9998-79930FAE8FDA}"/>
              </a:ext>
            </a:extLst>
          </p:cNvPr>
          <p:cNvSpPr/>
          <p:nvPr/>
        </p:nvSpPr>
        <p:spPr>
          <a:xfrm flipH="1">
            <a:off x="669924" y="1161103"/>
            <a:ext cx="5740313" cy="1257229"/>
          </a:xfrm>
          <a:prstGeom prst="homePlate">
            <a:avLst>
              <a:gd name="adj" fmla="val 33591"/>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wrap="square" lIns="91440" tIns="45720" rIns="91440" bIns="45720" rtlCol="0" anchor="ctr">
            <a:noAutofit/>
          </a:bodyPr>
          <a:lstStyle/>
          <a:p>
            <a:endParaRPr lang="en-US" altLang="zh-CN" sz="1200" dirty="0">
              <a:solidFill>
                <a:schemeClr val="tx1"/>
              </a:solidFill>
            </a:endParaRPr>
          </a:p>
        </p:txBody>
      </p:sp>
      <p:sp>
        <p:nvSpPr>
          <p:cNvPr id="355" name="ïṥľîḍé">
            <a:extLst>
              <a:ext uri="{FF2B5EF4-FFF2-40B4-BE49-F238E27FC236}">
                <a16:creationId xmlns:a16="http://schemas.microsoft.com/office/drawing/2014/main" id="{EB8C8A9F-09C8-426C-B833-4C7201B01231}"/>
              </a:ext>
            </a:extLst>
          </p:cNvPr>
          <p:cNvSpPr txBox="1"/>
          <p:nvPr/>
        </p:nvSpPr>
        <p:spPr>
          <a:xfrm>
            <a:off x="1111228" y="1161104"/>
            <a:ext cx="3383410" cy="499702"/>
          </a:xfrm>
          <a:prstGeom prst="rect">
            <a:avLst/>
          </a:prstGeom>
          <a:noFill/>
        </p:spPr>
        <p:txBody>
          <a:bodyPr wrap="none" lIns="90000" tIns="46800" rIns="90000" bIns="46800" rtlCol="0" anchor="ctr" anchorCtr="0">
            <a:normAutofit/>
          </a:bodyPr>
          <a:lstStyle/>
          <a:p>
            <a:r>
              <a:rPr lang="zh-CN" altLang="en-US" b="1" dirty="0" smtClean="0">
                <a:solidFill>
                  <a:schemeClr val="accent1"/>
                </a:solidFill>
              </a:rPr>
              <a:t>报表</a:t>
            </a:r>
            <a:endParaRPr lang="en-US" altLang="zh-CN" b="1" dirty="0">
              <a:solidFill>
                <a:schemeClr val="accent1"/>
              </a:solidFill>
            </a:endParaRPr>
          </a:p>
        </p:txBody>
      </p:sp>
      <p:sp>
        <p:nvSpPr>
          <p:cNvPr id="356" name="i$ľïḓé">
            <a:extLst>
              <a:ext uri="{FF2B5EF4-FFF2-40B4-BE49-F238E27FC236}">
                <a16:creationId xmlns:a16="http://schemas.microsoft.com/office/drawing/2014/main" id="{CEBC4581-8D2E-4808-828C-3CE3D65BE002}"/>
              </a:ext>
            </a:extLst>
          </p:cNvPr>
          <p:cNvSpPr txBox="1"/>
          <p:nvPr/>
        </p:nvSpPr>
        <p:spPr>
          <a:xfrm>
            <a:off x="1111228" y="1660808"/>
            <a:ext cx="3383409" cy="757524"/>
          </a:xfrm>
          <a:prstGeom prst="rect">
            <a:avLst/>
          </a:prstGeom>
          <a:noFill/>
        </p:spPr>
        <p:txBody>
          <a:bodyPr wrap="square" lIns="90000" tIns="46800" rIns="90000" bIns="46800" rtlCol="0">
            <a:noAutofit/>
          </a:bodyPr>
          <a:lstStyle/>
          <a:p>
            <a:pPr marL="171450" indent="-171450">
              <a:lnSpc>
                <a:spcPct val="150000"/>
              </a:lnSpc>
              <a:buFont typeface="Arial" panose="020B0604020202020204" pitchFamily="34" charset="0"/>
              <a:buChar char="•"/>
            </a:pPr>
            <a:r>
              <a:rPr lang="zh-CN" altLang="en-US" sz="1000" dirty="0"/>
              <a:t>报表查询、生成下载</a:t>
            </a:r>
          </a:p>
          <a:p>
            <a:pPr marL="171450" indent="-171450">
              <a:lnSpc>
                <a:spcPct val="150000"/>
              </a:lnSpc>
              <a:buFont typeface="Arial" panose="020B0604020202020204" pitchFamily="34" charset="0"/>
              <a:buChar char="•"/>
            </a:pPr>
            <a:r>
              <a:rPr lang="zh-CN" altLang="en-US" sz="1000" dirty="0"/>
              <a:t>丰富的过滤规则、高效查找指定报表</a:t>
            </a:r>
          </a:p>
          <a:p>
            <a:pPr marL="171450" indent="-171450">
              <a:lnSpc>
                <a:spcPct val="150000"/>
              </a:lnSpc>
              <a:buFont typeface="Arial" panose="020B0604020202020204" pitchFamily="34" charset="0"/>
              <a:buChar char="•"/>
            </a:pPr>
            <a:r>
              <a:rPr lang="zh-CN" altLang="en-US" sz="1000" dirty="0"/>
              <a:t>实时表格显示，产线状态</a:t>
            </a:r>
            <a:r>
              <a:rPr lang="zh-CN" altLang="en-US" sz="1000" dirty="0" smtClean="0"/>
              <a:t>一目了然</a:t>
            </a:r>
            <a:endParaRPr lang="en-US" altLang="zh-CN" sz="1000" dirty="0"/>
          </a:p>
        </p:txBody>
      </p:sp>
      <p:sp>
        <p:nvSpPr>
          <p:cNvPr id="357" name="ïṡ1iḓê">
            <a:extLst>
              <a:ext uri="{FF2B5EF4-FFF2-40B4-BE49-F238E27FC236}">
                <a16:creationId xmlns:a16="http://schemas.microsoft.com/office/drawing/2014/main" id="{E865E74E-2477-4BF0-AF4D-15D576329119}"/>
              </a:ext>
            </a:extLst>
          </p:cNvPr>
          <p:cNvSpPr/>
          <p:nvPr/>
        </p:nvSpPr>
        <p:spPr>
          <a:xfrm>
            <a:off x="4652049" y="1168531"/>
            <a:ext cx="1810051" cy="1249802"/>
          </a:xfrm>
          <a:prstGeom prst="rect">
            <a:avLst/>
          </a:prstGeom>
          <a:blipFill>
            <a:blip r:embed="rId3" cstate="email">
              <a:extLst>
                <a:ext uri="{28A0092B-C50C-407E-A947-70E740481C1C}">
                  <a14:useLocalDpi xmlns:a14="http://schemas.microsoft.com/office/drawing/2010/main"/>
                </a:ext>
              </a:extLst>
            </a:blip>
            <a:srcRect/>
            <a:stretch>
              <a:fillRect l="4012"/>
            </a:stretch>
          </a:blipFill>
          <a:ln w="381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Autofit/>
          </a:bodyPr>
          <a:lstStyle/>
          <a:p>
            <a:pPr algn="ctr"/>
            <a:endParaRPr lang="zh-CN" altLang="en-US" sz="2200"/>
          </a:p>
        </p:txBody>
      </p:sp>
      <p:pic>
        <p:nvPicPr>
          <p:cNvPr id="358" name="图片 357"/>
          <p:cNvPicPr>
            <a:picLocks noChangeAspect="1"/>
          </p:cNvPicPr>
          <p:nvPr/>
        </p:nvPicPr>
        <p:blipFill rotWithShape="1">
          <a:blip r:embed="rId4"/>
          <a:srcRect b="13851"/>
          <a:stretch/>
        </p:blipFill>
        <p:spPr>
          <a:xfrm>
            <a:off x="4199243" y="2558163"/>
            <a:ext cx="7547593" cy="2233299"/>
          </a:xfrm>
          <a:prstGeom prst="rect">
            <a:avLst/>
          </a:prstGeom>
        </p:spPr>
      </p:pic>
      <p:pic>
        <p:nvPicPr>
          <p:cNvPr id="359" name="图片 358"/>
          <p:cNvPicPr>
            <a:picLocks noChangeAspect="1"/>
          </p:cNvPicPr>
          <p:nvPr/>
        </p:nvPicPr>
        <p:blipFill>
          <a:blip r:embed="rId5"/>
          <a:stretch>
            <a:fillRect/>
          </a:stretch>
        </p:blipFill>
        <p:spPr>
          <a:xfrm>
            <a:off x="1039359" y="4778119"/>
            <a:ext cx="6319767" cy="2079881"/>
          </a:xfrm>
          <a:prstGeom prst="rect">
            <a:avLst/>
          </a:prstGeom>
        </p:spPr>
      </p:pic>
      <p:sp>
        <p:nvSpPr>
          <p:cNvPr id="361" name="文本框 360"/>
          <p:cNvSpPr txBox="1"/>
          <p:nvPr/>
        </p:nvSpPr>
        <p:spPr>
          <a:xfrm>
            <a:off x="1447650" y="3388487"/>
            <a:ext cx="646331" cy="923330"/>
          </a:xfrm>
          <a:prstGeom prst="rect">
            <a:avLst/>
          </a:prstGeom>
          <a:noFill/>
        </p:spPr>
        <p:txBody>
          <a:bodyPr wrap="none" rtlCol="0">
            <a:spAutoFit/>
          </a:bodyPr>
          <a:lstStyle/>
          <a:p>
            <a:r>
              <a:rPr lang="zh-CN" altLang="en-US" dirty="0" smtClean="0"/>
              <a:t>客户</a:t>
            </a:r>
            <a:endParaRPr lang="en-US" altLang="zh-CN" dirty="0" smtClean="0"/>
          </a:p>
          <a:p>
            <a:r>
              <a:rPr lang="zh-CN" altLang="en-US" dirty="0" smtClean="0"/>
              <a:t>报表</a:t>
            </a:r>
            <a:endParaRPr lang="en-US" altLang="zh-CN" dirty="0" smtClean="0"/>
          </a:p>
          <a:p>
            <a:r>
              <a:rPr lang="zh-CN" altLang="en-US" dirty="0" smtClean="0"/>
              <a:t>展示</a:t>
            </a:r>
            <a:endParaRPr lang="zh-CN" altLang="en-US" dirty="0"/>
          </a:p>
        </p:txBody>
      </p:sp>
      <p:sp>
        <p:nvSpPr>
          <p:cNvPr id="364" name="右箭头 363"/>
          <p:cNvSpPr/>
          <p:nvPr/>
        </p:nvSpPr>
        <p:spPr>
          <a:xfrm>
            <a:off x="2384612" y="3558988"/>
            <a:ext cx="1524000" cy="699247"/>
          </a:xfrm>
          <a:prstGeom prst="right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65" name="文本框 364"/>
          <p:cNvSpPr txBox="1"/>
          <p:nvPr/>
        </p:nvSpPr>
        <p:spPr>
          <a:xfrm>
            <a:off x="9991015" y="5271075"/>
            <a:ext cx="646331" cy="923330"/>
          </a:xfrm>
          <a:prstGeom prst="rect">
            <a:avLst/>
          </a:prstGeom>
          <a:noFill/>
        </p:spPr>
        <p:txBody>
          <a:bodyPr wrap="none" rtlCol="0">
            <a:spAutoFit/>
          </a:bodyPr>
          <a:lstStyle/>
          <a:p>
            <a:r>
              <a:rPr lang="zh-CN" altLang="en-US" dirty="0" smtClean="0"/>
              <a:t>产线</a:t>
            </a:r>
            <a:endParaRPr lang="en-US" altLang="zh-CN" dirty="0" smtClean="0"/>
          </a:p>
          <a:p>
            <a:r>
              <a:rPr lang="zh-CN" altLang="en-US" dirty="0" smtClean="0"/>
              <a:t>实时</a:t>
            </a:r>
            <a:endParaRPr lang="en-US" altLang="zh-CN" dirty="0" smtClean="0"/>
          </a:p>
          <a:p>
            <a:r>
              <a:rPr lang="zh-CN" altLang="en-US" dirty="0" smtClean="0"/>
              <a:t>情况</a:t>
            </a:r>
            <a:endParaRPr lang="zh-CN" altLang="en-US" dirty="0"/>
          </a:p>
        </p:txBody>
      </p:sp>
      <p:sp>
        <p:nvSpPr>
          <p:cNvPr id="366" name="右箭头 365"/>
          <p:cNvSpPr/>
          <p:nvPr/>
        </p:nvSpPr>
        <p:spPr>
          <a:xfrm rot="10800000">
            <a:off x="8265459" y="5468435"/>
            <a:ext cx="1524000" cy="699247"/>
          </a:xfrm>
          <a:prstGeom prst="right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Tree>
    <p:extLst>
      <p:ext uri="{BB962C8B-B14F-4D97-AF65-F5344CB8AC3E}">
        <p14:creationId xmlns:p14="http://schemas.microsoft.com/office/powerpoint/2010/main" val="3056328654"/>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1863EB02-71F6-48DE-85EC-615DFD277BE0}"/>
              </a:ext>
            </a:extLst>
          </p:cNvPr>
          <p:cNvSpPr>
            <a:spLocks noGrp="1"/>
          </p:cNvSpPr>
          <p:nvPr>
            <p:ph type="title"/>
          </p:nvPr>
        </p:nvSpPr>
        <p:spPr/>
        <p:txBody>
          <a:bodyPr/>
          <a:lstStyle/>
          <a:p>
            <a:r>
              <a:rPr lang="zh-CN" altLang="en-US" dirty="0"/>
              <a:t>移动</a:t>
            </a:r>
            <a:r>
              <a:rPr lang="en-US" altLang="zh-CN" dirty="0"/>
              <a:t>APP</a:t>
            </a:r>
            <a:r>
              <a:rPr lang="zh-CN" altLang="en-US" dirty="0" smtClean="0"/>
              <a:t>客户端</a:t>
            </a:r>
            <a:r>
              <a:rPr lang="zh-CN" altLang="en-US" dirty="0"/>
              <a:t>使</a:t>
            </a:r>
            <a:r>
              <a:rPr lang="zh-CN" altLang="en-US" dirty="0" smtClean="0"/>
              <a:t>用场景</a:t>
            </a:r>
            <a:endParaRPr lang="zh-CN" altLang="en-US" dirty="0"/>
          </a:p>
        </p:txBody>
      </p:sp>
      <p:cxnSp>
        <p:nvCxnSpPr>
          <p:cNvPr id="18" name="直接连接符 17">
            <a:extLst>
              <a:ext uri="{FF2B5EF4-FFF2-40B4-BE49-F238E27FC236}">
                <a16:creationId xmlns:a16="http://schemas.microsoft.com/office/drawing/2014/main" id="{0E958E47-B088-471D-9E8C-831446027D5D}"/>
              </a:ext>
            </a:extLst>
          </p:cNvPr>
          <p:cNvCxnSpPr/>
          <p:nvPr/>
        </p:nvCxnSpPr>
        <p:spPr>
          <a:xfrm>
            <a:off x="6095205" y="1149423"/>
            <a:ext cx="0" cy="5019675"/>
          </a:xfrm>
          <a:prstGeom prst="line">
            <a:avLst/>
          </a:prstGeom>
          <a:ln w="3175" cap="rnd">
            <a:solidFill>
              <a:schemeClr val="bg1">
                <a:lumMod val="75000"/>
              </a:schemeClr>
            </a:solidFill>
            <a:round/>
            <a:headEnd type="none"/>
            <a:tailEnd type="none" w="med" len="med"/>
          </a:ln>
        </p:spPr>
        <p:style>
          <a:lnRef idx="1">
            <a:schemeClr val="accent1"/>
          </a:lnRef>
          <a:fillRef idx="0">
            <a:schemeClr val="accent1"/>
          </a:fillRef>
          <a:effectRef idx="0">
            <a:schemeClr val="accent1"/>
          </a:effectRef>
          <a:fontRef idx="minor">
            <a:schemeClr val="tx1"/>
          </a:fontRef>
        </p:style>
      </p:cxnSp>
      <p:pic>
        <p:nvPicPr>
          <p:cNvPr id="22" name="内容占位符 10"/>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669924" y="2271286"/>
            <a:ext cx="4629975" cy="3476600"/>
          </a:xfrm>
          <a:prstGeom prst="rect">
            <a:avLst/>
          </a:prstGeom>
        </p:spPr>
      </p:pic>
      <p:pic>
        <p:nvPicPr>
          <p:cNvPr id="23" name="内容占位符 9"/>
          <p:cNvPicPr>
            <a:picLocks noChangeAspect="1"/>
          </p:cNvPicPr>
          <p:nvPr/>
        </p:nvPicPr>
        <p:blipFill>
          <a:blip r:embed="rId4" cstate="email">
            <a:extLst>
              <a:ext uri="{28A0092B-C50C-407E-A947-70E740481C1C}">
                <a14:useLocalDpi xmlns:a14="http://schemas.microsoft.com/office/drawing/2010/main" val="0"/>
              </a:ext>
            </a:extLst>
          </a:blip>
          <a:stretch>
            <a:fillRect/>
          </a:stretch>
        </p:blipFill>
        <p:spPr>
          <a:xfrm>
            <a:off x="6896095" y="2307003"/>
            <a:ext cx="4624392" cy="3472408"/>
          </a:xfrm>
          <a:prstGeom prst="rect">
            <a:avLst/>
          </a:prstGeom>
        </p:spPr>
      </p:pic>
      <p:sp>
        <p:nvSpPr>
          <p:cNvPr id="25" name="íślïḍé">
            <a:extLst>
              <a:ext uri="{FF2B5EF4-FFF2-40B4-BE49-F238E27FC236}">
                <a16:creationId xmlns:a16="http://schemas.microsoft.com/office/drawing/2014/main" id="{0E81924E-C3F9-4691-A815-931AF4EE2085}"/>
              </a:ext>
            </a:extLst>
          </p:cNvPr>
          <p:cNvSpPr/>
          <p:nvPr/>
        </p:nvSpPr>
        <p:spPr bwMode="auto">
          <a:xfrm>
            <a:off x="1114237" y="1403584"/>
            <a:ext cx="3741348" cy="610914"/>
          </a:xfrm>
          <a:prstGeom prst="ellipse">
            <a:avLst/>
          </a:prstGeom>
          <a:solidFill>
            <a:schemeClr val="tx2">
              <a:lumMod val="20000"/>
              <a:lumOff val="80000"/>
            </a:schemeClr>
          </a:solidFill>
          <a:ln w="15875">
            <a:noFill/>
          </a:ln>
          <a:effectLst/>
        </p:spPr>
        <p:style>
          <a:lnRef idx="2">
            <a:schemeClr val="accent1">
              <a:shade val="50000"/>
            </a:schemeClr>
          </a:lnRef>
          <a:fillRef idx="1">
            <a:schemeClr val="accent1"/>
          </a:fillRef>
          <a:effectRef idx="0">
            <a:schemeClr val="accent1"/>
          </a:effectRef>
          <a:fontRef idx="minor">
            <a:schemeClr val="lt1"/>
          </a:fontRef>
        </p:style>
        <p:txBody>
          <a:bodyPr wrap="none" rtlCol="0" anchor="ctr">
            <a:normAutofit lnSpcReduction="10000"/>
          </a:bodyPr>
          <a:lstStyle/>
          <a:p>
            <a:pPr algn="ctr"/>
            <a:r>
              <a:rPr lang="zh-CN" altLang="en-US" sz="2400" b="1" dirty="0" smtClean="0">
                <a:solidFill>
                  <a:schemeClr val="tx1"/>
                </a:solidFill>
              </a:rPr>
              <a:t>应用前</a:t>
            </a:r>
            <a:endParaRPr lang="zh-CN" altLang="en-US" sz="2400" b="1" dirty="0">
              <a:solidFill>
                <a:schemeClr val="tx1"/>
              </a:solidFill>
            </a:endParaRPr>
          </a:p>
        </p:txBody>
      </p:sp>
      <p:sp>
        <p:nvSpPr>
          <p:cNvPr id="26" name="íślïḍé">
            <a:extLst>
              <a:ext uri="{FF2B5EF4-FFF2-40B4-BE49-F238E27FC236}">
                <a16:creationId xmlns:a16="http://schemas.microsoft.com/office/drawing/2014/main" id="{0E81924E-C3F9-4691-A815-931AF4EE2085}"/>
              </a:ext>
            </a:extLst>
          </p:cNvPr>
          <p:cNvSpPr/>
          <p:nvPr/>
        </p:nvSpPr>
        <p:spPr bwMode="auto">
          <a:xfrm>
            <a:off x="7334826" y="1403584"/>
            <a:ext cx="3741348" cy="610914"/>
          </a:xfrm>
          <a:prstGeom prst="ellipse">
            <a:avLst/>
          </a:prstGeom>
          <a:solidFill>
            <a:schemeClr val="tx2">
              <a:lumMod val="20000"/>
              <a:lumOff val="80000"/>
            </a:schemeClr>
          </a:solidFill>
          <a:ln w="15875">
            <a:noFill/>
          </a:ln>
          <a:effectLst/>
        </p:spPr>
        <p:style>
          <a:lnRef idx="2">
            <a:schemeClr val="accent1">
              <a:shade val="50000"/>
            </a:schemeClr>
          </a:lnRef>
          <a:fillRef idx="1">
            <a:schemeClr val="accent1"/>
          </a:fillRef>
          <a:effectRef idx="0">
            <a:schemeClr val="accent1"/>
          </a:effectRef>
          <a:fontRef idx="minor">
            <a:schemeClr val="lt1"/>
          </a:fontRef>
        </p:style>
        <p:txBody>
          <a:bodyPr wrap="none" rtlCol="0" anchor="ctr">
            <a:normAutofit lnSpcReduction="10000"/>
          </a:bodyPr>
          <a:lstStyle/>
          <a:p>
            <a:pPr algn="ctr"/>
            <a:r>
              <a:rPr lang="zh-CN" altLang="en-US" sz="2400" b="1" dirty="0" smtClean="0">
                <a:solidFill>
                  <a:schemeClr val="tx1"/>
                </a:solidFill>
              </a:rPr>
              <a:t>应用后</a:t>
            </a:r>
            <a:endParaRPr lang="zh-CN" altLang="en-US" sz="2400" b="1" dirty="0">
              <a:solidFill>
                <a:schemeClr val="tx1"/>
              </a:solidFill>
            </a:endParaRPr>
          </a:p>
        </p:txBody>
      </p:sp>
      <p:sp>
        <p:nvSpPr>
          <p:cNvPr id="5" name="椭圆 4"/>
          <p:cNvSpPr/>
          <p:nvPr/>
        </p:nvSpPr>
        <p:spPr>
          <a:xfrm>
            <a:off x="9099969" y="4762100"/>
            <a:ext cx="958431" cy="889060"/>
          </a:xfrm>
          <a:prstGeom prst="ellipse">
            <a:avLst/>
          </a:prstGeom>
          <a:noFill/>
          <a:ln w="57150">
            <a:solidFill>
              <a:srgbClr val="CC4A4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Tree>
    <p:extLst>
      <p:ext uri="{BB962C8B-B14F-4D97-AF65-F5344CB8AC3E}">
        <p14:creationId xmlns:p14="http://schemas.microsoft.com/office/powerpoint/2010/main" val="1169914048"/>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80CA9043-2179-45A1-AECB-EF8D3DFC733C}"/>
              </a:ext>
            </a:extLst>
          </p:cNvPr>
          <p:cNvSpPr>
            <a:spLocks noGrp="1"/>
          </p:cNvSpPr>
          <p:nvPr>
            <p:ph type="title"/>
          </p:nvPr>
        </p:nvSpPr>
        <p:spPr/>
        <p:txBody>
          <a:bodyPr/>
          <a:lstStyle/>
          <a:p>
            <a:pPr>
              <a:lnSpc>
                <a:spcPct val="100000"/>
              </a:lnSpc>
            </a:pPr>
            <a:r>
              <a:rPr lang="zh-CN" altLang="en-US" dirty="0"/>
              <a:t>移动</a:t>
            </a:r>
            <a:r>
              <a:rPr lang="en-US" altLang="zh-CN" dirty="0"/>
              <a:t>APP</a:t>
            </a:r>
            <a:r>
              <a:rPr lang="zh-CN" altLang="en-US" dirty="0" smtClean="0"/>
              <a:t>客户端功能</a:t>
            </a:r>
            <a:endParaRPr lang="en-US" altLang="zh-CN" dirty="0"/>
          </a:p>
        </p:txBody>
      </p:sp>
      <p:sp>
        <p:nvSpPr>
          <p:cNvPr id="23" name="ïŝlíḑè">
            <a:extLst>
              <a:ext uri="{FF2B5EF4-FFF2-40B4-BE49-F238E27FC236}">
                <a16:creationId xmlns:a16="http://schemas.microsoft.com/office/drawing/2014/main" id="{4AB67BBB-F1D4-499F-8BA6-DBB5DC6A7613}"/>
              </a:ext>
            </a:extLst>
          </p:cNvPr>
          <p:cNvSpPr/>
          <p:nvPr/>
        </p:nvSpPr>
        <p:spPr bwMode="auto">
          <a:xfrm>
            <a:off x="4974189" y="2214000"/>
            <a:ext cx="2251345" cy="2249138"/>
          </a:xfrm>
          <a:custGeom>
            <a:avLst/>
            <a:gdLst>
              <a:gd name="T0" fmla="*/ 609 w 1219"/>
              <a:gd name="T1" fmla="*/ 0 h 1218"/>
              <a:gd name="T2" fmla="*/ 0 w 1219"/>
              <a:gd name="T3" fmla="*/ 609 h 1218"/>
              <a:gd name="T4" fmla="*/ 522 w 1219"/>
              <a:gd name="T5" fmla="*/ 1212 h 1218"/>
              <a:gd name="T6" fmla="*/ 609 w 1219"/>
              <a:gd name="T7" fmla="*/ 1218 h 1218"/>
              <a:gd name="T8" fmla="*/ 903 w 1219"/>
              <a:gd name="T9" fmla="*/ 1143 h 1218"/>
              <a:gd name="T10" fmla="*/ 922 w 1219"/>
              <a:gd name="T11" fmla="*/ 1132 h 1218"/>
              <a:gd name="T12" fmla="*/ 1174 w 1219"/>
              <a:gd name="T13" fmla="*/ 838 h 1218"/>
              <a:gd name="T14" fmla="*/ 1219 w 1219"/>
              <a:gd name="T15" fmla="*/ 609 h 1218"/>
              <a:gd name="T16" fmla="*/ 609 w 1219"/>
              <a:gd name="T17" fmla="*/ 0 h 1218"/>
              <a:gd name="T18" fmla="*/ 774 w 1219"/>
              <a:gd name="T19" fmla="*/ 918 h 1218"/>
              <a:gd name="T20" fmla="*/ 609 w 1219"/>
              <a:gd name="T21" fmla="*/ 959 h 1218"/>
              <a:gd name="T22" fmla="*/ 260 w 1219"/>
              <a:gd name="T23" fmla="*/ 609 h 1218"/>
              <a:gd name="T24" fmla="*/ 609 w 1219"/>
              <a:gd name="T25" fmla="*/ 260 h 1218"/>
              <a:gd name="T26" fmla="*/ 959 w 1219"/>
              <a:gd name="T27" fmla="*/ 609 h 1218"/>
              <a:gd name="T28" fmla="*/ 793 w 1219"/>
              <a:gd name="T29" fmla="*/ 907 h 1218"/>
              <a:gd name="T30" fmla="*/ 774 w 1219"/>
              <a:gd name="T31" fmla="*/ 918 h 1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219" h="1218">
                <a:moveTo>
                  <a:pt x="609" y="0"/>
                </a:moveTo>
                <a:cubicBezTo>
                  <a:pt x="273" y="0"/>
                  <a:pt x="0" y="273"/>
                  <a:pt x="0" y="609"/>
                </a:cubicBezTo>
                <a:cubicBezTo>
                  <a:pt x="0" y="916"/>
                  <a:pt x="227" y="1169"/>
                  <a:pt x="522" y="1212"/>
                </a:cubicBezTo>
                <a:cubicBezTo>
                  <a:pt x="550" y="1216"/>
                  <a:pt x="580" y="1218"/>
                  <a:pt x="609" y="1218"/>
                </a:cubicBezTo>
                <a:cubicBezTo>
                  <a:pt x="716" y="1218"/>
                  <a:pt x="816" y="1191"/>
                  <a:pt x="903" y="1143"/>
                </a:cubicBezTo>
                <a:cubicBezTo>
                  <a:pt x="909" y="1139"/>
                  <a:pt x="916" y="1136"/>
                  <a:pt x="922" y="1132"/>
                </a:cubicBezTo>
                <a:cubicBezTo>
                  <a:pt x="1035" y="1064"/>
                  <a:pt x="1124" y="961"/>
                  <a:pt x="1174" y="838"/>
                </a:cubicBezTo>
                <a:cubicBezTo>
                  <a:pt x="1203" y="767"/>
                  <a:pt x="1219" y="690"/>
                  <a:pt x="1219" y="609"/>
                </a:cubicBezTo>
                <a:cubicBezTo>
                  <a:pt x="1219" y="273"/>
                  <a:pt x="946" y="0"/>
                  <a:pt x="609" y="0"/>
                </a:cubicBezTo>
                <a:close/>
                <a:moveTo>
                  <a:pt x="774" y="918"/>
                </a:moveTo>
                <a:cubicBezTo>
                  <a:pt x="725" y="944"/>
                  <a:pt x="669" y="959"/>
                  <a:pt x="609" y="959"/>
                </a:cubicBezTo>
                <a:cubicBezTo>
                  <a:pt x="416" y="959"/>
                  <a:pt x="260" y="802"/>
                  <a:pt x="260" y="609"/>
                </a:cubicBezTo>
                <a:cubicBezTo>
                  <a:pt x="260" y="416"/>
                  <a:pt x="416" y="260"/>
                  <a:pt x="609" y="260"/>
                </a:cubicBezTo>
                <a:cubicBezTo>
                  <a:pt x="802" y="260"/>
                  <a:pt x="959" y="416"/>
                  <a:pt x="959" y="609"/>
                </a:cubicBezTo>
                <a:cubicBezTo>
                  <a:pt x="959" y="735"/>
                  <a:pt x="892" y="845"/>
                  <a:pt x="793" y="907"/>
                </a:cubicBezTo>
                <a:cubicBezTo>
                  <a:pt x="787" y="911"/>
                  <a:pt x="780" y="914"/>
                  <a:pt x="774" y="918"/>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4" name="ïšļîḋè">
            <a:extLst>
              <a:ext uri="{FF2B5EF4-FFF2-40B4-BE49-F238E27FC236}">
                <a16:creationId xmlns:a16="http://schemas.microsoft.com/office/drawing/2014/main" id="{AD51C0F7-FBB8-4465-9DDB-1F86B714A3A8}"/>
              </a:ext>
            </a:extLst>
          </p:cNvPr>
          <p:cNvSpPr/>
          <p:nvPr/>
        </p:nvSpPr>
        <p:spPr bwMode="auto">
          <a:xfrm>
            <a:off x="4086226" y="3745047"/>
            <a:ext cx="2251345" cy="2249138"/>
          </a:xfrm>
          <a:custGeom>
            <a:avLst/>
            <a:gdLst>
              <a:gd name="T0" fmla="*/ 609 w 1219"/>
              <a:gd name="T1" fmla="*/ 0 h 1218"/>
              <a:gd name="T2" fmla="*/ 0 w 1219"/>
              <a:gd name="T3" fmla="*/ 609 h 1218"/>
              <a:gd name="T4" fmla="*/ 609 w 1219"/>
              <a:gd name="T5" fmla="*/ 1218 h 1218"/>
              <a:gd name="T6" fmla="*/ 1219 w 1219"/>
              <a:gd name="T7" fmla="*/ 609 h 1218"/>
              <a:gd name="T8" fmla="*/ 609 w 1219"/>
              <a:gd name="T9" fmla="*/ 0 h 1218"/>
              <a:gd name="T10" fmla="*/ 609 w 1219"/>
              <a:gd name="T11" fmla="*/ 959 h 1218"/>
              <a:gd name="T12" fmla="*/ 260 w 1219"/>
              <a:gd name="T13" fmla="*/ 609 h 1218"/>
              <a:gd name="T14" fmla="*/ 609 w 1219"/>
              <a:gd name="T15" fmla="*/ 260 h 1218"/>
              <a:gd name="T16" fmla="*/ 959 w 1219"/>
              <a:gd name="T17" fmla="*/ 609 h 1218"/>
              <a:gd name="T18" fmla="*/ 609 w 1219"/>
              <a:gd name="T19" fmla="*/ 959 h 1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19" h="1218">
                <a:moveTo>
                  <a:pt x="609" y="0"/>
                </a:moveTo>
                <a:cubicBezTo>
                  <a:pt x="273" y="0"/>
                  <a:pt x="0" y="273"/>
                  <a:pt x="0" y="609"/>
                </a:cubicBezTo>
                <a:cubicBezTo>
                  <a:pt x="0" y="946"/>
                  <a:pt x="273" y="1218"/>
                  <a:pt x="609" y="1218"/>
                </a:cubicBezTo>
                <a:cubicBezTo>
                  <a:pt x="946" y="1218"/>
                  <a:pt x="1219" y="946"/>
                  <a:pt x="1219" y="609"/>
                </a:cubicBezTo>
                <a:cubicBezTo>
                  <a:pt x="1219" y="273"/>
                  <a:pt x="946" y="0"/>
                  <a:pt x="609" y="0"/>
                </a:cubicBezTo>
                <a:close/>
                <a:moveTo>
                  <a:pt x="609" y="959"/>
                </a:moveTo>
                <a:cubicBezTo>
                  <a:pt x="416" y="959"/>
                  <a:pt x="260" y="802"/>
                  <a:pt x="260" y="609"/>
                </a:cubicBezTo>
                <a:cubicBezTo>
                  <a:pt x="260" y="416"/>
                  <a:pt x="416" y="260"/>
                  <a:pt x="609" y="260"/>
                </a:cubicBezTo>
                <a:cubicBezTo>
                  <a:pt x="802" y="260"/>
                  <a:pt x="959" y="416"/>
                  <a:pt x="959" y="609"/>
                </a:cubicBezTo>
                <a:cubicBezTo>
                  <a:pt x="959" y="802"/>
                  <a:pt x="802" y="959"/>
                  <a:pt x="609" y="959"/>
                </a:cubicBezTo>
                <a:close/>
              </a:path>
            </a:pathLst>
          </a:custGeom>
          <a:solidFill>
            <a:schemeClr val="tx2">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5" name="iŝlîdé">
            <a:extLst>
              <a:ext uri="{FF2B5EF4-FFF2-40B4-BE49-F238E27FC236}">
                <a16:creationId xmlns:a16="http://schemas.microsoft.com/office/drawing/2014/main" id="{EEE1A522-A032-4EA5-9E4C-D17CB1A85757}"/>
              </a:ext>
            </a:extLst>
          </p:cNvPr>
          <p:cNvSpPr/>
          <p:nvPr/>
        </p:nvSpPr>
        <p:spPr bwMode="auto">
          <a:xfrm>
            <a:off x="5855533" y="3761592"/>
            <a:ext cx="2250243" cy="2238108"/>
          </a:xfrm>
          <a:custGeom>
            <a:avLst/>
            <a:gdLst>
              <a:gd name="T0" fmla="*/ 697 w 1219"/>
              <a:gd name="T1" fmla="*/ 0 h 1212"/>
              <a:gd name="T2" fmla="*/ 445 w 1219"/>
              <a:gd name="T3" fmla="*/ 294 h 1212"/>
              <a:gd name="T4" fmla="*/ 609 w 1219"/>
              <a:gd name="T5" fmla="*/ 253 h 1212"/>
              <a:gd name="T6" fmla="*/ 959 w 1219"/>
              <a:gd name="T7" fmla="*/ 603 h 1212"/>
              <a:gd name="T8" fmla="*/ 609 w 1219"/>
              <a:gd name="T9" fmla="*/ 952 h 1212"/>
              <a:gd name="T10" fmla="*/ 260 w 1219"/>
              <a:gd name="T11" fmla="*/ 603 h 1212"/>
              <a:gd name="T12" fmla="*/ 260 w 1219"/>
              <a:gd name="T13" fmla="*/ 600 h 1212"/>
              <a:gd name="T14" fmla="*/ 0 w 1219"/>
              <a:gd name="T15" fmla="*/ 600 h 1212"/>
              <a:gd name="T16" fmla="*/ 0 w 1219"/>
              <a:gd name="T17" fmla="*/ 603 h 1212"/>
              <a:gd name="T18" fmla="*/ 609 w 1219"/>
              <a:gd name="T19" fmla="*/ 1212 h 1212"/>
              <a:gd name="T20" fmla="*/ 1219 w 1219"/>
              <a:gd name="T21" fmla="*/ 603 h 1212"/>
              <a:gd name="T22" fmla="*/ 697 w 1219"/>
              <a:gd name="T23" fmla="*/ 0 h 1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19" h="1212">
                <a:moveTo>
                  <a:pt x="697" y="0"/>
                </a:moveTo>
                <a:cubicBezTo>
                  <a:pt x="647" y="123"/>
                  <a:pt x="558" y="226"/>
                  <a:pt x="445" y="294"/>
                </a:cubicBezTo>
                <a:cubicBezTo>
                  <a:pt x="494" y="268"/>
                  <a:pt x="550" y="253"/>
                  <a:pt x="609" y="253"/>
                </a:cubicBezTo>
                <a:cubicBezTo>
                  <a:pt x="803" y="253"/>
                  <a:pt x="959" y="410"/>
                  <a:pt x="959" y="603"/>
                </a:cubicBezTo>
                <a:cubicBezTo>
                  <a:pt x="959" y="796"/>
                  <a:pt x="803" y="952"/>
                  <a:pt x="609" y="952"/>
                </a:cubicBezTo>
                <a:cubicBezTo>
                  <a:pt x="416" y="952"/>
                  <a:pt x="260" y="796"/>
                  <a:pt x="260" y="603"/>
                </a:cubicBezTo>
                <a:cubicBezTo>
                  <a:pt x="260" y="602"/>
                  <a:pt x="260" y="601"/>
                  <a:pt x="260" y="600"/>
                </a:cubicBezTo>
                <a:cubicBezTo>
                  <a:pt x="0" y="600"/>
                  <a:pt x="0" y="600"/>
                  <a:pt x="0" y="600"/>
                </a:cubicBezTo>
                <a:cubicBezTo>
                  <a:pt x="0" y="601"/>
                  <a:pt x="0" y="602"/>
                  <a:pt x="0" y="603"/>
                </a:cubicBezTo>
                <a:cubicBezTo>
                  <a:pt x="0" y="939"/>
                  <a:pt x="273" y="1212"/>
                  <a:pt x="609" y="1212"/>
                </a:cubicBezTo>
                <a:cubicBezTo>
                  <a:pt x="946" y="1212"/>
                  <a:pt x="1219" y="939"/>
                  <a:pt x="1219" y="603"/>
                </a:cubicBezTo>
                <a:cubicBezTo>
                  <a:pt x="1219" y="296"/>
                  <a:pt x="992" y="42"/>
                  <a:pt x="697" y="0"/>
                </a:cubicBez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cxnSp>
        <p:nvCxnSpPr>
          <p:cNvPr id="7" name="直接连接符 6">
            <a:extLst>
              <a:ext uri="{FF2B5EF4-FFF2-40B4-BE49-F238E27FC236}">
                <a16:creationId xmlns:a16="http://schemas.microsoft.com/office/drawing/2014/main" id="{86B79CF8-7F2F-4917-AD6E-A03173BEBDFD}"/>
              </a:ext>
            </a:extLst>
          </p:cNvPr>
          <p:cNvCxnSpPr>
            <a:cxnSpLocks/>
          </p:cNvCxnSpPr>
          <p:nvPr/>
        </p:nvCxnSpPr>
        <p:spPr>
          <a:xfrm flipV="1">
            <a:off x="7142424" y="3713512"/>
            <a:ext cx="4378064" cy="16388"/>
          </a:xfrm>
          <a:prstGeom prst="line">
            <a:avLst/>
          </a:prstGeom>
          <a:ln w="3175" cap="rnd">
            <a:solidFill>
              <a:schemeClr val="bg1">
                <a:lumMod val="75000"/>
              </a:schemeClr>
            </a:solidFill>
            <a:round/>
            <a:headEnd type="none"/>
            <a:tailEnd type="none" w="med" len="med"/>
          </a:ln>
        </p:spPr>
        <p:style>
          <a:lnRef idx="1">
            <a:schemeClr val="accent1"/>
          </a:lnRef>
          <a:fillRef idx="0">
            <a:schemeClr val="accent1"/>
          </a:fillRef>
          <a:effectRef idx="0">
            <a:schemeClr val="accent1"/>
          </a:effectRef>
          <a:fontRef idx="minor">
            <a:schemeClr val="tx1"/>
          </a:fontRef>
        </p:style>
      </p:cxnSp>
      <p:cxnSp>
        <p:nvCxnSpPr>
          <p:cNvPr id="9" name="直接连接符 8">
            <a:extLst>
              <a:ext uri="{FF2B5EF4-FFF2-40B4-BE49-F238E27FC236}">
                <a16:creationId xmlns:a16="http://schemas.microsoft.com/office/drawing/2014/main" id="{54369849-0629-449D-B418-C110AFFFE5B2}"/>
              </a:ext>
            </a:extLst>
          </p:cNvPr>
          <p:cNvCxnSpPr>
            <a:stCxn id="24" idx="2"/>
          </p:cNvCxnSpPr>
          <p:nvPr/>
        </p:nvCxnSpPr>
        <p:spPr>
          <a:xfrm flipH="1">
            <a:off x="669925" y="5994185"/>
            <a:ext cx="4541050" cy="0"/>
          </a:xfrm>
          <a:prstGeom prst="line">
            <a:avLst/>
          </a:prstGeom>
          <a:ln w="3175" cap="rnd">
            <a:solidFill>
              <a:schemeClr val="bg1">
                <a:lumMod val="75000"/>
              </a:schemeClr>
            </a:solidFill>
            <a:round/>
            <a:headEnd type="none"/>
            <a:tailEnd type="none" w="med" len="med"/>
          </a:ln>
        </p:spPr>
        <p:style>
          <a:lnRef idx="1">
            <a:schemeClr val="accent1"/>
          </a:lnRef>
          <a:fillRef idx="0">
            <a:schemeClr val="accent1"/>
          </a:fillRef>
          <a:effectRef idx="0">
            <a:schemeClr val="accent1"/>
          </a:effectRef>
          <a:fontRef idx="minor">
            <a:schemeClr val="tx1"/>
          </a:fontRef>
        </p:style>
      </p:cxnSp>
      <p:sp>
        <p:nvSpPr>
          <p:cNvPr id="22" name="í$1iḋé">
            <a:extLst>
              <a:ext uri="{FF2B5EF4-FFF2-40B4-BE49-F238E27FC236}">
                <a16:creationId xmlns:a16="http://schemas.microsoft.com/office/drawing/2014/main" id="{FCA9ABAE-DA5F-4605-8689-4AF3686363F6}"/>
              </a:ext>
            </a:extLst>
          </p:cNvPr>
          <p:cNvSpPr txBox="1"/>
          <p:nvPr/>
        </p:nvSpPr>
        <p:spPr bwMode="auto">
          <a:xfrm>
            <a:off x="676514" y="5427535"/>
            <a:ext cx="5376847" cy="441805"/>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90000" tIns="46800" rIns="90000" bIns="46800" anchor="ctr">
            <a:norm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eaLnBrk="1" hangingPunct="1">
              <a:lnSpc>
                <a:spcPct val="100000"/>
              </a:lnSpc>
              <a:spcBef>
                <a:spcPct val="0"/>
              </a:spcBef>
            </a:pPr>
            <a:r>
              <a:rPr lang="zh-CN" altLang="en-US" sz="2000" b="1" dirty="0" smtClean="0"/>
              <a:t>流程不规范报警</a:t>
            </a:r>
            <a:endParaRPr lang="en-US" altLang="zh-CN" sz="2000" b="1" dirty="0"/>
          </a:p>
        </p:txBody>
      </p:sp>
      <p:sp>
        <p:nvSpPr>
          <p:cNvPr id="18" name="ïŝḷîďê">
            <a:extLst>
              <a:ext uri="{FF2B5EF4-FFF2-40B4-BE49-F238E27FC236}">
                <a16:creationId xmlns:a16="http://schemas.microsoft.com/office/drawing/2014/main" id="{6E268519-6A4C-4779-A41D-021514D3E7ED}"/>
              </a:ext>
            </a:extLst>
          </p:cNvPr>
          <p:cNvSpPr txBox="1"/>
          <p:nvPr/>
        </p:nvSpPr>
        <p:spPr bwMode="auto">
          <a:xfrm>
            <a:off x="7142424" y="3209162"/>
            <a:ext cx="4378063" cy="441805"/>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90000" tIns="46800" rIns="90000" bIns="46800" anchor="ctr">
            <a:norm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algn="r" eaLnBrk="1" hangingPunct="1">
              <a:lnSpc>
                <a:spcPct val="100000"/>
              </a:lnSpc>
              <a:spcBef>
                <a:spcPct val="0"/>
              </a:spcBef>
            </a:pPr>
            <a:r>
              <a:rPr lang="zh-CN" altLang="en-US" sz="2000" b="1" dirty="0" smtClean="0"/>
              <a:t>日志记录</a:t>
            </a:r>
            <a:endParaRPr lang="en-US" altLang="zh-CN" sz="2000" b="1" dirty="0"/>
          </a:p>
        </p:txBody>
      </p:sp>
      <p:sp>
        <p:nvSpPr>
          <p:cNvPr id="15" name="íṧḻîdê">
            <a:extLst>
              <a:ext uri="{FF2B5EF4-FFF2-40B4-BE49-F238E27FC236}">
                <a16:creationId xmlns:a16="http://schemas.microsoft.com/office/drawing/2014/main" id="{866A975F-5568-4E98-AC7D-76DCD0D0DF73}"/>
              </a:ext>
            </a:extLst>
          </p:cNvPr>
          <p:cNvSpPr/>
          <p:nvPr/>
        </p:nvSpPr>
        <p:spPr>
          <a:xfrm>
            <a:off x="676514" y="1571054"/>
            <a:ext cx="4292279" cy="1457594"/>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wrap="square" lIns="90000" anchor="t" anchorCtr="0">
            <a:normAutofit/>
          </a:bodyPr>
          <a:lstStyle/>
          <a:p>
            <a:pPr>
              <a:lnSpc>
                <a:spcPct val="150000"/>
              </a:lnSpc>
              <a:spcBef>
                <a:spcPct val="0"/>
              </a:spcBef>
            </a:pPr>
            <a:endParaRPr lang="en-US" altLang="zh-CN" dirty="0"/>
          </a:p>
        </p:txBody>
      </p:sp>
      <p:sp>
        <p:nvSpPr>
          <p:cNvPr id="16" name="ïś1iḑê">
            <a:extLst>
              <a:ext uri="{FF2B5EF4-FFF2-40B4-BE49-F238E27FC236}">
                <a16:creationId xmlns:a16="http://schemas.microsoft.com/office/drawing/2014/main" id="{094CFB6B-C665-48ED-947F-93DF68D6166F}"/>
              </a:ext>
            </a:extLst>
          </p:cNvPr>
          <p:cNvSpPr txBox="1"/>
          <p:nvPr/>
        </p:nvSpPr>
        <p:spPr bwMode="auto">
          <a:xfrm>
            <a:off x="676514" y="2396921"/>
            <a:ext cx="4292279" cy="441805"/>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90000" tIns="46800" rIns="90000" bIns="46800">
            <a:norm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eaLnBrk="1" hangingPunct="1">
              <a:lnSpc>
                <a:spcPct val="100000"/>
              </a:lnSpc>
              <a:spcBef>
                <a:spcPct val="0"/>
              </a:spcBef>
            </a:pPr>
            <a:r>
              <a:rPr lang="zh-CN" altLang="en-US" sz="2000" b="1" dirty="0" smtClean="0"/>
              <a:t>检料出错报警</a:t>
            </a:r>
            <a:endParaRPr lang="en-US" altLang="zh-CN" sz="2000" b="1" dirty="0"/>
          </a:p>
        </p:txBody>
      </p:sp>
      <p:cxnSp>
        <p:nvCxnSpPr>
          <p:cNvPr id="14" name="直接连接符 13">
            <a:extLst>
              <a:ext uri="{FF2B5EF4-FFF2-40B4-BE49-F238E27FC236}">
                <a16:creationId xmlns:a16="http://schemas.microsoft.com/office/drawing/2014/main" id="{F5E66F68-1709-42DC-A51E-A68920A399AC}"/>
              </a:ext>
            </a:extLst>
          </p:cNvPr>
          <p:cNvCxnSpPr>
            <a:cxnSpLocks/>
          </p:cNvCxnSpPr>
          <p:nvPr/>
        </p:nvCxnSpPr>
        <p:spPr>
          <a:xfrm>
            <a:off x="669925" y="2889000"/>
            <a:ext cx="4166533" cy="0"/>
          </a:xfrm>
          <a:prstGeom prst="line">
            <a:avLst/>
          </a:prstGeom>
          <a:ln w="3175" cap="rnd">
            <a:solidFill>
              <a:schemeClr val="bg1">
                <a:lumMod val="75000"/>
              </a:schemeClr>
            </a:solidFill>
            <a:round/>
            <a:headEnd type="none"/>
            <a:tailEnd type="none" w="med" len="med"/>
          </a:ln>
        </p:spPr>
        <p:style>
          <a:lnRef idx="1">
            <a:schemeClr val="accent1"/>
          </a:lnRef>
          <a:fillRef idx="0">
            <a:schemeClr val="accent1"/>
          </a:fillRef>
          <a:effectRef idx="0">
            <a:schemeClr val="accent1"/>
          </a:effectRef>
          <a:fontRef idx="minor">
            <a:schemeClr val="tx1"/>
          </a:fontRef>
        </p:style>
      </p:cxnSp>
      <p:sp>
        <p:nvSpPr>
          <p:cNvPr id="28" name="ïṣḻíďê">
            <a:extLst>
              <a:ext uri="{FF2B5EF4-FFF2-40B4-BE49-F238E27FC236}">
                <a16:creationId xmlns:a16="http://schemas.microsoft.com/office/drawing/2014/main" id="{5277D7EE-6EC5-431A-8BDB-8D3C7C5D718A}"/>
              </a:ext>
            </a:extLst>
          </p:cNvPr>
          <p:cNvSpPr/>
          <p:nvPr/>
        </p:nvSpPr>
        <p:spPr bwMode="auto">
          <a:xfrm>
            <a:off x="4807496" y="4512462"/>
            <a:ext cx="725758" cy="662925"/>
          </a:xfrm>
          <a:custGeom>
            <a:avLst/>
            <a:gdLst>
              <a:gd name="T0" fmla="*/ 48 w 256"/>
              <a:gd name="T1" fmla="*/ 216 h 256"/>
              <a:gd name="T2" fmla="*/ 86 w 256"/>
              <a:gd name="T3" fmla="*/ 197 h 256"/>
              <a:gd name="T4" fmla="*/ 152 w 256"/>
              <a:gd name="T5" fmla="*/ 222 h 256"/>
              <a:gd name="T6" fmla="*/ 192 w 256"/>
              <a:gd name="T7" fmla="*/ 256 h 256"/>
              <a:gd name="T8" fmla="*/ 232 w 256"/>
              <a:gd name="T9" fmla="*/ 216 h 256"/>
              <a:gd name="T10" fmla="*/ 192 w 256"/>
              <a:gd name="T11" fmla="*/ 176 h 256"/>
              <a:gd name="T12" fmla="*/ 154 w 256"/>
              <a:gd name="T13" fmla="*/ 205 h 256"/>
              <a:gd name="T14" fmla="*/ 94 w 256"/>
              <a:gd name="T15" fmla="*/ 183 h 256"/>
              <a:gd name="T16" fmla="*/ 96 w 256"/>
              <a:gd name="T17" fmla="*/ 168 h 256"/>
              <a:gd name="T18" fmla="*/ 88 w 256"/>
              <a:gd name="T19" fmla="*/ 141 h 256"/>
              <a:gd name="T20" fmla="*/ 161 w 256"/>
              <a:gd name="T21" fmla="*/ 96 h 256"/>
              <a:gd name="T22" fmla="*/ 200 w 256"/>
              <a:gd name="T23" fmla="*/ 112 h 256"/>
              <a:gd name="T24" fmla="*/ 256 w 256"/>
              <a:gd name="T25" fmla="*/ 56 h 256"/>
              <a:gd name="T26" fmla="*/ 200 w 256"/>
              <a:gd name="T27" fmla="*/ 0 h 256"/>
              <a:gd name="T28" fmla="*/ 144 w 256"/>
              <a:gd name="T29" fmla="*/ 56 h 256"/>
              <a:gd name="T30" fmla="*/ 151 w 256"/>
              <a:gd name="T31" fmla="*/ 84 h 256"/>
              <a:gd name="T32" fmla="*/ 76 w 256"/>
              <a:gd name="T33" fmla="*/ 129 h 256"/>
              <a:gd name="T34" fmla="*/ 48 w 256"/>
              <a:gd name="T35" fmla="*/ 120 h 256"/>
              <a:gd name="T36" fmla="*/ 0 w 256"/>
              <a:gd name="T37" fmla="*/ 168 h 256"/>
              <a:gd name="T38" fmla="*/ 48 w 256"/>
              <a:gd name="T39" fmla="*/ 216 h 256"/>
              <a:gd name="T40" fmla="*/ 192 w 256"/>
              <a:gd name="T41" fmla="*/ 192 h 256"/>
              <a:gd name="T42" fmla="*/ 216 w 256"/>
              <a:gd name="T43" fmla="*/ 216 h 256"/>
              <a:gd name="T44" fmla="*/ 192 w 256"/>
              <a:gd name="T45" fmla="*/ 240 h 256"/>
              <a:gd name="T46" fmla="*/ 168 w 256"/>
              <a:gd name="T47" fmla="*/ 216 h 256"/>
              <a:gd name="T48" fmla="*/ 192 w 256"/>
              <a:gd name="T49" fmla="*/ 192 h 256"/>
              <a:gd name="T50" fmla="*/ 200 w 256"/>
              <a:gd name="T51" fmla="*/ 16 h 256"/>
              <a:gd name="T52" fmla="*/ 240 w 256"/>
              <a:gd name="T53" fmla="*/ 56 h 256"/>
              <a:gd name="T54" fmla="*/ 200 w 256"/>
              <a:gd name="T55" fmla="*/ 96 h 256"/>
              <a:gd name="T56" fmla="*/ 160 w 256"/>
              <a:gd name="T57" fmla="*/ 56 h 256"/>
              <a:gd name="T58" fmla="*/ 200 w 256"/>
              <a:gd name="T59" fmla="*/ 16 h 256"/>
              <a:gd name="T60" fmla="*/ 48 w 256"/>
              <a:gd name="T61" fmla="*/ 136 h 256"/>
              <a:gd name="T62" fmla="*/ 80 w 256"/>
              <a:gd name="T63" fmla="*/ 168 h 256"/>
              <a:gd name="T64" fmla="*/ 48 w 256"/>
              <a:gd name="T65" fmla="*/ 200 h 256"/>
              <a:gd name="T66" fmla="*/ 16 w 256"/>
              <a:gd name="T67" fmla="*/ 168 h 256"/>
              <a:gd name="T68" fmla="*/ 48 w 256"/>
              <a:gd name="T69" fmla="*/ 136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56" h="256">
                <a:moveTo>
                  <a:pt x="48" y="216"/>
                </a:moveTo>
                <a:cubicBezTo>
                  <a:pt x="63" y="216"/>
                  <a:pt x="77" y="209"/>
                  <a:pt x="86" y="197"/>
                </a:cubicBezTo>
                <a:cubicBezTo>
                  <a:pt x="152" y="222"/>
                  <a:pt x="152" y="222"/>
                  <a:pt x="152" y="222"/>
                </a:cubicBezTo>
                <a:cubicBezTo>
                  <a:pt x="155" y="241"/>
                  <a:pt x="172" y="256"/>
                  <a:pt x="192" y="256"/>
                </a:cubicBezTo>
                <a:cubicBezTo>
                  <a:pt x="214" y="256"/>
                  <a:pt x="232" y="238"/>
                  <a:pt x="232" y="216"/>
                </a:cubicBezTo>
                <a:cubicBezTo>
                  <a:pt x="232" y="194"/>
                  <a:pt x="214" y="176"/>
                  <a:pt x="192" y="176"/>
                </a:cubicBezTo>
                <a:cubicBezTo>
                  <a:pt x="174" y="176"/>
                  <a:pt x="158" y="188"/>
                  <a:pt x="154" y="205"/>
                </a:cubicBezTo>
                <a:cubicBezTo>
                  <a:pt x="94" y="183"/>
                  <a:pt x="94" y="183"/>
                  <a:pt x="94" y="183"/>
                </a:cubicBezTo>
                <a:cubicBezTo>
                  <a:pt x="95" y="178"/>
                  <a:pt x="96" y="173"/>
                  <a:pt x="96" y="168"/>
                </a:cubicBezTo>
                <a:cubicBezTo>
                  <a:pt x="96" y="158"/>
                  <a:pt x="93" y="149"/>
                  <a:pt x="88" y="141"/>
                </a:cubicBezTo>
                <a:cubicBezTo>
                  <a:pt x="161" y="96"/>
                  <a:pt x="161" y="96"/>
                  <a:pt x="161" y="96"/>
                </a:cubicBezTo>
                <a:cubicBezTo>
                  <a:pt x="171" y="106"/>
                  <a:pt x="185" y="112"/>
                  <a:pt x="200" y="112"/>
                </a:cubicBezTo>
                <a:cubicBezTo>
                  <a:pt x="231" y="112"/>
                  <a:pt x="256" y="87"/>
                  <a:pt x="256" y="56"/>
                </a:cubicBezTo>
                <a:cubicBezTo>
                  <a:pt x="256" y="25"/>
                  <a:pt x="231" y="0"/>
                  <a:pt x="200" y="0"/>
                </a:cubicBezTo>
                <a:cubicBezTo>
                  <a:pt x="169" y="0"/>
                  <a:pt x="144" y="25"/>
                  <a:pt x="144" y="56"/>
                </a:cubicBezTo>
                <a:cubicBezTo>
                  <a:pt x="144" y="66"/>
                  <a:pt x="147" y="76"/>
                  <a:pt x="151" y="84"/>
                </a:cubicBezTo>
                <a:cubicBezTo>
                  <a:pt x="76" y="129"/>
                  <a:pt x="76" y="129"/>
                  <a:pt x="76" y="129"/>
                </a:cubicBezTo>
                <a:cubicBezTo>
                  <a:pt x="68" y="123"/>
                  <a:pt x="58" y="120"/>
                  <a:pt x="48" y="120"/>
                </a:cubicBezTo>
                <a:cubicBezTo>
                  <a:pt x="22" y="120"/>
                  <a:pt x="0" y="142"/>
                  <a:pt x="0" y="168"/>
                </a:cubicBezTo>
                <a:cubicBezTo>
                  <a:pt x="0" y="194"/>
                  <a:pt x="22" y="216"/>
                  <a:pt x="48" y="216"/>
                </a:cubicBezTo>
                <a:close/>
                <a:moveTo>
                  <a:pt x="192" y="192"/>
                </a:moveTo>
                <a:cubicBezTo>
                  <a:pt x="205" y="192"/>
                  <a:pt x="216" y="203"/>
                  <a:pt x="216" y="216"/>
                </a:cubicBezTo>
                <a:cubicBezTo>
                  <a:pt x="216" y="229"/>
                  <a:pt x="205" y="240"/>
                  <a:pt x="192" y="240"/>
                </a:cubicBezTo>
                <a:cubicBezTo>
                  <a:pt x="179" y="240"/>
                  <a:pt x="168" y="229"/>
                  <a:pt x="168" y="216"/>
                </a:cubicBezTo>
                <a:cubicBezTo>
                  <a:pt x="168" y="203"/>
                  <a:pt x="179" y="192"/>
                  <a:pt x="192" y="192"/>
                </a:cubicBezTo>
                <a:close/>
                <a:moveTo>
                  <a:pt x="200" y="16"/>
                </a:moveTo>
                <a:cubicBezTo>
                  <a:pt x="222" y="16"/>
                  <a:pt x="240" y="34"/>
                  <a:pt x="240" y="56"/>
                </a:cubicBezTo>
                <a:cubicBezTo>
                  <a:pt x="240" y="78"/>
                  <a:pt x="222" y="96"/>
                  <a:pt x="200" y="96"/>
                </a:cubicBezTo>
                <a:cubicBezTo>
                  <a:pt x="178" y="96"/>
                  <a:pt x="160" y="78"/>
                  <a:pt x="160" y="56"/>
                </a:cubicBezTo>
                <a:cubicBezTo>
                  <a:pt x="160" y="34"/>
                  <a:pt x="178" y="16"/>
                  <a:pt x="200" y="16"/>
                </a:cubicBezTo>
                <a:close/>
                <a:moveTo>
                  <a:pt x="48" y="136"/>
                </a:moveTo>
                <a:cubicBezTo>
                  <a:pt x="66" y="136"/>
                  <a:pt x="80" y="150"/>
                  <a:pt x="80" y="168"/>
                </a:cubicBezTo>
                <a:cubicBezTo>
                  <a:pt x="80" y="186"/>
                  <a:pt x="66" y="200"/>
                  <a:pt x="48" y="200"/>
                </a:cubicBezTo>
                <a:cubicBezTo>
                  <a:pt x="30" y="200"/>
                  <a:pt x="16" y="186"/>
                  <a:pt x="16" y="168"/>
                </a:cubicBezTo>
                <a:cubicBezTo>
                  <a:pt x="16" y="150"/>
                  <a:pt x="30" y="136"/>
                  <a:pt x="48" y="136"/>
                </a:cubicBezTo>
                <a:close/>
              </a:path>
            </a:pathLst>
          </a:custGeom>
          <a:solidFill>
            <a:schemeClr val="accent1"/>
          </a:solidFill>
          <a:ln>
            <a:noFill/>
          </a:ln>
          <a:extLst/>
        </p:spPr>
        <p:txBody>
          <a:bodyPr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sp>
        <p:nvSpPr>
          <p:cNvPr id="29" name="îśḷîďê">
            <a:extLst>
              <a:ext uri="{FF2B5EF4-FFF2-40B4-BE49-F238E27FC236}">
                <a16:creationId xmlns:a16="http://schemas.microsoft.com/office/drawing/2014/main" id="{E1857D47-54A0-43B5-9B56-F87215959949}"/>
              </a:ext>
            </a:extLst>
          </p:cNvPr>
          <p:cNvSpPr/>
          <p:nvPr/>
        </p:nvSpPr>
        <p:spPr bwMode="auto">
          <a:xfrm>
            <a:off x="5719764" y="3028648"/>
            <a:ext cx="750881" cy="662925"/>
          </a:xfrm>
          <a:custGeom>
            <a:avLst/>
            <a:gdLst>
              <a:gd name="T0" fmla="*/ 8 w 256"/>
              <a:gd name="T1" fmla="*/ 40 h 248"/>
              <a:gd name="T2" fmla="*/ 48 w 256"/>
              <a:gd name="T3" fmla="*/ 217 h 248"/>
              <a:gd name="T4" fmla="*/ 80 w 256"/>
              <a:gd name="T5" fmla="*/ 248 h 248"/>
              <a:gd name="T6" fmla="*/ 145 w 256"/>
              <a:gd name="T7" fmla="*/ 224 h 248"/>
              <a:gd name="T8" fmla="*/ 208 w 256"/>
              <a:gd name="T9" fmla="*/ 216 h 248"/>
              <a:gd name="T10" fmla="*/ 145 w 256"/>
              <a:gd name="T11" fmla="*/ 208 h 248"/>
              <a:gd name="T12" fmla="*/ 80 w 256"/>
              <a:gd name="T13" fmla="*/ 184 h 248"/>
              <a:gd name="T14" fmla="*/ 60 w 256"/>
              <a:gd name="T15" fmla="*/ 164 h 248"/>
              <a:gd name="T16" fmla="*/ 60 w 256"/>
              <a:gd name="T17" fmla="*/ 164 h 248"/>
              <a:gd name="T18" fmla="*/ 232 w 256"/>
              <a:gd name="T19" fmla="*/ 150 h 248"/>
              <a:gd name="T20" fmla="*/ 254 w 256"/>
              <a:gd name="T21" fmla="*/ 59 h 248"/>
              <a:gd name="T22" fmla="*/ 222 w 256"/>
              <a:gd name="T23" fmla="*/ 56 h 248"/>
              <a:gd name="T24" fmla="*/ 200 w 256"/>
              <a:gd name="T25" fmla="*/ 0 h 248"/>
              <a:gd name="T26" fmla="*/ 138 w 256"/>
              <a:gd name="T27" fmla="*/ 2 h 248"/>
              <a:gd name="T28" fmla="*/ 80 w 256"/>
              <a:gd name="T29" fmla="*/ 24 h 248"/>
              <a:gd name="T30" fmla="*/ 66 w 256"/>
              <a:gd name="T31" fmla="*/ 56 h 248"/>
              <a:gd name="T32" fmla="*/ 48 w 256"/>
              <a:gd name="T33" fmla="*/ 31 h 248"/>
              <a:gd name="T34" fmla="*/ 8 w 256"/>
              <a:gd name="T35" fmla="*/ 24 h 248"/>
              <a:gd name="T36" fmla="*/ 176 w 256"/>
              <a:gd name="T37" fmla="*/ 200 h 248"/>
              <a:gd name="T38" fmla="*/ 176 w 256"/>
              <a:gd name="T39" fmla="*/ 232 h 248"/>
              <a:gd name="T40" fmla="*/ 176 w 256"/>
              <a:gd name="T41" fmla="*/ 200 h 248"/>
              <a:gd name="T42" fmla="*/ 96 w 256"/>
              <a:gd name="T43" fmla="*/ 216 h 248"/>
              <a:gd name="T44" fmla="*/ 64 w 256"/>
              <a:gd name="T45" fmla="*/ 216 h 248"/>
              <a:gd name="T46" fmla="*/ 147 w 256"/>
              <a:gd name="T47" fmla="*/ 16 h 248"/>
              <a:gd name="T48" fmla="*/ 205 w 256"/>
              <a:gd name="T49" fmla="*/ 56 h 248"/>
              <a:gd name="T50" fmla="*/ 129 w 256"/>
              <a:gd name="T51" fmla="*/ 34 h 248"/>
              <a:gd name="T52" fmla="*/ 86 w 256"/>
              <a:gd name="T53" fmla="*/ 40 h 248"/>
              <a:gd name="T54" fmla="*/ 118 w 256"/>
              <a:gd name="T55" fmla="*/ 56 h 248"/>
              <a:gd name="T56" fmla="*/ 86 w 256"/>
              <a:gd name="T57" fmla="*/ 40 h 248"/>
              <a:gd name="T58" fmla="*/ 216 w 256"/>
              <a:gd name="T59" fmla="*/ 72 h 248"/>
              <a:gd name="T60" fmla="*/ 237 w 256"/>
              <a:gd name="T61" fmla="*/ 72 h 248"/>
              <a:gd name="T62" fmla="*/ 60 w 256"/>
              <a:gd name="T63" fmla="*/ 148 h 248"/>
              <a:gd name="T64" fmla="*/ 52 w 256"/>
              <a:gd name="T65" fmla="*/ 72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56" h="248">
                <a:moveTo>
                  <a:pt x="0" y="32"/>
                </a:moveTo>
                <a:cubicBezTo>
                  <a:pt x="0" y="36"/>
                  <a:pt x="4" y="40"/>
                  <a:pt x="8" y="40"/>
                </a:cubicBezTo>
                <a:cubicBezTo>
                  <a:pt x="33" y="40"/>
                  <a:pt x="33" y="40"/>
                  <a:pt x="33" y="40"/>
                </a:cubicBezTo>
                <a:cubicBezTo>
                  <a:pt x="48" y="217"/>
                  <a:pt x="48" y="217"/>
                  <a:pt x="48" y="217"/>
                </a:cubicBezTo>
                <a:cubicBezTo>
                  <a:pt x="48" y="217"/>
                  <a:pt x="48" y="217"/>
                  <a:pt x="48" y="217"/>
                </a:cubicBezTo>
                <a:cubicBezTo>
                  <a:pt x="48" y="234"/>
                  <a:pt x="63" y="248"/>
                  <a:pt x="80" y="248"/>
                </a:cubicBezTo>
                <a:cubicBezTo>
                  <a:pt x="95" y="248"/>
                  <a:pt x="107" y="238"/>
                  <a:pt x="111" y="224"/>
                </a:cubicBezTo>
                <a:cubicBezTo>
                  <a:pt x="145" y="224"/>
                  <a:pt x="145" y="224"/>
                  <a:pt x="145" y="224"/>
                </a:cubicBezTo>
                <a:cubicBezTo>
                  <a:pt x="149" y="238"/>
                  <a:pt x="161" y="248"/>
                  <a:pt x="176" y="248"/>
                </a:cubicBezTo>
                <a:cubicBezTo>
                  <a:pt x="194" y="248"/>
                  <a:pt x="208" y="234"/>
                  <a:pt x="208" y="216"/>
                </a:cubicBezTo>
                <a:cubicBezTo>
                  <a:pt x="208" y="198"/>
                  <a:pt x="194" y="184"/>
                  <a:pt x="176" y="184"/>
                </a:cubicBezTo>
                <a:cubicBezTo>
                  <a:pt x="161" y="184"/>
                  <a:pt x="149" y="194"/>
                  <a:pt x="145" y="208"/>
                </a:cubicBezTo>
                <a:cubicBezTo>
                  <a:pt x="111" y="208"/>
                  <a:pt x="111" y="208"/>
                  <a:pt x="111" y="208"/>
                </a:cubicBezTo>
                <a:cubicBezTo>
                  <a:pt x="107" y="194"/>
                  <a:pt x="95" y="184"/>
                  <a:pt x="80" y="184"/>
                </a:cubicBezTo>
                <a:cubicBezTo>
                  <a:pt x="73" y="184"/>
                  <a:pt x="67" y="186"/>
                  <a:pt x="62" y="190"/>
                </a:cubicBezTo>
                <a:cubicBezTo>
                  <a:pt x="60" y="164"/>
                  <a:pt x="60" y="164"/>
                  <a:pt x="60" y="164"/>
                </a:cubicBezTo>
                <a:cubicBezTo>
                  <a:pt x="60" y="164"/>
                  <a:pt x="60" y="164"/>
                  <a:pt x="60" y="164"/>
                </a:cubicBezTo>
                <a:cubicBezTo>
                  <a:pt x="60" y="164"/>
                  <a:pt x="60" y="164"/>
                  <a:pt x="60" y="164"/>
                </a:cubicBezTo>
                <a:cubicBezTo>
                  <a:pt x="224" y="156"/>
                  <a:pt x="224" y="156"/>
                  <a:pt x="224" y="156"/>
                </a:cubicBezTo>
                <a:cubicBezTo>
                  <a:pt x="228" y="156"/>
                  <a:pt x="231" y="153"/>
                  <a:pt x="232" y="150"/>
                </a:cubicBezTo>
                <a:cubicBezTo>
                  <a:pt x="256" y="66"/>
                  <a:pt x="256" y="66"/>
                  <a:pt x="256" y="66"/>
                </a:cubicBezTo>
                <a:cubicBezTo>
                  <a:pt x="256" y="64"/>
                  <a:pt x="256" y="61"/>
                  <a:pt x="254" y="59"/>
                </a:cubicBezTo>
                <a:cubicBezTo>
                  <a:pt x="253" y="57"/>
                  <a:pt x="251" y="56"/>
                  <a:pt x="248" y="56"/>
                </a:cubicBezTo>
                <a:cubicBezTo>
                  <a:pt x="222" y="56"/>
                  <a:pt x="222" y="56"/>
                  <a:pt x="222" y="56"/>
                </a:cubicBezTo>
                <a:cubicBezTo>
                  <a:pt x="208" y="6"/>
                  <a:pt x="208" y="6"/>
                  <a:pt x="208" y="6"/>
                </a:cubicBezTo>
                <a:cubicBezTo>
                  <a:pt x="207" y="2"/>
                  <a:pt x="204" y="0"/>
                  <a:pt x="200" y="0"/>
                </a:cubicBezTo>
                <a:cubicBezTo>
                  <a:pt x="144" y="0"/>
                  <a:pt x="144" y="0"/>
                  <a:pt x="144" y="0"/>
                </a:cubicBezTo>
                <a:cubicBezTo>
                  <a:pt x="142" y="0"/>
                  <a:pt x="140" y="1"/>
                  <a:pt x="138" y="2"/>
                </a:cubicBezTo>
                <a:cubicBezTo>
                  <a:pt x="117" y="24"/>
                  <a:pt x="117" y="24"/>
                  <a:pt x="117" y="24"/>
                </a:cubicBezTo>
                <a:cubicBezTo>
                  <a:pt x="80" y="24"/>
                  <a:pt x="80" y="24"/>
                  <a:pt x="80" y="24"/>
                </a:cubicBezTo>
                <a:cubicBezTo>
                  <a:pt x="76" y="24"/>
                  <a:pt x="73" y="27"/>
                  <a:pt x="72" y="30"/>
                </a:cubicBezTo>
                <a:cubicBezTo>
                  <a:pt x="66" y="56"/>
                  <a:pt x="66" y="56"/>
                  <a:pt x="66" y="56"/>
                </a:cubicBezTo>
                <a:cubicBezTo>
                  <a:pt x="50" y="56"/>
                  <a:pt x="50" y="56"/>
                  <a:pt x="50" y="56"/>
                </a:cubicBezTo>
                <a:cubicBezTo>
                  <a:pt x="48" y="31"/>
                  <a:pt x="48" y="31"/>
                  <a:pt x="48" y="31"/>
                </a:cubicBezTo>
                <a:cubicBezTo>
                  <a:pt x="48" y="27"/>
                  <a:pt x="44" y="24"/>
                  <a:pt x="40" y="24"/>
                </a:cubicBezTo>
                <a:cubicBezTo>
                  <a:pt x="8" y="24"/>
                  <a:pt x="8" y="24"/>
                  <a:pt x="8" y="24"/>
                </a:cubicBezTo>
                <a:cubicBezTo>
                  <a:pt x="4" y="24"/>
                  <a:pt x="0" y="28"/>
                  <a:pt x="0" y="32"/>
                </a:cubicBezTo>
                <a:close/>
                <a:moveTo>
                  <a:pt x="176" y="200"/>
                </a:moveTo>
                <a:cubicBezTo>
                  <a:pt x="185" y="200"/>
                  <a:pt x="192" y="207"/>
                  <a:pt x="192" y="216"/>
                </a:cubicBezTo>
                <a:cubicBezTo>
                  <a:pt x="192" y="225"/>
                  <a:pt x="185" y="232"/>
                  <a:pt x="176" y="232"/>
                </a:cubicBezTo>
                <a:cubicBezTo>
                  <a:pt x="167" y="232"/>
                  <a:pt x="160" y="225"/>
                  <a:pt x="160" y="216"/>
                </a:cubicBezTo>
                <a:cubicBezTo>
                  <a:pt x="160" y="207"/>
                  <a:pt x="167" y="200"/>
                  <a:pt x="176" y="200"/>
                </a:cubicBezTo>
                <a:close/>
                <a:moveTo>
                  <a:pt x="80" y="200"/>
                </a:moveTo>
                <a:cubicBezTo>
                  <a:pt x="89" y="200"/>
                  <a:pt x="96" y="207"/>
                  <a:pt x="96" y="216"/>
                </a:cubicBezTo>
                <a:cubicBezTo>
                  <a:pt x="96" y="225"/>
                  <a:pt x="89" y="232"/>
                  <a:pt x="80" y="232"/>
                </a:cubicBezTo>
                <a:cubicBezTo>
                  <a:pt x="71" y="232"/>
                  <a:pt x="64" y="225"/>
                  <a:pt x="64" y="216"/>
                </a:cubicBezTo>
                <a:cubicBezTo>
                  <a:pt x="64" y="207"/>
                  <a:pt x="71" y="200"/>
                  <a:pt x="80" y="200"/>
                </a:cubicBezTo>
                <a:close/>
                <a:moveTo>
                  <a:pt x="147" y="16"/>
                </a:moveTo>
                <a:cubicBezTo>
                  <a:pt x="194" y="16"/>
                  <a:pt x="194" y="16"/>
                  <a:pt x="194" y="16"/>
                </a:cubicBezTo>
                <a:cubicBezTo>
                  <a:pt x="205" y="56"/>
                  <a:pt x="205" y="56"/>
                  <a:pt x="205" y="56"/>
                </a:cubicBezTo>
                <a:cubicBezTo>
                  <a:pt x="134" y="56"/>
                  <a:pt x="134" y="56"/>
                  <a:pt x="134" y="56"/>
                </a:cubicBezTo>
                <a:cubicBezTo>
                  <a:pt x="129" y="34"/>
                  <a:pt x="129" y="34"/>
                  <a:pt x="129" y="34"/>
                </a:cubicBezTo>
                <a:lnTo>
                  <a:pt x="147" y="16"/>
                </a:lnTo>
                <a:close/>
                <a:moveTo>
                  <a:pt x="86" y="40"/>
                </a:moveTo>
                <a:cubicBezTo>
                  <a:pt x="114" y="40"/>
                  <a:pt x="114" y="40"/>
                  <a:pt x="114" y="40"/>
                </a:cubicBezTo>
                <a:cubicBezTo>
                  <a:pt x="118" y="56"/>
                  <a:pt x="118" y="56"/>
                  <a:pt x="118" y="56"/>
                </a:cubicBezTo>
                <a:cubicBezTo>
                  <a:pt x="82" y="56"/>
                  <a:pt x="82" y="56"/>
                  <a:pt x="82" y="56"/>
                </a:cubicBezTo>
                <a:lnTo>
                  <a:pt x="86" y="40"/>
                </a:lnTo>
                <a:close/>
                <a:moveTo>
                  <a:pt x="216" y="72"/>
                </a:moveTo>
                <a:cubicBezTo>
                  <a:pt x="216" y="72"/>
                  <a:pt x="216" y="72"/>
                  <a:pt x="216" y="72"/>
                </a:cubicBezTo>
                <a:cubicBezTo>
                  <a:pt x="216" y="72"/>
                  <a:pt x="216" y="72"/>
                  <a:pt x="216" y="72"/>
                </a:cubicBezTo>
                <a:cubicBezTo>
                  <a:pt x="237" y="72"/>
                  <a:pt x="237" y="72"/>
                  <a:pt x="237" y="72"/>
                </a:cubicBezTo>
                <a:cubicBezTo>
                  <a:pt x="218" y="140"/>
                  <a:pt x="218" y="140"/>
                  <a:pt x="218" y="140"/>
                </a:cubicBezTo>
                <a:cubicBezTo>
                  <a:pt x="60" y="148"/>
                  <a:pt x="60" y="148"/>
                  <a:pt x="60" y="148"/>
                </a:cubicBezTo>
                <a:cubicBezTo>
                  <a:pt x="59" y="148"/>
                  <a:pt x="59" y="148"/>
                  <a:pt x="58" y="148"/>
                </a:cubicBezTo>
                <a:cubicBezTo>
                  <a:pt x="52" y="72"/>
                  <a:pt x="52" y="72"/>
                  <a:pt x="52" y="72"/>
                </a:cubicBezTo>
                <a:lnTo>
                  <a:pt x="216" y="72"/>
                </a:lnTo>
                <a:close/>
              </a:path>
            </a:pathLst>
          </a:custGeom>
          <a:solidFill>
            <a:schemeClr val="accent1"/>
          </a:solidFill>
          <a:ln>
            <a:noFill/>
          </a:ln>
          <a:extLst/>
        </p:spPr>
        <p:txBody>
          <a:bodyPr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sp>
        <p:nvSpPr>
          <p:cNvPr id="30" name="išľídé">
            <a:extLst>
              <a:ext uri="{FF2B5EF4-FFF2-40B4-BE49-F238E27FC236}">
                <a16:creationId xmlns:a16="http://schemas.microsoft.com/office/drawing/2014/main" id="{5C826A3B-C2F7-48BD-BAB9-21CCDF72F1E2}"/>
              </a:ext>
            </a:extLst>
          </p:cNvPr>
          <p:cNvSpPr/>
          <p:nvPr/>
        </p:nvSpPr>
        <p:spPr bwMode="auto">
          <a:xfrm>
            <a:off x="6708158" y="4549183"/>
            <a:ext cx="544992" cy="662925"/>
          </a:xfrm>
          <a:custGeom>
            <a:avLst/>
            <a:gdLst>
              <a:gd name="connsiteX0" fmla="*/ 201732 w 483027"/>
              <a:gd name="connsiteY0" fmla="*/ 476158 h 587551"/>
              <a:gd name="connsiteX1" fmla="*/ 381725 w 483027"/>
              <a:gd name="connsiteY1" fmla="*/ 476158 h 587551"/>
              <a:gd name="connsiteX2" fmla="*/ 401724 w 483027"/>
              <a:gd name="connsiteY2" fmla="*/ 494724 h 587551"/>
              <a:gd name="connsiteX3" fmla="*/ 381725 w 483027"/>
              <a:gd name="connsiteY3" fmla="*/ 513290 h 587551"/>
              <a:gd name="connsiteX4" fmla="*/ 201732 w 483027"/>
              <a:gd name="connsiteY4" fmla="*/ 513290 h 587551"/>
              <a:gd name="connsiteX5" fmla="*/ 181732 w 483027"/>
              <a:gd name="connsiteY5" fmla="*/ 494724 h 587551"/>
              <a:gd name="connsiteX6" fmla="*/ 201732 w 483027"/>
              <a:gd name="connsiteY6" fmla="*/ 476158 h 587551"/>
              <a:gd name="connsiteX7" fmla="*/ 101227 w 483027"/>
              <a:gd name="connsiteY7" fmla="*/ 476158 h 587551"/>
              <a:gd name="connsiteX8" fmla="*/ 121154 w 483027"/>
              <a:gd name="connsiteY8" fmla="*/ 476158 h 587551"/>
              <a:gd name="connsiteX9" fmla="*/ 141081 w 483027"/>
              <a:gd name="connsiteY9" fmla="*/ 494724 h 587551"/>
              <a:gd name="connsiteX10" fmla="*/ 121154 w 483027"/>
              <a:gd name="connsiteY10" fmla="*/ 513290 h 587551"/>
              <a:gd name="connsiteX11" fmla="*/ 101227 w 483027"/>
              <a:gd name="connsiteY11" fmla="*/ 513290 h 587551"/>
              <a:gd name="connsiteX12" fmla="*/ 81300 w 483027"/>
              <a:gd name="connsiteY12" fmla="*/ 494724 h 587551"/>
              <a:gd name="connsiteX13" fmla="*/ 101227 w 483027"/>
              <a:gd name="connsiteY13" fmla="*/ 476158 h 587551"/>
              <a:gd name="connsiteX14" fmla="*/ 201732 w 483027"/>
              <a:gd name="connsiteY14" fmla="*/ 384421 h 587551"/>
              <a:gd name="connsiteX15" fmla="*/ 381725 w 483027"/>
              <a:gd name="connsiteY15" fmla="*/ 384421 h 587551"/>
              <a:gd name="connsiteX16" fmla="*/ 401724 w 483027"/>
              <a:gd name="connsiteY16" fmla="*/ 402987 h 587551"/>
              <a:gd name="connsiteX17" fmla="*/ 381725 w 483027"/>
              <a:gd name="connsiteY17" fmla="*/ 421553 h 587551"/>
              <a:gd name="connsiteX18" fmla="*/ 201732 w 483027"/>
              <a:gd name="connsiteY18" fmla="*/ 421553 h 587551"/>
              <a:gd name="connsiteX19" fmla="*/ 181732 w 483027"/>
              <a:gd name="connsiteY19" fmla="*/ 402987 h 587551"/>
              <a:gd name="connsiteX20" fmla="*/ 201732 w 483027"/>
              <a:gd name="connsiteY20" fmla="*/ 384421 h 587551"/>
              <a:gd name="connsiteX21" fmla="*/ 101227 w 483027"/>
              <a:gd name="connsiteY21" fmla="*/ 384421 h 587551"/>
              <a:gd name="connsiteX22" fmla="*/ 121154 w 483027"/>
              <a:gd name="connsiteY22" fmla="*/ 384421 h 587551"/>
              <a:gd name="connsiteX23" fmla="*/ 141081 w 483027"/>
              <a:gd name="connsiteY23" fmla="*/ 402987 h 587551"/>
              <a:gd name="connsiteX24" fmla="*/ 121154 w 483027"/>
              <a:gd name="connsiteY24" fmla="*/ 421553 h 587551"/>
              <a:gd name="connsiteX25" fmla="*/ 101227 w 483027"/>
              <a:gd name="connsiteY25" fmla="*/ 421553 h 587551"/>
              <a:gd name="connsiteX26" fmla="*/ 81300 w 483027"/>
              <a:gd name="connsiteY26" fmla="*/ 402987 h 587551"/>
              <a:gd name="connsiteX27" fmla="*/ 101227 w 483027"/>
              <a:gd name="connsiteY27" fmla="*/ 384421 h 587551"/>
              <a:gd name="connsiteX28" fmla="*/ 201732 w 483027"/>
              <a:gd name="connsiteY28" fmla="*/ 292684 h 587551"/>
              <a:gd name="connsiteX29" fmla="*/ 381725 w 483027"/>
              <a:gd name="connsiteY29" fmla="*/ 292684 h 587551"/>
              <a:gd name="connsiteX30" fmla="*/ 401724 w 483027"/>
              <a:gd name="connsiteY30" fmla="*/ 311250 h 587551"/>
              <a:gd name="connsiteX31" fmla="*/ 381725 w 483027"/>
              <a:gd name="connsiteY31" fmla="*/ 329816 h 587551"/>
              <a:gd name="connsiteX32" fmla="*/ 201732 w 483027"/>
              <a:gd name="connsiteY32" fmla="*/ 329816 h 587551"/>
              <a:gd name="connsiteX33" fmla="*/ 181732 w 483027"/>
              <a:gd name="connsiteY33" fmla="*/ 311250 h 587551"/>
              <a:gd name="connsiteX34" fmla="*/ 201732 w 483027"/>
              <a:gd name="connsiteY34" fmla="*/ 292684 h 587551"/>
              <a:gd name="connsiteX35" fmla="*/ 101227 w 483027"/>
              <a:gd name="connsiteY35" fmla="*/ 292684 h 587551"/>
              <a:gd name="connsiteX36" fmla="*/ 121154 w 483027"/>
              <a:gd name="connsiteY36" fmla="*/ 292684 h 587551"/>
              <a:gd name="connsiteX37" fmla="*/ 141081 w 483027"/>
              <a:gd name="connsiteY37" fmla="*/ 311250 h 587551"/>
              <a:gd name="connsiteX38" fmla="*/ 121154 w 483027"/>
              <a:gd name="connsiteY38" fmla="*/ 329816 h 587551"/>
              <a:gd name="connsiteX39" fmla="*/ 101227 w 483027"/>
              <a:gd name="connsiteY39" fmla="*/ 329816 h 587551"/>
              <a:gd name="connsiteX40" fmla="*/ 81300 w 483027"/>
              <a:gd name="connsiteY40" fmla="*/ 311250 h 587551"/>
              <a:gd name="connsiteX41" fmla="*/ 101227 w 483027"/>
              <a:gd name="connsiteY41" fmla="*/ 292684 h 587551"/>
              <a:gd name="connsiteX42" fmla="*/ 201732 w 483027"/>
              <a:gd name="connsiteY42" fmla="*/ 200948 h 587551"/>
              <a:gd name="connsiteX43" fmla="*/ 381725 w 483027"/>
              <a:gd name="connsiteY43" fmla="*/ 200948 h 587551"/>
              <a:gd name="connsiteX44" fmla="*/ 401724 w 483027"/>
              <a:gd name="connsiteY44" fmla="*/ 219514 h 587551"/>
              <a:gd name="connsiteX45" fmla="*/ 381725 w 483027"/>
              <a:gd name="connsiteY45" fmla="*/ 238080 h 587551"/>
              <a:gd name="connsiteX46" fmla="*/ 201732 w 483027"/>
              <a:gd name="connsiteY46" fmla="*/ 238080 h 587551"/>
              <a:gd name="connsiteX47" fmla="*/ 181732 w 483027"/>
              <a:gd name="connsiteY47" fmla="*/ 219514 h 587551"/>
              <a:gd name="connsiteX48" fmla="*/ 201732 w 483027"/>
              <a:gd name="connsiteY48" fmla="*/ 200948 h 587551"/>
              <a:gd name="connsiteX49" fmla="*/ 101227 w 483027"/>
              <a:gd name="connsiteY49" fmla="*/ 200948 h 587551"/>
              <a:gd name="connsiteX50" fmla="*/ 121154 w 483027"/>
              <a:gd name="connsiteY50" fmla="*/ 200948 h 587551"/>
              <a:gd name="connsiteX51" fmla="*/ 141081 w 483027"/>
              <a:gd name="connsiteY51" fmla="*/ 219514 h 587551"/>
              <a:gd name="connsiteX52" fmla="*/ 121154 w 483027"/>
              <a:gd name="connsiteY52" fmla="*/ 238080 h 587551"/>
              <a:gd name="connsiteX53" fmla="*/ 101227 w 483027"/>
              <a:gd name="connsiteY53" fmla="*/ 238080 h 587551"/>
              <a:gd name="connsiteX54" fmla="*/ 81300 w 483027"/>
              <a:gd name="connsiteY54" fmla="*/ 219514 h 587551"/>
              <a:gd name="connsiteX55" fmla="*/ 101227 w 483027"/>
              <a:gd name="connsiteY55" fmla="*/ 200948 h 587551"/>
              <a:gd name="connsiteX56" fmla="*/ 40252 w 483027"/>
              <a:gd name="connsiteY56" fmla="*/ 91805 h 587551"/>
              <a:gd name="connsiteX57" fmla="*/ 40252 w 483027"/>
              <a:gd name="connsiteY57" fmla="*/ 550829 h 587551"/>
              <a:gd name="connsiteX58" fmla="*/ 442775 w 483027"/>
              <a:gd name="connsiteY58" fmla="*/ 550829 h 587551"/>
              <a:gd name="connsiteX59" fmla="*/ 442775 w 483027"/>
              <a:gd name="connsiteY59" fmla="*/ 91805 h 587551"/>
              <a:gd name="connsiteX60" fmla="*/ 384912 w 483027"/>
              <a:gd name="connsiteY60" fmla="*/ 91805 h 587551"/>
              <a:gd name="connsiteX61" fmla="*/ 400007 w 483027"/>
              <a:gd name="connsiteY61" fmla="*/ 117051 h 587551"/>
              <a:gd name="connsiteX62" fmla="*/ 402523 w 483027"/>
              <a:gd name="connsiteY62" fmla="*/ 128527 h 587551"/>
              <a:gd name="connsiteX63" fmla="*/ 382397 w 483027"/>
              <a:gd name="connsiteY63" fmla="*/ 146888 h 587551"/>
              <a:gd name="connsiteX64" fmla="*/ 100631 w 483027"/>
              <a:gd name="connsiteY64" fmla="*/ 146888 h 587551"/>
              <a:gd name="connsiteX65" fmla="*/ 83021 w 483027"/>
              <a:gd name="connsiteY65" fmla="*/ 137707 h 587551"/>
              <a:gd name="connsiteX66" fmla="*/ 83021 w 483027"/>
              <a:gd name="connsiteY66" fmla="*/ 119346 h 587551"/>
              <a:gd name="connsiteX67" fmla="*/ 98115 w 483027"/>
              <a:gd name="connsiteY67" fmla="*/ 91805 h 587551"/>
              <a:gd name="connsiteX68" fmla="*/ 40252 w 483027"/>
              <a:gd name="connsiteY68" fmla="*/ 91805 h 587551"/>
              <a:gd name="connsiteX69" fmla="*/ 173588 w 483027"/>
              <a:gd name="connsiteY69" fmla="*/ 36722 h 587551"/>
              <a:gd name="connsiteX70" fmla="*/ 133336 w 483027"/>
              <a:gd name="connsiteY70" fmla="*/ 110166 h 587551"/>
              <a:gd name="connsiteX71" fmla="*/ 349692 w 483027"/>
              <a:gd name="connsiteY71" fmla="*/ 110166 h 587551"/>
              <a:gd name="connsiteX72" fmla="*/ 309439 w 483027"/>
              <a:gd name="connsiteY72" fmla="*/ 36722 h 587551"/>
              <a:gd name="connsiteX73" fmla="*/ 173588 w 483027"/>
              <a:gd name="connsiteY73" fmla="*/ 36722 h 587551"/>
              <a:gd name="connsiteX74" fmla="*/ 161009 w 483027"/>
              <a:gd name="connsiteY74" fmla="*/ 0 h 587551"/>
              <a:gd name="connsiteX75" fmla="*/ 322018 w 483027"/>
              <a:gd name="connsiteY75" fmla="*/ 0 h 587551"/>
              <a:gd name="connsiteX76" fmla="*/ 339629 w 483027"/>
              <a:gd name="connsiteY76" fmla="*/ 9180 h 587551"/>
              <a:gd name="connsiteX77" fmla="*/ 364786 w 483027"/>
              <a:gd name="connsiteY77" fmla="*/ 55083 h 587551"/>
              <a:gd name="connsiteX78" fmla="*/ 462901 w 483027"/>
              <a:gd name="connsiteY78" fmla="*/ 55083 h 587551"/>
              <a:gd name="connsiteX79" fmla="*/ 483027 w 483027"/>
              <a:gd name="connsiteY79" fmla="*/ 73444 h 587551"/>
              <a:gd name="connsiteX80" fmla="*/ 483027 w 483027"/>
              <a:gd name="connsiteY80" fmla="*/ 569190 h 587551"/>
              <a:gd name="connsiteX81" fmla="*/ 462901 w 483027"/>
              <a:gd name="connsiteY81" fmla="*/ 587551 h 587551"/>
              <a:gd name="connsiteX82" fmla="*/ 20126 w 483027"/>
              <a:gd name="connsiteY82" fmla="*/ 587551 h 587551"/>
              <a:gd name="connsiteX83" fmla="*/ 0 w 483027"/>
              <a:gd name="connsiteY83" fmla="*/ 569190 h 587551"/>
              <a:gd name="connsiteX84" fmla="*/ 0 w 483027"/>
              <a:gd name="connsiteY84" fmla="*/ 73444 h 587551"/>
              <a:gd name="connsiteX85" fmla="*/ 20126 w 483027"/>
              <a:gd name="connsiteY85" fmla="*/ 55083 h 587551"/>
              <a:gd name="connsiteX86" fmla="*/ 118241 w 483027"/>
              <a:gd name="connsiteY86" fmla="*/ 55083 h 587551"/>
              <a:gd name="connsiteX87" fmla="*/ 143399 w 483027"/>
              <a:gd name="connsiteY87" fmla="*/ 9180 h 587551"/>
              <a:gd name="connsiteX88" fmla="*/ 161009 w 483027"/>
              <a:gd name="connsiteY88" fmla="*/ 0 h 587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Lst>
            <a:rect l="l" t="t" r="r" b="b"/>
            <a:pathLst>
              <a:path w="483027" h="587551">
                <a:moveTo>
                  <a:pt x="201732" y="476158"/>
                </a:moveTo>
                <a:cubicBezTo>
                  <a:pt x="201732" y="476158"/>
                  <a:pt x="201732" y="476158"/>
                  <a:pt x="381725" y="476158"/>
                </a:cubicBezTo>
                <a:cubicBezTo>
                  <a:pt x="391725" y="476158"/>
                  <a:pt x="401724" y="485441"/>
                  <a:pt x="401724" y="494724"/>
                </a:cubicBezTo>
                <a:cubicBezTo>
                  <a:pt x="401724" y="504007"/>
                  <a:pt x="391725" y="513290"/>
                  <a:pt x="381725" y="513290"/>
                </a:cubicBezTo>
                <a:cubicBezTo>
                  <a:pt x="381725" y="513290"/>
                  <a:pt x="381725" y="513290"/>
                  <a:pt x="201732" y="513290"/>
                </a:cubicBezTo>
                <a:cubicBezTo>
                  <a:pt x="191732" y="513290"/>
                  <a:pt x="181732" y="504007"/>
                  <a:pt x="181732" y="494724"/>
                </a:cubicBezTo>
                <a:cubicBezTo>
                  <a:pt x="181732" y="485441"/>
                  <a:pt x="191732" y="476158"/>
                  <a:pt x="201732" y="476158"/>
                </a:cubicBezTo>
                <a:close/>
                <a:moveTo>
                  <a:pt x="101227" y="476158"/>
                </a:moveTo>
                <a:cubicBezTo>
                  <a:pt x="101227" y="476158"/>
                  <a:pt x="101227" y="476158"/>
                  <a:pt x="121154" y="476158"/>
                </a:cubicBezTo>
                <a:cubicBezTo>
                  <a:pt x="131118" y="476158"/>
                  <a:pt x="141081" y="485441"/>
                  <a:pt x="141081" y="494724"/>
                </a:cubicBezTo>
                <a:cubicBezTo>
                  <a:pt x="141081" y="504007"/>
                  <a:pt x="131118" y="513290"/>
                  <a:pt x="121154" y="513290"/>
                </a:cubicBezTo>
                <a:cubicBezTo>
                  <a:pt x="121154" y="513290"/>
                  <a:pt x="121154" y="513290"/>
                  <a:pt x="101227" y="513290"/>
                </a:cubicBezTo>
                <a:cubicBezTo>
                  <a:pt x="91264" y="513290"/>
                  <a:pt x="81300" y="504007"/>
                  <a:pt x="81300" y="494724"/>
                </a:cubicBezTo>
                <a:cubicBezTo>
                  <a:pt x="81300" y="485441"/>
                  <a:pt x="91264" y="476158"/>
                  <a:pt x="101227" y="476158"/>
                </a:cubicBezTo>
                <a:close/>
                <a:moveTo>
                  <a:pt x="201732" y="384421"/>
                </a:moveTo>
                <a:cubicBezTo>
                  <a:pt x="201732" y="384421"/>
                  <a:pt x="201732" y="384421"/>
                  <a:pt x="381725" y="384421"/>
                </a:cubicBezTo>
                <a:cubicBezTo>
                  <a:pt x="391725" y="384421"/>
                  <a:pt x="401724" y="393704"/>
                  <a:pt x="401724" y="402987"/>
                </a:cubicBezTo>
                <a:cubicBezTo>
                  <a:pt x="401724" y="412270"/>
                  <a:pt x="391725" y="421553"/>
                  <a:pt x="381725" y="421553"/>
                </a:cubicBezTo>
                <a:cubicBezTo>
                  <a:pt x="381725" y="421553"/>
                  <a:pt x="381725" y="421553"/>
                  <a:pt x="201732" y="421553"/>
                </a:cubicBezTo>
                <a:cubicBezTo>
                  <a:pt x="191732" y="421553"/>
                  <a:pt x="181732" y="412270"/>
                  <a:pt x="181732" y="402987"/>
                </a:cubicBezTo>
                <a:cubicBezTo>
                  <a:pt x="181732" y="393704"/>
                  <a:pt x="191732" y="384421"/>
                  <a:pt x="201732" y="384421"/>
                </a:cubicBezTo>
                <a:close/>
                <a:moveTo>
                  <a:pt x="101227" y="384421"/>
                </a:moveTo>
                <a:cubicBezTo>
                  <a:pt x="101227" y="384421"/>
                  <a:pt x="101227" y="384421"/>
                  <a:pt x="121154" y="384421"/>
                </a:cubicBezTo>
                <a:cubicBezTo>
                  <a:pt x="131118" y="384421"/>
                  <a:pt x="141081" y="393704"/>
                  <a:pt x="141081" y="402987"/>
                </a:cubicBezTo>
                <a:cubicBezTo>
                  <a:pt x="141081" y="412270"/>
                  <a:pt x="131118" y="421553"/>
                  <a:pt x="121154" y="421553"/>
                </a:cubicBezTo>
                <a:cubicBezTo>
                  <a:pt x="121154" y="421553"/>
                  <a:pt x="121154" y="421553"/>
                  <a:pt x="101227" y="421553"/>
                </a:cubicBezTo>
                <a:cubicBezTo>
                  <a:pt x="91264" y="421553"/>
                  <a:pt x="81300" y="412270"/>
                  <a:pt x="81300" y="402987"/>
                </a:cubicBezTo>
                <a:cubicBezTo>
                  <a:pt x="81300" y="393704"/>
                  <a:pt x="91264" y="384421"/>
                  <a:pt x="101227" y="384421"/>
                </a:cubicBezTo>
                <a:close/>
                <a:moveTo>
                  <a:pt x="201732" y="292684"/>
                </a:moveTo>
                <a:cubicBezTo>
                  <a:pt x="201732" y="292684"/>
                  <a:pt x="201732" y="292684"/>
                  <a:pt x="381725" y="292684"/>
                </a:cubicBezTo>
                <a:cubicBezTo>
                  <a:pt x="391725" y="292684"/>
                  <a:pt x="401724" y="301967"/>
                  <a:pt x="401724" y="311250"/>
                </a:cubicBezTo>
                <a:cubicBezTo>
                  <a:pt x="401724" y="320533"/>
                  <a:pt x="391725" y="329816"/>
                  <a:pt x="381725" y="329816"/>
                </a:cubicBezTo>
                <a:cubicBezTo>
                  <a:pt x="381725" y="329816"/>
                  <a:pt x="381725" y="329816"/>
                  <a:pt x="201732" y="329816"/>
                </a:cubicBezTo>
                <a:cubicBezTo>
                  <a:pt x="191732" y="329816"/>
                  <a:pt x="181732" y="320533"/>
                  <a:pt x="181732" y="311250"/>
                </a:cubicBezTo>
                <a:cubicBezTo>
                  <a:pt x="181732" y="301967"/>
                  <a:pt x="191732" y="292684"/>
                  <a:pt x="201732" y="292684"/>
                </a:cubicBezTo>
                <a:close/>
                <a:moveTo>
                  <a:pt x="101227" y="292684"/>
                </a:moveTo>
                <a:cubicBezTo>
                  <a:pt x="101227" y="292684"/>
                  <a:pt x="101227" y="292684"/>
                  <a:pt x="121154" y="292684"/>
                </a:cubicBezTo>
                <a:cubicBezTo>
                  <a:pt x="131118" y="292684"/>
                  <a:pt x="141081" y="301967"/>
                  <a:pt x="141081" y="311250"/>
                </a:cubicBezTo>
                <a:cubicBezTo>
                  <a:pt x="141081" y="320533"/>
                  <a:pt x="131118" y="329816"/>
                  <a:pt x="121154" y="329816"/>
                </a:cubicBezTo>
                <a:cubicBezTo>
                  <a:pt x="121154" y="329816"/>
                  <a:pt x="121154" y="329816"/>
                  <a:pt x="101227" y="329816"/>
                </a:cubicBezTo>
                <a:cubicBezTo>
                  <a:pt x="91264" y="329816"/>
                  <a:pt x="81300" y="320533"/>
                  <a:pt x="81300" y="311250"/>
                </a:cubicBezTo>
                <a:cubicBezTo>
                  <a:pt x="81300" y="301967"/>
                  <a:pt x="91264" y="292684"/>
                  <a:pt x="101227" y="292684"/>
                </a:cubicBezTo>
                <a:close/>
                <a:moveTo>
                  <a:pt x="201732" y="200948"/>
                </a:moveTo>
                <a:cubicBezTo>
                  <a:pt x="201732" y="200948"/>
                  <a:pt x="201732" y="200948"/>
                  <a:pt x="381725" y="200948"/>
                </a:cubicBezTo>
                <a:cubicBezTo>
                  <a:pt x="391725" y="200948"/>
                  <a:pt x="401724" y="210231"/>
                  <a:pt x="401724" y="219514"/>
                </a:cubicBezTo>
                <a:cubicBezTo>
                  <a:pt x="401724" y="228797"/>
                  <a:pt x="391725" y="238080"/>
                  <a:pt x="381725" y="238080"/>
                </a:cubicBezTo>
                <a:cubicBezTo>
                  <a:pt x="381725" y="238080"/>
                  <a:pt x="381725" y="238080"/>
                  <a:pt x="201732" y="238080"/>
                </a:cubicBezTo>
                <a:cubicBezTo>
                  <a:pt x="191732" y="238080"/>
                  <a:pt x="181732" y="228797"/>
                  <a:pt x="181732" y="219514"/>
                </a:cubicBezTo>
                <a:cubicBezTo>
                  <a:pt x="181732" y="210231"/>
                  <a:pt x="191732" y="200948"/>
                  <a:pt x="201732" y="200948"/>
                </a:cubicBezTo>
                <a:close/>
                <a:moveTo>
                  <a:pt x="101227" y="200948"/>
                </a:moveTo>
                <a:cubicBezTo>
                  <a:pt x="101227" y="200948"/>
                  <a:pt x="101227" y="200948"/>
                  <a:pt x="121154" y="200948"/>
                </a:cubicBezTo>
                <a:cubicBezTo>
                  <a:pt x="131118" y="200948"/>
                  <a:pt x="141081" y="210231"/>
                  <a:pt x="141081" y="219514"/>
                </a:cubicBezTo>
                <a:cubicBezTo>
                  <a:pt x="141081" y="228797"/>
                  <a:pt x="131118" y="238080"/>
                  <a:pt x="121154" y="238080"/>
                </a:cubicBezTo>
                <a:cubicBezTo>
                  <a:pt x="121154" y="238080"/>
                  <a:pt x="121154" y="238080"/>
                  <a:pt x="101227" y="238080"/>
                </a:cubicBezTo>
                <a:cubicBezTo>
                  <a:pt x="91264" y="238080"/>
                  <a:pt x="81300" y="228797"/>
                  <a:pt x="81300" y="219514"/>
                </a:cubicBezTo>
                <a:cubicBezTo>
                  <a:pt x="81300" y="210231"/>
                  <a:pt x="91264" y="200948"/>
                  <a:pt x="101227" y="200948"/>
                </a:cubicBezTo>
                <a:close/>
                <a:moveTo>
                  <a:pt x="40252" y="91805"/>
                </a:moveTo>
                <a:cubicBezTo>
                  <a:pt x="40252" y="91805"/>
                  <a:pt x="40252" y="91805"/>
                  <a:pt x="40252" y="550829"/>
                </a:cubicBezTo>
                <a:cubicBezTo>
                  <a:pt x="40252" y="550829"/>
                  <a:pt x="40252" y="550829"/>
                  <a:pt x="442775" y="550829"/>
                </a:cubicBezTo>
                <a:lnTo>
                  <a:pt x="442775" y="91805"/>
                </a:lnTo>
                <a:cubicBezTo>
                  <a:pt x="442775" y="91805"/>
                  <a:pt x="442775" y="91805"/>
                  <a:pt x="384912" y="91805"/>
                </a:cubicBezTo>
                <a:cubicBezTo>
                  <a:pt x="384912" y="91805"/>
                  <a:pt x="384912" y="91805"/>
                  <a:pt x="400007" y="117051"/>
                </a:cubicBezTo>
                <a:cubicBezTo>
                  <a:pt x="402523" y="121641"/>
                  <a:pt x="402523" y="123936"/>
                  <a:pt x="402523" y="128527"/>
                </a:cubicBezTo>
                <a:cubicBezTo>
                  <a:pt x="402523" y="137707"/>
                  <a:pt x="392460" y="146888"/>
                  <a:pt x="382397" y="146888"/>
                </a:cubicBezTo>
                <a:cubicBezTo>
                  <a:pt x="382397" y="146888"/>
                  <a:pt x="382397" y="146888"/>
                  <a:pt x="100631" y="146888"/>
                </a:cubicBezTo>
                <a:cubicBezTo>
                  <a:pt x="93084" y="146888"/>
                  <a:pt x="88052" y="144592"/>
                  <a:pt x="83021" y="137707"/>
                </a:cubicBezTo>
                <a:cubicBezTo>
                  <a:pt x="80504" y="133117"/>
                  <a:pt x="80504" y="126231"/>
                  <a:pt x="83021" y="119346"/>
                </a:cubicBezTo>
                <a:cubicBezTo>
                  <a:pt x="83021" y="119346"/>
                  <a:pt x="83021" y="119346"/>
                  <a:pt x="98115" y="91805"/>
                </a:cubicBezTo>
                <a:cubicBezTo>
                  <a:pt x="98115" y="91805"/>
                  <a:pt x="98115" y="91805"/>
                  <a:pt x="40252" y="91805"/>
                </a:cubicBezTo>
                <a:close/>
                <a:moveTo>
                  <a:pt x="173588" y="36722"/>
                </a:moveTo>
                <a:lnTo>
                  <a:pt x="133336" y="110166"/>
                </a:lnTo>
                <a:cubicBezTo>
                  <a:pt x="133336" y="110166"/>
                  <a:pt x="133336" y="110166"/>
                  <a:pt x="349692" y="110166"/>
                </a:cubicBezTo>
                <a:cubicBezTo>
                  <a:pt x="349692" y="110166"/>
                  <a:pt x="349692" y="110166"/>
                  <a:pt x="309439" y="36722"/>
                </a:cubicBezTo>
                <a:cubicBezTo>
                  <a:pt x="309439" y="36722"/>
                  <a:pt x="309439" y="36722"/>
                  <a:pt x="173588" y="36722"/>
                </a:cubicBezTo>
                <a:close/>
                <a:moveTo>
                  <a:pt x="161009" y="0"/>
                </a:moveTo>
                <a:cubicBezTo>
                  <a:pt x="161009" y="0"/>
                  <a:pt x="161009" y="0"/>
                  <a:pt x="322018" y="0"/>
                </a:cubicBezTo>
                <a:cubicBezTo>
                  <a:pt x="329566" y="0"/>
                  <a:pt x="337113" y="4590"/>
                  <a:pt x="339629" y="9180"/>
                </a:cubicBezTo>
                <a:cubicBezTo>
                  <a:pt x="339629" y="9180"/>
                  <a:pt x="339629" y="9180"/>
                  <a:pt x="364786" y="55083"/>
                </a:cubicBezTo>
                <a:lnTo>
                  <a:pt x="462901" y="55083"/>
                </a:lnTo>
                <a:cubicBezTo>
                  <a:pt x="472964" y="55083"/>
                  <a:pt x="483027" y="64263"/>
                  <a:pt x="483027" y="73444"/>
                </a:cubicBezTo>
                <a:cubicBezTo>
                  <a:pt x="483027" y="73444"/>
                  <a:pt x="483027" y="73444"/>
                  <a:pt x="483027" y="569190"/>
                </a:cubicBezTo>
                <a:cubicBezTo>
                  <a:pt x="483027" y="578371"/>
                  <a:pt x="472964" y="587551"/>
                  <a:pt x="462901" y="587551"/>
                </a:cubicBezTo>
                <a:cubicBezTo>
                  <a:pt x="462901" y="587551"/>
                  <a:pt x="462901" y="587551"/>
                  <a:pt x="20126" y="587551"/>
                </a:cubicBezTo>
                <a:cubicBezTo>
                  <a:pt x="10063" y="587551"/>
                  <a:pt x="0" y="578371"/>
                  <a:pt x="0" y="569190"/>
                </a:cubicBezTo>
                <a:cubicBezTo>
                  <a:pt x="0" y="569190"/>
                  <a:pt x="0" y="569190"/>
                  <a:pt x="0" y="73444"/>
                </a:cubicBezTo>
                <a:cubicBezTo>
                  <a:pt x="0" y="64263"/>
                  <a:pt x="10063" y="55083"/>
                  <a:pt x="20126" y="55083"/>
                </a:cubicBezTo>
                <a:cubicBezTo>
                  <a:pt x="20126" y="55083"/>
                  <a:pt x="20126" y="55083"/>
                  <a:pt x="118241" y="55083"/>
                </a:cubicBezTo>
                <a:cubicBezTo>
                  <a:pt x="118241" y="55083"/>
                  <a:pt x="118241" y="55083"/>
                  <a:pt x="143399" y="9180"/>
                </a:cubicBezTo>
                <a:cubicBezTo>
                  <a:pt x="145915" y="4590"/>
                  <a:pt x="153462" y="0"/>
                  <a:pt x="161009"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wrap="square" anchor="ctr">
            <a:no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sp>
        <p:nvSpPr>
          <p:cNvPr id="17" name="íṧḻîdê">
            <a:extLst>
              <a:ext uri="{FF2B5EF4-FFF2-40B4-BE49-F238E27FC236}">
                <a16:creationId xmlns:a16="http://schemas.microsoft.com/office/drawing/2014/main" id="{866A975F-5568-4E98-AC7D-76DCD0D0DF73}"/>
              </a:ext>
            </a:extLst>
          </p:cNvPr>
          <p:cNvSpPr/>
          <p:nvPr/>
        </p:nvSpPr>
        <p:spPr>
          <a:xfrm>
            <a:off x="681910" y="2963571"/>
            <a:ext cx="4292279" cy="1457594"/>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wrap="square" lIns="90000" anchor="t" anchorCtr="0">
            <a:normAutofit/>
          </a:bodyPr>
          <a:lstStyle/>
          <a:p>
            <a:pPr>
              <a:lnSpc>
                <a:spcPct val="150000"/>
              </a:lnSpc>
              <a:spcBef>
                <a:spcPct val="0"/>
              </a:spcBef>
            </a:pPr>
            <a:r>
              <a:rPr lang="zh-CN" altLang="en-US" sz="1400" dirty="0"/>
              <a:t>核对站位</a:t>
            </a:r>
            <a:r>
              <a:rPr lang="zh-CN" altLang="en-US" sz="1400" dirty="0" smtClean="0"/>
              <a:t>与料盘的二维码，杜绝上料、换料错误</a:t>
            </a:r>
            <a:endParaRPr lang="en-US" altLang="zh-CN" sz="1400" dirty="0"/>
          </a:p>
        </p:txBody>
      </p:sp>
      <p:sp>
        <p:nvSpPr>
          <p:cNvPr id="19" name="íṧḻîdê">
            <a:extLst>
              <a:ext uri="{FF2B5EF4-FFF2-40B4-BE49-F238E27FC236}">
                <a16:creationId xmlns:a16="http://schemas.microsoft.com/office/drawing/2014/main" id="{866A975F-5568-4E98-AC7D-76DCD0D0DF73}"/>
              </a:ext>
            </a:extLst>
          </p:cNvPr>
          <p:cNvSpPr/>
          <p:nvPr/>
        </p:nvSpPr>
        <p:spPr>
          <a:xfrm>
            <a:off x="676514" y="6048081"/>
            <a:ext cx="4292279" cy="662503"/>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wrap="square" lIns="90000" anchor="t" anchorCtr="0">
            <a:normAutofit/>
          </a:bodyPr>
          <a:lstStyle/>
          <a:p>
            <a:pPr>
              <a:lnSpc>
                <a:spcPct val="150000"/>
              </a:lnSpc>
              <a:spcBef>
                <a:spcPct val="0"/>
              </a:spcBef>
            </a:pPr>
            <a:r>
              <a:rPr lang="zh-CN" altLang="en-US" sz="1400" dirty="0"/>
              <a:t>扫描</a:t>
            </a:r>
            <a:r>
              <a:rPr lang="zh-CN" altLang="en-US" sz="1400" dirty="0" smtClean="0"/>
              <a:t>前一步骤与现在进行步骤对比，杜绝流程不规范</a:t>
            </a:r>
            <a:endParaRPr lang="en-US" altLang="zh-CN" sz="1400" dirty="0"/>
          </a:p>
        </p:txBody>
      </p:sp>
      <p:sp>
        <p:nvSpPr>
          <p:cNvPr id="20" name="íṧḻîdê">
            <a:extLst>
              <a:ext uri="{FF2B5EF4-FFF2-40B4-BE49-F238E27FC236}">
                <a16:creationId xmlns:a16="http://schemas.microsoft.com/office/drawing/2014/main" id="{866A975F-5568-4E98-AC7D-76DCD0D0DF73}"/>
              </a:ext>
            </a:extLst>
          </p:cNvPr>
          <p:cNvSpPr/>
          <p:nvPr/>
        </p:nvSpPr>
        <p:spPr>
          <a:xfrm>
            <a:off x="8113497" y="3789302"/>
            <a:ext cx="3786514" cy="662503"/>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wrap="square" lIns="90000" anchor="t" anchorCtr="0">
            <a:normAutofit fontScale="92500" lnSpcReduction="10000"/>
          </a:bodyPr>
          <a:lstStyle/>
          <a:p>
            <a:pPr>
              <a:lnSpc>
                <a:spcPct val="150000"/>
              </a:lnSpc>
              <a:spcBef>
                <a:spcPct val="0"/>
              </a:spcBef>
            </a:pPr>
            <a:r>
              <a:rPr lang="zh-CN" altLang="en-US" sz="1400" dirty="0" smtClean="0"/>
              <a:t>记录每一步骤的详细信息及操作人，便于追溯出错原由</a:t>
            </a:r>
            <a:endParaRPr lang="en-US" altLang="zh-CN" sz="1400" dirty="0"/>
          </a:p>
        </p:txBody>
      </p:sp>
    </p:spTree>
    <p:extLst>
      <p:ext uri="{BB962C8B-B14F-4D97-AF65-F5344CB8AC3E}">
        <p14:creationId xmlns:p14="http://schemas.microsoft.com/office/powerpoint/2010/main" val="935561330"/>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标题 4">
            <a:extLst>
              <a:ext uri="{FF2B5EF4-FFF2-40B4-BE49-F238E27FC236}">
                <a16:creationId xmlns:a16="http://schemas.microsoft.com/office/drawing/2014/main" id="{ACE3B69C-7B00-4E19-8A33-B8981633BDA2}"/>
              </a:ext>
            </a:extLst>
          </p:cNvPr>
          <p:cNvSpPr>
            <a:spLocks noGrp="1"/>
          </p:cNvSpPr>
          <p:nvPr>
            <p:ph type="title"/>
          </p:nvPr>
        </p:nvSpPr>
        <p:spPr>
          <a:xfrm>
            <a:off x="3547864" y="2635250"/>
            <a:ext cx="5419185" cy="895350"/>
          </a:xfrm>
        </p:spPr>
        <p:txBody>
          <a:bodyPr>
            <a:normAutofit/>
          </a:bodyPr>
          <a:lstStyle/>
          <a:p>
            <a:r>
              <a:rPr lang="zh-CN" altLang="en-US" sz="4800" dirty="0" smtClean="0"/>
              <a:t>自动化部</a:t>
            </a:r>
            <a:endParaRPr lang="zh-CN" altLang="en-US" sz="4800" dirty="0"/>
          </a:p>
        </p:txBody>
      </p:sp>
      <p:sp>
        <p:nvSpPr>
          <p:cNvPr id="8" name="文本占位符 5">
            <a:extLst>
              <a:ext uri="{FF2B5EF4-FFF2-40B4-BE49-F238E27FC236}">
                <a16:creationId xmlns:a16="http://schemas.microsoft.com/office/drawing/2014/main" id="{7668DC11-4832-4C2A-8EC8-083C29CB3406}"/>
              </a:ext>
            </a:extLst>
          </p:cNvPr>
          <p:cNvSpPr>
            <a:spLocks noGrp="1"/>
          </p:cNvSpPr>
          <p:nvPr>
            <p:ph type="body" idx="1"/>
          </p:nvPr>
        </p:nvSpPr>
        <p:spPr>
          <a:xfrm>
            <a:off x="3639597" y="3802448"/>
            <a:ext cx="8432813" cy="1815757"/>
          </a:xfrm>
        </p:spPr>
        <p:txBody>
          <a:bodyPr>
            <a:normAutofit/>
          </a:bodyPr>
          <a:lstStyle/>
          <a:p>
            <a:r>
              <a:rPr lang="zh-CN" altLang="en-US" sz="2800" dirty="0" smtClean="0"/>
              <a:t>团队</a:t>
            </a:r>
            <a:r>
              <a:rPr lang="zh-CN" altLang="en-US" sz="2800" dirty="0"/>
              <a:t>：</a:t>
            </a:r>
            <a:r>
              <a:rPr lang="zh-CN" altLang="en-US" sz="2800" dirty="0" smtClean="0"/>
              <a:t>高素质、高水平、高效率</a:t>
            </a:r>
            <a:endParaRPr lang="en-US" altLang="zh-CN" sz="2800" dirty="0"/>
          </a:p>
          <a:p>
            <a:endParaRPr lang="en-US" altLang="zh-CN" sz="2800" dirty="0" smtClean="0"/>
          </a:p>
          <a:p>
            <a:r>
              <a:rPr lang="zh-CN" altLang="en-US" sz="2800" dirty="0" smtClean="0"/>
              <a:t>目标：提高</a:t>
            </a:r>
            <a:r>
              <a:rPr lang="zh-CN" altLang="en-US" sz="2800" dirty="0"/>
              <a:t>产品质量、减少人工成本、提高生产</a:t>
            </a:r>
            <a:r>
              <a:rPr lang="zh-CN" altLang="en-US" sz="2800" dirty="0" smtClean="0"/>
              <a:t>效率</a:t>
            </a:r>
            <a:endParaRPr lang="zh-CN" altLang="en-US" dirty="0"/>
          </a:p>
        </p:txBody>
      </p:sp>
      <p:sp>
        <p:nvSpPr>
          <p:cNvPr id="9" name="文本框 8">
            <a:extLst>
              <a:ext uri="{FF2B5EF4-FFF2-40B4-BE49-F238E27FC236}">
                <a16:creationId xmlns:a16="http://schemas.microsoft.com/office/drawing/2014/main" id="{247B30BB-737D-444D-B750-58BA0349157D}"/>
              </a:ext>
            </a:extLst>
          </p:cNvPr>
          <p:cNvSpPr txBox="1"/>
          <p:nvPr/>
        </p:nvSpPr>
        <p:spPr>
          <a:xfrm>
            <a:off x="2524348" y="1612899"/>
            <a:ext cx="1023516" cy="889909"/>
          </a:xfrm>
          <a:prstGeom prst="rect">
            <a:avLst/>
          </a:prstGeom>
          <a:noFill/>
          <a:ln w="117475">
            <a:noFill/>
          </a:ln>
        </p:spPr>
        <p:txBody>
          <a:bodyPr wrap="none" rtlCol="0">
            <a:prstTxWarp prst="textPlain">
              <a:avLst/>
            </a:prstTxWarp>
            <a:spAutoFit/>
          </a:bodyPr>
          <a:lstStyle/>
          <a:p>
            <a:r>
              <a:rPr lang="en-US" altLang="zh-CN" spc="100" dirty="0" err="1" smtClean="0">
                <a:solidFill>
                  <a:schemeClr val="bg1"/>
                </a:solidFill>
                <a:latin typeface="Impact" panose="020B0806030902050204" pitchFamily="34" charset="0"/>
                <a:cs typeface="Arial" panose="020B0604020202020204" pitchFamily="34" charset="0"/>
              </a:rPr>
              <a:t>jimi</a:t>
            </a:r>
            <a:endParaRPr lang="zh-CN" altLang="en-US" spc="100" dirty="0">
              <a:solidFill>
                <a:schemeClr val="bg1"/>
              </a:solidFill>
              <a:latin typeface="Impact" panose="020B0806030902050204" pitchFamily="34" charset="0"/>
              <a:cs typeface="Arial" panose="020B0604020202020204" pitchFamily="34" charset="0"/>
            </a:endParaRPr>
          </a:p>
        </p:txBody>
      </p:sp>
    </p:spTree>
    <p:extLst>
      <p:ext uri="{BB962C8B-B14F-4D97-AF65-F5344CB8AC3E}">
        <p14:creationId xmlns:p14="http://schemas.microsoft.com/office/powerpoint/2010/main" val="2371597387"/>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smtClean="0"/>
              <a:t>APP</a:t>
            </a:r>
            <a:r>
              <a:rPr lang="zh-CN" altLang="en-US" dirty="0" smtClean="0"/>
              <a:t>用户</a:t>
            </a:r>
            <a:r>
              <a:rPr lang="en-US" altLang="zh-CN" dirty="0" smtClean="0"/>
              <a:t>——</a:t>
            </a:r>
            <a:r>
              <a:rPr lang="zh-CN" altLang="en-US" dirty="0" smtClean="0"/>
              <a:t>职责分明</a:t>
            </a:r>
            <a:endParaRPr lang="zh-CN" altLang="en-US" dirty="0"/>
          </a:p>
        </p:txBody>
      </p:sp>
      <p:grpSp>
        <p:nvGrpSpPr>
          <p:cNvPr id="5" name="b15d545d-6a15-46b3-895f-c24e208876c5"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p:cNvGrpSpPr>
            <a:grpSpLocks noChangeAspect="1"/>
          </p:cNvGrpSpPr>
          <p:nvPr>
            <p:custDataLst>
              <p:tags r:id="rId1"/>
            </p:custDataLst>
          </p:nvPr>
        </p:nvGrpSpPr>
        <p:grpSpPr>
          <a:xfrm>
            <a:off x="1037478" y="1613131"/>
            <a:ext cx="10580153" cy="4730522"/>
            <a:chOff x="1803547" y="1356666"/>
            <a:chExt cx="10580153" cy="4730522"/>
          </a:xfrm>
        </p:grpSpPr>
        <p:grpSp>
          <p:nvGrpSpPr>
            <p:cNvPr id="6" name="ïś1íḍè">
              <a:extLst>
                <a:ext uri="{FF2B5EF4-FFF2-40B4-BE49-F238E27FC236}">
                  <a16:creationId xmlns:a16="http://schemas.microsoft.com/office/drawing/2014/main" id="{06175A46-BBA9-4184-8DC4-E5A8703A45C5}"/>
                </a:ext>
              </a:extLst>
            </p:cNvPr>
            <p:cNvGrpSpPr/>
            <p:nvPr/>
          </p:nvGrpSpPr>
          <p:grpSpPr>
            <a:xfrm>
              <a:off x="8616319" y="1356666"/>
              <a:ext cx="1933578" cy="1993257"/>
              <a:chOff x="2942064" y="1356666"/>
              <a:chExt cx="1933578" cy="1993257"/>
            </a:xfrm>
          </p:grpSpPr>
          <p:sp>
            <p:nvSpPr>
              <p:cNvPr id="29" name="ïşḷidé">
                <a:extLst>
                  <a:ext uri="{FF2B5EF4-FFF2-40B4-BE49-F238E27FC236}">
                    <a16:creationId xmlns:a16="http://schemas.microsoft.com/office/drawing/2014/main" id="{79225B41-442D-4C4E-8BFF-78457083D7A7}"/>
                  </a:ext>
                </a:extLst>
              </p:cNvPr>
              <p:cNvSpPr/>
              <p:nvPr/>
            </p:nvSpPr>
            <p:spPr>
              <a:xfrm>
                <a:off x="2942064" y="1416345"/>
                <a:ext cx="1933578" cy="1933578"/>
              </a:xfrm>
              <a:custGeom>
                <a:avLst/>
                <a:gdLst/>
                <a:ahLst/>
                <a:cxnLst>
                  <a:cxn ang="0">
                    <a:pos x="wd2" y="hd2"/>
                  </a:cxn>
                  <a:cxn ang="5400000">
                    <a:pos x="wd2" y="hd2"/>
                  </a:cxn>
                  <a:cxn ang="10800000">
                    <a:pos x="wd2" y="hd2"/>
                  </a:cxn>
                  <a:cxn ang="16200000">
                    <a:pos x="wd2" y="hd2"/>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path>
                </a:pathLst>
              </a:custGeom>
              <a:noFill/>
              <a:ln w="25400" cap="flat" cmpd="sng" algn="ctr">
                <a:solidFill>
                  <a:srgbClr val="00B0F0"/>
                </a:solidFill>
                <a:prstDash val="solid"/>
                <a:miter lim="400000"/>
                <a:headEnd type="none" w="med" len="med"/>
                <a:tailEnd type="none" w="med" len="med"/>
              </a:ln>
              <a:effectLst/>
              <a:extLst>
                <a:ext uri="{909E8E84-426E-40DD-AFC4-6F175D3DCCD1}">
                  <a14:hiddenFill xmlns:a14="http://schemas.microsoft.com/office/drawing/2010/main">
                    <a:solidFill>
                      <a:schemeClr val="bg2">
                        <a:lumMod val="100000"/>
                      </a:schemeClr>
                    </a:solidFill>
                  </a14:hiddenFill>
                </a:ext>
              </a:extLst>
            </p:spPr>
            <p:txBody>
              <a:bodyPr anchor="ctr"/>
              <a:lstStyle/>
              <a:p>
                <a:pPr algn="ctr"/>
                <a:endParaRPr/>
              </a:p>
            </p:txBody>
          </p:sp>
          <p:sp>
            <p:nvSpPr>
              <p:cNvPr id="30" name="íṣľiďê">
                <a:extLst>
                  <a:ext uri="{FF2B5EF4-FFF2-40B4-BE49-F238E27FC236}">
                    <a16:creationId xmlns:a16="http://schemas.microsoft.com/office/drawing/2014/main" id="{FCA396D9-B7B0-4690-861F-2281188352F6}"/>
                  </a:ext>
                </a:extLst>
              </p:cNvPr>
              <p:cNvSpPr/>
              <p:nvPr/>
            </p:nvSpPr>
            <p:spPr>
              <a:xfrm>
                <a:off x="3010328" y="1493193"/>
                <a:ext cx="1797051" cy="1797051"/>
              </a:xfrm>
              <a:custGeom>
                <a:avLst/>
                <a:gdLst/>
                <a:ahLst/>
                <a:cxnLst>
                  <a:cxn ang="0">
                    <a:pos x="wd2" y="hd2"/>
                  </a:cxn>
                  <a:cxn ang="5400000">
                    <a:pos x="wd2" y="hd2"/>
                  </a:cxn>
                  <a:cxn ang="10800000">
                    <a:pos x="wd2" y="hd2"/>
                  </a:cxn>
                  <a:cxn ang="16200000">
                    <a:pos x="wd2" y="hd2"/>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path>
                </a:pathLst>
              </a:custGeom>
              <a:pattFill prst="pct5">
                <a:fgClr>
                  <a:srgbClr val="E4E6EA"/>
                </a:fgClr>
                <a:bgClr>
                  <a:srgbClr val="ADB5BF"/>
                </a:bgClr>
              </a:patt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a:solidFill>
                    <a:schemeClr val="lt1"/>
                  </a:solidFill>
                </a:endParaRPr>
              </a:p>
            </p:txBody>
          </p:sp>
          <p:grpSp>
            <p:nvGrpSpPr>
              <p:cNvPr id="31" name="iṥ1íḍe">
                <a:extLst>
                  <a:ext uri="{FF2B5EF4-FFF2-40B4-BE49-F238E27FC236}">
                    <a16:creationId xmlns:a16="http://schemas.microsoft.com/office/drawing/2014/main" id="{30352750-2C9C-416B-BB24-4455E70EFB7C}"/>
                  </a:ext>
                </a:extLst>
              </p:cNvPr>
              <p:cNvGrpSpPr/>
              <p:nvPr/>
            </p:nvGrpSpPr>
            <p:grpSpPr>
              <a:xfrm>
                <a:off x="4024812" y="1356666"/>
                <a:ext cx="675000" cy="675005"/>
                <a:chOff x="9298524" y="4153276"/>
                <a:chExt cx="675000" cy="675005"/>
              </a:xfrm>
            </p:grpSpPr>
            <p:sp>
              <p:nvSpPr>
                <p:cNvPr id="32" name="íš1iďe">
                  <a:extLst>
                    <a:ext uri="{FF2B5EF4-FFF2-40B4-BE49-F238E27FC236}">
                      <a16:creationId xmlns:a16="http://schemas.microsoft.com/office/drawing/2014/main" id="{A7514CD2-3857-420A-8886-DF54844A0BC2}"/>
                    </a:ext>
                  </a:extLst>
                </p:cNvPr>
                <p:cNvSpPr/>
                <p:nvPr/>
              </p:nvSpPr>
              <p:spPr>
                <a:xfrm>
                  <a:off x="9298524" y="4153276"/>
                  <a:ext cx="675000" cy="675005"/>
                </a:xfrm>
                <a:prstGeom prst="ellipse">
                  <a:avLst/>
                </a:prstGeom>
                <a:solidFill>
                  <a:srgbClr val="00B0F0"/>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377" rtl="0" eaLnBrk="1" latinLnBrk="0" hangingPunct="1">
                    <a:defRPr sz="1800" kern="1200">
                      <a:solidFill>
                        <a:schemeClr val="lt1"/>
                      </a:solidFill>
                    </a:defRPr>
                  </a:lvl1pPr>
                  <a:lvl2pPr marL="457189" algn="l" defTabSz="914377" rtl="0" eaLnBrk="1" latinLnBrk="0" hangingPunct="1">
                    <a:defRPr sz="1800" kern="1200">
                      <a:solidFill>
                        <a:schemeClr val="lt1"/>
                      </a:solidFill>
                    </a:defRPr>
                  </a:lvl2pPr>
                  <a:lvl3pPr marL="914377" algn="l" defTabSz="914377" rtl="0" eaLnBrk="1" latinLnBrk="0" hangingPunct="1">
                    <a:defRPr sz="1800" kern="1200">
                      <a:solidFill>
                        <a:schemeClr val="lt1"/>
                      </a:solidFill>
                    </a:defRPr>
                  </a:lvl3pPr>
                  <a:lvl4pPr marL="1371566" algn="l" defTabSz="914377" rtl="0" eaLnBrk="1" latinLnBrk="0" hangingPunct="1">
                    <a:defRPr sz="1800" kern="1200">
                      <a:solidFill>
                        <a:schemeClr val="lt1"/>
                      </a:solidFill>
                    </a:defRPr>
                  </a:lvl4pPr>
                  <a:lvl5pPr marL="1828754" algn="l" defTabSz="914377" rtl="0" eaLnBrk="1" latinLnBrk="0" hangingPunct="1">
                    <a:defRPr sz="1800" kern="1200">
                      <a:solidFill>
                        <a:schemeClr val="lt1"/>
                      </a:solidFill>
                    </a:defRPr>
                  </a:lvl5pPr>
                  <a:lvl6pPr marL="2285943" algn="l" defTabSz="914377" rtl="0" eaLnBrk="1" latinLnBrk="0" hangingPunct="1">
                    <a:defRPr sz="1800" kern="1200">
                      <a:solidFill>
                        <a:schemeClr val="lt1"/>
                      </a:solidFill>
                    </a:defRPr>
                  </a:lvl6pPr>
                  <a:lvl7pPr marL="2743131" algn="l" defTabSz="914377" rtl="0" eaLnBrk="1" latinLnBrk="0" hangingPunct="1">
                    <a:defRPr sz="1800" kern="1200">
                      <a:solidFill>
                        <a:schemeClr val="lt1"/>
                      </a:solidFill>
                    </a:defRPr>
                  </a:lvl7pPr>
                  <a:lvl8pPr marL="3200320" algn="l" defTabSz="914377" rtl="0" eaLnBrk="1" latinLnBrk="0" hangingPunct="1">
                    <a:defRPr sz="1800" kern="1200">
                      <a:solidFill>
                        <a:schemeClr val="lt1"/>
                      </a:solidFill>
                    </a:defRPr>
                  </a:lvl8pPr>
                  <a:lvl9pPr marL="3657509" algn="l" defTabSz="914377" rtl="0" eaLnBrk="1" latinLnBrk="0" hangingPunct="1">
                    <a:defRPr sz="1800" kern="1200">
                      <a:solidFill>
                        <a:schemeClr val="lt1"/>
                      </a:solidFill>
                    </a:defRPr>
                  </a:lvl9pPr>
                </a:lstStyle>
                <a:p>
                  <a:pPr algn="ctr"/>
                  <a:endParaRPr lang="zh-CN" altLang="en-US" dirty="0"/>
                </a:p>
              </p:txBody>
            </p:sp>
            <p:sp>
              <p:nvSpPr>
                <p:cNvPr id="33" name="îslîḓé">
                  <a:extLst>
                    <a:ext uri="{FF2B5EF4-FFF2-40B4-BE49-F238E27FC236}">
                      <a16:creationId xmlns:a16="http://schemas.microsoft.com/office/drawing/2014/main" id="{B3A717FE-45EE-46FE-AED6-DDD8350626C4}"/>
                    </a:ext>
                  </a:extLst>
                </p:cNvPr>
                <p:cNvSpPr/>
                <p:nvPr/>
              </p:nvSpPr>
              <p:spPr bwMode="auto">
                <a:xfrm>
                  <a:off x="9463931" y="4317647"/>
                  <a:ext cx="344185" cy="337474"/>
                </a:xfrm>
                <a:custGeom>
                  <a:avLst/>
                  <a:gdLst>
                    <a:gd name="T0" fmla="*/ 1312 w 1990"/>
                    <a:gd name="T1" fmla="*/ 1552 h 1954"/>
                    <a:gd name="T2" fmla="*/ 291 w 1990"/>
                    <a:gd name="T3" fmla="*/ 1746 h 1954"/>
                    <a:gd name="T4" fmla="*/ 0 w 1990"/>
                    <a:gd name="T5" fmla="*/ 540 h 1954"/>
                    <a:gd name="T6" fmla="*/ 515 w 1990"/>
                    <a:gd name="T7" fmla="*/ 249 h 1954"/>
                    <a:gd name="T8" fmla="*/ 1205 w 1990"/>
                    <a:gd name="T9" fmla="*/ 0 h 1954"/>
                    <a:gd name="T10" fmla="*/ 1496 w 1990"/>
                    <a:gd name="T11" fmla="*/ 489 h 1954"/>
                    <a:gd name="T12" fmla="*/ 1413 w 1990"/>
                    <a:gd name="T13" fmla="*/ 291 h 1954"/>
                    <a:gd name="T14" fmla="*/ 802 w 1990"/>
                    <a:gd name="T15" fmla="*/ 83 h 1954"/>
                    <a:gd name="T16" fmla="*/ 1039 w 1990"/>
                    <a:gd name="T17" fmla="*/ 249 h 1954"/>
                    <a:gd name="T18" fmla="*/ 1243 w 1990"/>
                    <a:gd name="T19" fmla="*/ 499 h 1954"/>
                    <a:gd name="T20" fmla="*/ 291 w 1990"/>
                    <a:gd name="T21" fmla="*/ 333 h 1954"/>
                    <a:gd name="T22" fmla="*/ 83 w 1990"/>
                    <a:gd name="T23" fmla="*/ 1455 h 1954"/>
                    <a:gd name="T24" fmla="*/ 1039 w 1990"/>
                    <a:gd name="T25" fmla="*/ 1663 h 1954"/>
                    <a:gd name="T26" fmla="*/ 1641 w 1990"/>
                    <a:gd name="T27" fmla="*/ 1453 h 1954"/>
                    <a:gd name="T28" fmla="*/ 1138 w 1990"/>
                    <a:gd name="T29" fmla="*/ 583 h 1954"/>
                    <a:gd name="T30" fmla="*/ 1641 w 1990"/>
                    <a:gd name="T31" fmla="*/ 1453 h 1954"/>
                    <a:gd name="T32" fmla="*/ 1752 w 1990"/>
                    <a:gd name="T33" fmla="*/ 809 h 1954"/>
                    <a:gd name="T34" fmla="*/ 1026 w 1990"/>
                    <a:gd name="T35" fmla="*/ 1228 h 1954"/>
                    <a:gd name="T36" fmla="*/ 1767 w 1990"/>
                    <a:gd name="T37" fmla="*/ 1422 h 1954"/>
                    <a:gd name="T38" fmla="*/ 1717 w 1990"/>
                    <a:gd name="T39" fmla="*/ 1835 h 1954"/>
                    <a:gd name="T40" fmla="*/ 1767 w 1990"/>
                    <a:gd name="T41" fmla="*/ 1422 h 1954"/>
                    <a:gd name="T42" fmla="*/ 1739 w 1990"/>
                    <a:gd name="T43" fmla="*/ 1874 h 1954"/>
                    <a:gd name="T44" fmla="*/ 1956 w 1990"/>
                    <a:gd name="T45" fmla="*/ 1749 h 1954"/>
                    <a:gd name="T46" fmla="*/ 249 w 1990"/>
                    <a:gd name="T47" fmla="*/ 551 h 1954"/>
                    <a:gd name="T48" fmla="*/ 803 w 1990"/>
                    <a:gd name="T49" fmla="*/ 613 h 1954"/>
                    <a:gd name="T50" fmla="*/ 675 w 1990"/>
                    <a:gd name="T51" fmla="*/ 828 h 1954"/>
                    <a:gd name="T52" fmla="*/ 249 w 1990"/>
                    <a:gd name="T53" fmla="*/ 890 h 1954"/>
                    <a:gd name="T54" fmla="*/ 675 w 1990"/>
                    <a:gd name="T55" fmla="*/ 828 h 1954"/>
                    <a:gd name="T56" fmla="*/ 675 w 1990"/>
                    <a:gd name="T57" fmla="*/ 1167 h 1954"/>
                    <a:gd name="T58" fmla="*/ 249 w 1990"/>
                    <a:gd name="T59" fmla="*/ 1105 h 1954"/>
                    <a:gd name="T60" fmla="*/ 249 w 1990"/>
                    <a:gd name="T61" fmla="*/ 1444 h 1954"/>
                    <a:gd name="T62" fmla="*/ 803 w 1990"/>
                    <a:gd name="T63" fmla="*/ 1382 h 1954"/>
                    <a:gd name="T64" fmla="*/ 249 w 1990"/>
                    <a:gd name="T65" fmla="*/ 1444 h 1954"/>
                    <a:gd name="T66" fmla="*/ 1179 w 1990"/>
                    <a:gd name="T67" fmla="*/ 961 h 1954"/>
                    <a:gd name="T68" fmla="*/ 1300 w 1990"/>
                    <a:gd name="T69" fmla="*/ 1219 h 1954"/>
                    <a:gd name="T70" fmla="*/ 1604 w 1990"/>
                    <a:gd name="T71" fmla="*/ 858 h 19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990" h="1954">
                      <a:moveTo>
                        <a:pt x="1231" y="1534"/>
                      </a:moveTo>
                      <a:cubicBezTo>
                        <a:pt x="1258" y="1542"/>
                        <a:pt x="1285" y="1548"/>
                        <a:pt x="1312" y="1552"/>
                      </a:cubicBezTo>
                      <a:cubicBezTo>
                        <a:pt x="1272" y="1665"/>
                        <a:pt x="1165" y="1746"/>
                        <a:pt x="1039" y="1746"/>
                      </a:cubicBezTo>
                      <a:lnTo>
                        <a:pt x="291" y="1746"/>
                      </a:lnTo>
                      <a:cubicBezTo>
                        <a:pt x="131" y="1746"/>
                        <a:pt x="0" y="1615"/>
                        <a:pt x="0" y="1455"/>
                      </a:cubicBezTo>
                      <a:lnTo>
                        <a:pt x="0" y="540"/>
                      </a:lnTo>
                      <a:cubicBezTo>
                        <a:pt x="0" y="380"/>
                        <a:pt x="131" y="249"/>
                        <a:pt x="291" y="249"/>
                      </a:cubicBezTo>
                      <a:lnTo>
                        <a:pt x="515" y="249"/>
                      </a:lnTo>
                      <a:cubicBezTo>
                        <a:pt x="535" y="109"/>
                        <a:pt x="656" y="0"/>
                        <a:pt x="802" y="0"/>
                      </a:cubicBezTo>
                      <a:lnTo>
                        <a:pt x="1205" y="0"/>
                      </a:lnTo>
                      <a:cubicBezTo>
                        <a:pt x="1366" y="0"/>
                        <a:pt x="1496" y="131"/>
                        <a:pt x="1496" y="291"/>
                      </a:cubicBezTo>
                      <a:lnTo>
                        <a:pt x="1496" y="489"/>
                      </a:lnTo>
                      <a:cubicBezTo>
                        <a:pt x="1469" y="484"/>
                        <a:pt x="1441" y="480"/>
                        <a:pt x="1413" y="479"/>
                      </a:cubicBezTo>
                      <a:lnTo>
                        <a:pt x="1413" y="291"/>
                      </a:lnTo>
                      <a:cubicBezTo>
                        <a:pt x="1413" y="176"/>
                        <a:pt x="1320" y="83"/>
                        <a:pt x="1205" y="83"/>
                      </a:cubicBezTo>
                      <a:lnTo>
                        <a:pt x="802" y="83"/>
                      </a:lnTo>
                      <a:cubicBezTo>
                        <a:pt x="701" y="83"/>
                        <a:pt x="617" y="155"/>
                        <a:pt x="598" y="249"/>
                      </a:cubicBezTo>
                      <a:lnTo>
                        <a:pt x="1039" y="249"/>
                      </a:lnTo>
                      <a:cubicBezTo>
                        <a:pt x="1180" y="249"/>
                        <a:pt x="1297" y="349"/>
                        <a:pt x="1324" y="482"/>
                      </a:cubicBezTo>
                      <a:cubicBezTo>
                        <a:pt x="1297" y="485"/>
                        <a:pt x="1270" y="491"/>
                        <a:pt x="1243" y="499"/>
                      </a:cubicBezTo>
                      <a:cubicBezTo>
                        <a:pt x="1224" y="404"/>
                        <a:pt x="1140" y="333"/>
                        <a:pt x="1039" y="333"/>
                      </a:cubicBezTo>
                      <a:lnTo>
                        <a:pt x="291" y="333"/>
                      </a:lnTo>
                      <a:cubicBezTo>
                        <a:pt x="177" y="333"/>
                        <a:pt x="83" y="426"/>
                        <a:pt x="83" y="540"/>
                      </a:cubicBezTo>
                      <a:lnTo>
                        <a:pt x="83" y="1455"/>
                      </a:lnTo>
                      <a:cubicBezTo>
                        <a:pt x="83" y="1569"/>
                        <a:pt x="177" y="1663"/>
                        <a:pt x="291" y="1663"/>
                      </a:cubicBezTo>
                      <a:lnTo>
                        <a:pt x="1039" y="1663"/>
                      </a:lnTo>
                      <a:cubicBezTo>
                        <a:pt x="1126" y="1663"/>
                        <a:pt x="1200" y="1609"/>
                        <a:pt x="1231" y="1534"/>
                      </a:cubicBezTo>
                      <a:close/>
                      <a:moveTo>
                        <a:pt x="1641" y="1453"/>
                      </a:moveTo>
                      <a:cubicBezTo>
                        <a:pt x="1401" y="1591"/>
                        <a:pt x="1093" y="1509"/>
                        <a:pt x="955" y="1269"/>
                      </a:cubicBezTo>
                      <a:cubicBezTo>
                        <a:pt x="816" y="1029"/>
                        <a:pt x="899" y="722"/>
                        <a:pt x="1138" y="583"/>
                      </a:cubicBezTo>
                      <a:cubicBezTo>
                        <a:pt x="1378" y="445"/>
                        <a:pt x="1686" y="527"/>
                        <a:pt x="1824" y="767"/>
                      </a:cubicBezTo>
                      <a:cubicBezTo>
                        <a:pt x="1963" y="1007"/>
                        <a:pt x="1880" y="1314"/>
                        <a:pt x="1641" y="1453"/>
                      </a:cubicBezTo>
                      <a:close/>
                      <a:moveTo>
                        <a:pt x="1599" y="1381"/>
                      </a:moveTo>
                      <a:cubicBezTo>
                        <a:pt x="1799" y="1266"/>
                        <a:pt x="1868" y="1009"/>
                        <a:pt x="1752" y="809"/>
                      </a:cubicBezTo>
                      <a:cubicBezTo>
                        <a:pt x="1637" y="608"/>
                        <a:pt x="1380" y="539"/>
                        <a:pt x="1180" y="655"/>
                      </a:cubicBezTo>
                      <a:cubicBezTo>
                        <a:pt x="980" y="771"/>
                        <a:pt x="911" y="1027"/>
                        <a:pt x="1026" y="1228"/>
                      </a:cubicBezTo>
                      <a:cubicBezTo>
                        <a:pt x="1142" y="1428"/>
                        <a:pt x="1399" y="1497"/>
                        <a:pt x="1599" y="1381"/>
                      </a:cubicBezTo>
                      <a:close/>
                      <a:moveTo>
                        <a:pt x="1767" y="1422"/>
                      </a:moveTo>
                      <a:lnTo>
                        <a:pt x="1551" y="1547"/>
                      </a:lnTo>
                      <a:lnTo>
                        <a:pt x="1717" y="1835"/>
                      </a:lnTo>
                      <a:lnTo>
                        <a:pt x="1933" y="1710"/>
                      </a:lnTo>
                      <a:lnTo>
                        <a:pt x="1767" y="1422"/>
                      </a:lnTo>
                      <a:close/>
                      <a:moveTo>
                        <a:pt x="1956" y="1749"/>
                      </a:moveTo>
                      <a:lnTo>
                        <a:pt x="1739" y="1874"/>
                      </a:lnTo>
                      <a:cubicBezTo>
                        <a:pt x="1774" y="1934"/>
                        <a:pt x="1850" y="1954"/>
                        <a:pt x="1910" y="1919"/>
                      </a:cubicBezTo>
                      <a:cubicBezTo>
                        <a:pt x="1969" y="1885"/>
                        <a:pt x="1990" y="1809"/>
                        <a:pt x="1956" y="1749"/>
                      </a:cubicBezTo>
                      <a:close/>
                      <a:moveTo>
                        <a:pt x="803" y="551"/>
                      </a:moveTo>
                      <a:lnTo>
                        <a:pt x="249" y="551"/>
                      </a:lnTo>
                      <a:lnTo>
                        <a:pt x="249" y="613"/>
                      </a:lnTo>
                      <a:lnTo>
                        <a:pt x="803" y="613"/>
                      </a:lnTo>
                      <a:lnTo>
                        <a:pt x="803" y="551"/>
                      </a:lnTo>
                      <a:close/>
                      <a:moveTo>
                        <a:pt x="675" y="828"/>
                      </a:moveTo>
                      <a:lnTo>
                        <a:pt x="249" y="828"/>
                      </a:lnTo>
                      <a:lnTo>
                        <a:pt x="249" y="890"/>
                      </a:lnTo>
                      <a:lnTo>
                        <a:pt x="675" y="890"/>
                      </a:lnTo>
                      <a:lnTo>
                        <a:pt x="675" y="828"/>
                      </a:lnTo>
                      <a:close/>
                      <a:moveTo>
                        <a:pt x="249" y="1167"/>
                      </a:moveTo>
                      <a:lnTo>
                        <a:pt x="675" y="1167"/>
                      </a:lnTo>
                      <a:lnTo>
                        <a:pt x="675" y="1105"/>
                      </a:lnTo>
                      <a:lnTo>
                        <a:pt x="249" y="1105"/>
                      </a:lnTo>
                      <a:lnTo>
                        <a:pt x="249" y="1167"/>
                      </a:lnTo>
                      <a:close/>
                      <a:moveTo>
                        <a:pt x="249" y="1444"/>
                      </a:moveTo>
                      <a:lnTo>
                        <a:pt x="803" y="1444"/>
                      </a:lnTo>
                      <a:lnTo>
                        <a:pt x="803" y="1382"/>
                      </a:lnTo>
                      <a:lnTo>
                        <a:pt x="249" y="1382"/>
                      </a:lnTo>
                      <a:lnTo>
                        <a:pt x="249" y="1444"/>
                      </a:lnTo>
                      <a:close/>
                      <a:moveTo>
                        <a:pt x="1308" y="1105"/>
                      </a:moveTo>
                      <a:lnTo>
                        <a:pt x="1179" y="961"/>
                      </a:lnTo>
                      <a:lnTo>
                        <a:pt x="1118" y="1017"/>
                      </a:lnTo>
                      <a:lnTo>
                        <a:pt x="1300" y="1219"/>
                      </a:lnTo>
                      <a:lnTo>
                        <a:pt x="1657" y="922"/>
                      </a:lnTo>
                      <a:lnTo>
                        <a:pt x="1604" y="858"/>
                      </a:lnTo>
                      <a:lnTo>
                        <a:pt x="1308" y="1105"/>
                      </a:lnTo>
                      <a:close/>
                    </a:path>
                  </a:pathLst>
                </a:custGeom>
                <a:solidFill>
                  <a:schemeClr val="bg1"/>
                </a:solidFill>
                <a:ln>
                  <a:noFill/>
                </a:ln>
              </p:spPr>
              <p:txBody>
                <a:bodyPr vert="horz" wrap="square" lIns="182832" tIns="91416" rIns="182832" bIns="91416" numCol="1" anchor="t" anchorCtr="0" compatLnSpc="1">
                  <a:prstTxWarp prst="textNoShape">
                    <a:avLst/>
                  </a:prstTxWarp>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endParaRPr lang="en-US" sz="7198" dirty="0"/>
                </a:p>
              </p:txBody>
            </p:sp>
          </p:grpSp>
        </p:grpSp>
        <p:grpSp>
          <p:nvGrpSpPr>
            <p:cNvPr id="7" name="ïslîdé">
              <a:extLst>
                <a:ext uri="{FF2B5EF4-FFF2-40B4-BE49-F238E27FC236}">
                  <a16:creationId xmlns:a16="http://schemas.microsoft.com/office/drawing/2014/main" id="{C9062EA8-F34E-455A-B546-B3E78B070B2D}"/>
                </a:ext>
              </a:extLst>
            </p:cNvPr>
            <p:cNvGrpSpPr/>
            <p:nvPr/>
          </p:nvGrpSpPr>
          <p:grpSpPr>
            <a:xfrm>
              <a:off x="6411000" y="4014000"/>
              <a:ext cx="1933578" cy="1993257"/>
              <a:chOff x="736745" y="1356666"/>
              <a:chExt cx="1933578" cy="1993257"/>
            </a:xfrm>
          </p:grpSpPr>
          <p:sp>
            <p:nvSpPr>
              <p:cNvPr id="24" name="ïṩľîdê">
                <a:extLst>
                  <a:ext uri="{FF2B5EF4-FFF2-40B4-BE49-F238E27FC236}">
                    <a16:creationId xmlns:a16="http://schemas.microsoft.com/office/drawing/2014/main" id="{14F1D6B0-BEB6-47AC-AD6F-D0DFACDEE9D7}"/>
                  </a:ext>
                </a:extLst>
              </p:cNvPr>
              <p:cNvSpPr/>
              <p:nvPr/>
            </p:nvSpPr>
            <p:spPr>
              <a:xfrm>
                <a:off x="736745" y="1416345"/>
                <a:ext cx="1933578" cy="1933578"/>
              </a:xfrm>
              <a:custGeom>
                <a:avLst/>
                <a:gdLst/>
                <a:ahLst/>
                <a:cxnLst>
                  <a:cxn ang="0">
                    <a:pos x="wd2" y="hd2"/>
                  </a:cxn>
                  <a:cxn ang="5400000">
                    <a:pos x="wd2" y="hd2"/>
                  </a:cxn>
                  <a:cxn ang="10800000">
                    <a:pos x="wd2" y="hd2"/>
                  </a:cxn>
                  <a:cxn ang="16200000">
                    <a:pos x="wd2" y="hd2"/>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path>
                </a:pathLst>
              </a:custGeom>
              <a:noFill/>
              <a:ln w="25400" cap="flat" cmpd="sng" algn="ctr">
                <a:solidFill>
                  <a:schemeClr val="accent3"/>
                </a:solidFill>
                <a:prstDash val="solid"/>
                <a:miter lim="400000"/>
                <a:headEnd type="none" w="med" len="med"/>
                <a:tailEnd type="none" w="med" len="med"/>
              </a:ln>
              <a:effectLst/>
              <a:extLst>
                <a:ext uri="{909E8E84-426E-40DD-AFC4-6F175D3DCCD1}">
                  <a14:hiddenFill xmlns:a14="http://schemas.microsoft.com/office/drawing/2010/main">
                    <a:solidFill>
                      <a:schemeClr val="bg2">
                        <a:lumMod val="100000"/>
                      </a:schemeClr>
                    </a:solidFill>
                  </a14:hiddenFill>
                </a:ext>
              </a:extLst>
            </p:spPr>
            <p:txBody>
              <a:bodyPr anchor="ctr"/>
              <a:lstStyle/>
              <a:p>
                <a:pPr algn="ctr"/>
                <a:endParaRPr/>
              </a:p>
            </p:txBody>
          </p:sp>
          <p:sp>
            <p:nvSpPr>
              <p:cNvPr id="25" name="îṣḻíḋé">
                <a:extLst>
                  <a:ext uri="{FF2B5EF4-FFF2-40B4-BE49-F238E27FC236}">
                    <a16:creationId xmlns:a16="http://schemas.microsoft.com/office/drawing/2014/main" id="{F0128008-ECF9-4D37-9EE2-55AAC346FAAE}"/>
                  </a:ext>
                </a:extLst>
              </p:cNvPr>
              <p:cNvSpPr/>
              <p:nvPr/>
            </p:nvSpPr>
            <p:spPr>
              <a:xfrm>
                <a:off x="805009" y="1493193"/>
                <a:ext cx="1797051" cy="1797051"/>
              </a:xfrm>
              <a:custGeom>
                <a:avLst/>
                <a:gdLst/>
                <a:ahLst/>
                <a:cxnLst>
                  <a:cxn ang="0">
                    <a:pos x="wd2" y="hd2"/>
                  </a:cxn>
                  <a:cxn ang="5400000">
                    <a:pos x="wd2" y="hd2"/>
                  </a:cxn>
                  <a:cxn ang="10800000">
                    <a:pos x="wd2" y="hd2"/>
                  </a:cxn>
                  <a:cxn ang="16200000">
                    <a:pos x="wd2" y="hd2"/>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path>
                </a:pathLst>
              </a:custGeom>
              <a:pattFill prst="pct5">
                <a:fgClr>
                  <a:srgbClr val="E4E6EA"/>
                </a:fgClr>
                <a:bgClr>
                  <a:srgbClr val="ADB5BF"/>
                </a:bgClr>
              </a:patt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a:solidFill>
                    <a:schemeClr val="lt1"/>
                  </a:solidFill>
                </a:endParaRPr>
              </a:p>
            </p:txBody>
          </p:sp>
          <p:grpSp>
            <p:nvGrpSpPr>
              <p:cNvPr id="26" name="î$ľïdè">
                <a:extLst>
                  <a:ext uri="{FF2B5EF4-FFF2-40B4-BE49-F238E27FC236}">
                    <a16:creationId xmlns:a16="http://schemas.microsoft.com/office/drawing/2014/main" id="{57453E1A-558F-4157-BD14-E2AEDA2EC620}"/>
                  </a:ext>
                </a:extLst>
              </p:cNvPr>
              <p:cNvGrpSpPr/>
              <p:nvPr/>
            </p:nvGrpSpPr>
            <p:grpSpPr>
              <a:xfrm>
                <a:off x="1936034" y="1356666"/>
                <a:ext cx="675000" cy="675005"/>
                <a:chOff x="7209746" y="4153276"/>
                <a:chExt cx="675000" cy="675005"/>
              </a:xfrm>
            </p:grpSpPr>
            <p:sp>
              <p:nvSpPr>
                <p:cNvPr id="27" name="íśḷîdè">
                  <a:extLst>
                    <a:ext uri="{FF2B5EF4-FFF2-40B4-BE49-F238E27FC236}">
                      <a16:creationId xmlns:a16="http://schemas.microsoft.com/office/drawing/2014/main" id="{81DE6EC0-1C8D-487B-9193-7A319EB9C4FB}"/>
                    </a:ext>
                  </a:extLst>
                </p:cNvPr>
                <p:cNvSpPr/>
                <p:nvPr/>
              </p:nvSpPr>
              <p:spPr>
                <a:xfrm>
                  <a:off x="7209746" y="4153276"/>
                  <a:ext cx="675000" cy="675005"/>
                </a:xfrm>
                <a:prstGeom prst="ellipse">
                  <a:avLst/>
                </a:prstGeom>
                <a:solidFill>
                  <a:schemeClr val="accent3"/>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377" rtl="0" eaLnBrk="1" latinLnBrk="0" hangingPunct="1">
                    <a:defRPr sz="1800" kern="1200">
                      <a:solidFill>
                        <a:schemeClr val="lt1"/>
                      </a:solidFill>
                    </a:defRPr>
                  </a:lvl1pPr>
                  <a:lvl2pPr marL="457189" algn="l" defTabSz="914377" rtl="0" eaLnBrk="1" latinLnBrk="0" hangingPunct="1">
                    <a:defRPr sz="1800" kern="1200">
                      <a:solidFill>
                        <a:schemeClr val="lt1"/>
                      </a:solidFill>
                    </a:defRPr>
                  </a:lvl2pPr>
                  <a:lvl3pPr marL="914377" algn="l" defTabSz="914377" rtl="0" eaLnBrk="1" latinLnBrk="0" hangingPunct="1">
                    <a:defRPr sz="1800" kern="1200">
                      <a:solidFill>
                        <a:schemeClr val="lt1"/>
                      </a:solidFill>
                    </a:defRPr>
                  </a:lvl3pPr>
                  <a:lvl4pPr marL="1371566" algn="l" defTabSz="914377" rtl="0" eaLnBrk="1" latinLnBrk="0" hangingPunct="1">
                    <a:defRPr sz="1800" kern="1200">
                      <a:solidFill>
                        <a:schemeClr val="lt1"/>
                      </a:solidFill>
                    </a:defRPr>
                  </a:lvl4pPr>
                  <a:lvl5pPr marL="1828754" algn="l" defTabSz="914377" rtl="0" eaLnBrk="1" latinLnBrk="0" hangingPunct="1">
                    <a:defRPr sz="1800" kern="1200">
                      <a:solidFill>
                        <a:schemeClr val="lt1"/>
                      </a:solidFill>
                    </a:defRPr>
                  </a:lvl5pPr>
                  <a:lvl6pPr marL="2285943" algn="l" defTabSz="914377" rtl="0" eaLnBrk="1" latinLnBrk="0" hangingPunct="1">
                    <a:defRPr sz="1800" kern="1200">
                      <a:solidFill>
                        <a:schemeClr val="lt1"/>
                      </a:solidFill>
                    </a:defRPr>
                  </a:lvl6pPr>
                  <a:lvl7pPr marL="2743131" algn="l" defTabSz="914377" rtl="0" eaLnBrk="1" latinLnBrk="0" hangingPunct="1">
                    <a:defRPr sz="1800" kern="1200">
                      <a:solidFill>
                        <a:schemeClr val="lt1"/>
                      </a:solidFill>
                    </a:defRPr>
                  </a:lvl7pPr>
                  <a:lvl8pPr marL="3200320" algn="l" defTabSz="914377" rtl="0" eaLnBrk="1" latinLnBrk="0" hangingPunct="1">
                    <a:defRPr sz="1800" kern="1200">
                      <a:solidFill>
                        <a:schemeClr val="lt1"/>
                      </a:solidFill>
                    </a:defRPr>
                  </a:lvl8pPr>
                  <a:lvl9pPr marL="3657509" algn="l" defTabSz="914377" rtl="0" eaLnBrk="1" latinLnBrk="0" hangingPunct="1">
                    <a:defRPr sz="1800" kern="1200">
                      <a:solidFill>
                        <a:schemeClr val="lt1"/>
                      </a:solidFill>
                    </a:defRPr>
                  </a:lvl9pPr>
                </a:lstStyle>
                <a:p>
                  <a:pPr algn="ctr"/>
                  <a:endParaRPr lang="zh-CN" altLang="en-US" dirty="0"/>
                </a:p>
              </p:txBody>
            </p:sp>
            <p:sp>
              <p:nvSpPr>
                <p:cNvPr id="28" name="íṣļiďê">
                  <a:extLst>
                    <a:ext uri="{FF2B5EF4-FFF2-40B4-BE49-F238E27FC236}">
                      <a16:creationId xmlns:a16="http://schemas.microsoft.com/office/drawing/2014/main" id="{BB0D259D-1B09-41A2-BE8D-1FAE83D67192}"/>
                    </a:ext>
                  </a:extLst>
                </p:cNvPr>
                <p:cNvSpPr/>
                <p:nvPr/>
              </p:nvSpPr>
              <p:spPr bwMode="auto">
                <a:xfrm>
                  <a:off x="7375153" y="4322040"/>
                  <a:ext cx="344185" cy="337474"/>
                </a:xfrm>
                <a:custGeom>
                  <a:avLst/>
                  <a:gdLst>
                    <a:gd name="T0" fmla="*/ 1312 w 1990"/>
                    <a:gd name="T1" fmla="*/ 1552 h 1954"/>
                    <a:gd name="T2" fmla="*/ 291 w 1990"/>
                    <a:gd name="T3" fmla="*/ 1746 h 1954"/>
                    <a:gd name="T4" fmla="*/ 0 w 1990"/>
                    <a:gd name="T5" fmla="*/ 540 h 1954"/>
                    <a:gd name="T6" fmla="*/ 515 w 1990"/>
                    <a:gd name="T7" fmla="*/ 249 h 1954"/>
                    <a:gd name="T8" fmla="*/ 1205 w 1990"/>
                    <a:gd name="T9" fmla="*/ 0 h 1954"/>
                    <a:gd name="T10" fmla="*/ 1496 w 1990"/>
                    <a:gd name="T11" fmla="*/ 489 h 1954"/>
                    <a:gd name="T12" fmla="*/ 1413 w 1990"/>
                    <a:gd name="T13" fmla="*/ 291 h 1954"/>
                    <a:gd name="T14" fmla="*/ 802 w 1990"/>
                    <a:gd name="T15" fmla="*/ 83 h 1954"/>
                    <a:gd name="T16" fmla="*/ 1039 w 1990"/>
                    <a:gd name="T17" fmla="*/ 249 h 1954"/>
                    <a:gd name="T18" fmla="*/ 1243 w 1990"/>
                    <a:gd name="T19" fmla="*/ 499 h 1954"/>
                    <a:gd name="T20" fmla="*/ 291 w 1990"/>
                    <a:gd name="T21" fmla="*/ 333 h 1954"/>
                    <a:gd name="T22" fmla="*/ 83 w 1990"/>
                    <a:gd name="T23" fmla="*/ 1455 h 1954"/>
                    <a:gd name="T24" fmla="*/ 1039 w 1990"/>
                    <a:gd name="T25" fmla="*/ 1663 h 1954"/>
                    <a:gd name="T26" fmla="*/ 1641 w 1990"/>
                    <a:gd name="T27" fmla="*/ 1453 h 1954"/>
                    <a:gd name="T28" fmla="*/ 1138 w 1990"/>
                    <a:gd name="T29" fmla="*/ 583 h 1954"/>
                    <a:gd name="T30" fmla="*/ 1641 w 1990"/>
                    <a:gd name="T31" fmla="*/ 1453 h 1954"/>
                    <a:gd name="T32" fmla="*/ 1752 w 1990"/>
                    <a:gd name="T33" fmla="*/ 809 h 1954"/>
                    <a:gd name="T34" fmla="*/ 1026 w 1990"/>
                    <a:gd name="T35" fmla="*/ 1228 h 1954"/>
                    <a:gd name="T36" fmla="*/ 1767 w 1990"/>
                    <a:gd name="T37" fmla="*/ 1422 h 1954"/>
                    <a:gd name="T38" fmla="*/ 1717 w 1990"/>
                    <a:gd name="T39" fmla="*/ 1835 h 1954"/>
                    <a:gd name="T40" fmla="*/ 1767 w 1990"/>
                    <a:gd name="T41" fmla="*/ 1422 h 1954"/>
                    <a:gd name="T42" fmla="*/ 1739 w 1990"/>
                    <a:gd name="T43" fmla="*/ 1874 h 1954"/>
                    <a:gd name="T44" fmla="*/ 1956 w 1990"/>
                    <a:gd name="T45" fmla="*/ 1749 h 1954"/>
                    <a:gd name="T46" fmla="*/ 249 w 1990"/>
                    <a:gd name="T47" fmla="*/ 551 h 1954"/>
                    <a:gd name="T48" fmla="*/ 803 w 1990"/>
                    <a:gd name="T49" fmla="*/ 613 h 1954"/>
                    <a:gd name="T50" fmla="*/ 675 w 1990"/>
                    <a:gd name="T51" fmla="*/ 828 h 1954"/>
                    <a:gd name="T52" fmla="*/ 249 w 1990"/>
                    <a:gd name="T53" fmla="*/ 890 h 1954"/>
                    <a:gd name="T54" fmla="*/ 675 w 1990"/>
                    <a:gd name="T55" fmla="*/ 828 h 1954"/>
                    <a:gd name="T56" fmla="*/ 675 w 1990"/>
                    <a:gd name="T57" fmla="*/ 1167 h 1954"/>
                    <a:gd name="T58" fmla="*/ 249 w 1990"/>
                    <a:gd name="T59" fmla="*/ 1105 h 1954"/>
                    <a:gd name="T60" fmla="*/ 249 w 1990"/>
                    <a:gd name="T61" fmla="*/ 1444 h 1954"/>
                    <a:gd name="T62" fmla="*/ 803 w 1990"/>
                    <a:gd name="T63" fmla="*/ 1382 h 1954"/>
                    <a:gd name="T64" fmla="*/ 249 w 1990"/>
                    <a:gd name="T65" fmla="*/ 1444 h 1954"/>
                    <a:gd name="T66" fmla="*/ 1179 w 1990"/>
                    <a:gd name="T67" fmla="*/ 961 h 1954"/>
                    <a:gd name="T68" fmla="*/ 1300 w 1990"/>
                    <a:gd name="T69" fmla="*/ 1219 h 1954"/>
                    <a:gd name="T70" fmla="*/ 1604 w 1990"/>
                    <a:gd name="T71" fmla="*/ 858 h 19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990" h="1954">
                      <a:moveTo>
                        <a:pt x="1231" y="1534"/>
                      </a:moveTo>
                      <a:cubicBezTo>
                        <a:pt x="1258" y="1542"/>
                        <a:pt x="1285" y="1548"/>
                        <a:pt x="1312" y="1552"/>
                      </a:cubicBezTo>
                      <a:cubicBezTo>
                        <a:pt x="1272" y="1665"/>
                        <a:pt x="1165" y="1746"/>
                        <a:pt x="1039" y="1746"/>
                      </a:cubicBezTo>
                      <a:lnTo>
                        <a:pt x="291" y="1746"/>
                      </a:lnTo>
                      <a:cubicBezTo>
                        <a:pt x="131" y="1746"/>
                        <a:pt x="0" y="1615"/>
                        <a:pt x="0" y="1455"/>
                      </a:cubicBezTo>
                      <a:lnTo>
                        <a:pt x="0" y="540"/>
                      </a:lnTo>
                      <a:cubicBezTo>
                        <a:pt x="0" y="380"/>
                        <a:pt x="131" y="249"/>
                        <a:pt x="291" y="249"/>
                      </a:cubicBezTo>
                      <a:lnTo>
                        <a:pt x="515" y="249"/>
                      </a:lnTo>
                      <a:cubicBezTo>
                        <a:pt x="535" y="109"/>
                        <a:pt x="656" y="0"/>
                        <a:pt x="802" y="0"/>
                      </a:cubicBezTo>
                      <a:lnTo>
                        <a:pt x="1205" y="0"/>
                      </a:lnTo>
                      <a:cubicBezTo>
                        <a:pt x="1366" y="0"/>
                        <a:pt x="1496" y="131"/>
                        <a:pt x="1496" y="291"/>
                      </a:cubicBezTo>
                      <a:lnTo>
                        <a:pt x="1496" y="489"/>
                      </a:lnTo>
                      <a:cubicBezTo>
                        <a:pt x="1469" y="484"/>
                        <a:pt x="1441" y="480"/>
                        <a:pt x="1413" y="479"/>
                      </a:cubicBezTo>
                      <a:lnTo>
                        <a:pt x="1413" y="291"/>
                      </a:lnTo>
                      <a:cubicBezTo>
                        <a:pt x="1413" y="176"/>
                        <a:pt x="1320" y="83"/>
                        <a:pt x="1205" y="83"/>
                      </a:cubicBezTo>
                      <a:lnTo>
                        <a:pt x="802" y="83"/>
                      </a:lnTo>
                      <a:cubicBezTo>
                        <a:pt x="701" y="83"/>
                        <a:pt x="617" y="155"/>
                        <a:pt x="598" y="249"/>
                      </a:cubicBezTo>
                      <a:lnTo>
                        <a:pt x="1039" y="249"/>
                      </a:lnTo>
                      <a:cubicBezTo>
                        <a:pt x="1180" y="249"/>
                        <a:pt x="1297" y="349"/>
                        <a:pt x="1324" y="482"/>
                      </a:cubicBezTo>
                      <a:cubicBezTo>
                        <a:pt x="1297" y="485"/>
                        <a:pt x="1270" y="491"/>
                        <a:pt x="1243" y="499"/>
                      </a:cubicBezTo>
                      <a:cubicBezTo>
                        <a:pt x="1224" y="404"/>
                        <a:pt x="1140" y="333"/>
                        <a:pt x="1039" y="333"/>
                      </a:cubicBezTo>
                      <a:lnTo>
                        <a:pt x="291" y="333"/>
                      </a:lnTo>
                      <a:cubicBezTo>
                        <a:pt x="177" y="333"/>
                        <a:pt x="83" y="426"/>
                        <a:pt x="83" y="540"/>
                      </a:cubicBezTo>
                      <a:lnTo>
                        <a:pt x="83" y="1455"/>
                      </a:lnTo>
                      <a:cubicBezTo>
                        <a:pt x="83" y="1569"/>
                        <a:pt x="177" y="1663"/>
                        <a:pt x="291" y="1663"/>
                      </a:cubicBezTo>
                      <a:lnTo>
                        <a:pt x="1039" y="1663"/>
                      </a:lnTo>
                      <a:cubicBezTo>
                        <a:pt x="1126" y="1663"/>
                        <a:pt x="1200" y="1609"/>
                        <a:pt x="1231" y="1534"/>
                      </a:cubicBezTo>
                      <a:close/>
                      <a:moveTo>
                        <a:pt x="1641" y="1453"/>
                      </a:moveTo>
                      <a:cubicBezTo>
                        <a:pt x="1401" y="1591"/>
                        <a:pt x="1093" y="1509"/>
                        <a:pt x="955" y="1269"/>
                      </a:cubicBezTo>
                      <a:cubicBezTo>
                        <a:pt x="816" y="1029"/>
                        <a:pt x="899" y="722"/>
                        <a:pt x="1138" y="583"/>
                      </a:cubicBezTo>
                      <a:cubicBezTo>
                        <a:pt x="1378" y="445"/>
                        <a:pt x="1686" y="527"/>
                        <a:pt x="1824" y="767"/>
                      </a:cubicBezTo>
                      <a:cubicBezTo>
                        <a:pt x="1963" y="1007"/>
                        <a:pt x="1880" y="1314"/>
                        <a:pt x="1641" y="1453"/>
                      </a:cubicBezTo>
                      <a:close/>
                      <a:moveTo>
                        <a:pt x="1599" y="1381"/>
                      </a:moveTo>
                      <a:cubicBezTo>
                        <a:pt x="1799" y="1266"/>
                        <a:pt x="1868" y="1009"/>
                        <a:pt x="1752" y="809"/>
                      </a:cubicBezTo>
                      <a:cubicBezTo>
                        <a:pt x="1637" y="608"/>
                        <a:pt x="1380" y="539"/>
                        <a:pt x="1180" y="655"/>
                      </a:cubicBezTo>
                      <a:cubicBezTo>
                        <a:pt x="980" y="771"/>
                        <a:pt x="911" y="1027"/>
                        <a:pt x="1026" y="1228"/>
                      </a:cubicBezTo>
                      <a:cubicBezTo>
                        <a:pt x="1142" y="1428"/>
                        <a:pt x="1399" y="1497"/>
                        <a:pt x="1599" y="1381"/>
                      </a:cubicBezTo>
                      <a:close/>
                      <a:moveTo>
                        <a:pt x="1767" y="1422"/>
                      </a:moveTo>
                      <a:lnTo>
                        <a:pt x="1551" y="1547"/>
                      </a:lnTo>
                      <a:lnTo>
                        <a:pt x="1717" y="1835"/>
                      </a:lnTo>
                      <a:lnTo>
                        <a:pt x="1933" y="1710"/>
                      </a:lnTo>
                      <a:lnTo>
                        <a:pt x="1767" y="1422"/>
                      </a:lnTo>
                      <a:close/>
                      <a:moveTo>
                        <a:pt x="1956" y="1749"/>
                      </a:moveTo>
                      <a:lnTo>
                        <a:pt x="1739" y="1874"/>
                      </a:lnTo>
                      <a:cubicBezTo>
                        <a:pt x="1774" y="1934"/>
                        <a:pt x="1850" y="1954"/>
                        <a:pt x="1910" y="1919"/>
                      </a:cubicBezTo>
                      <a:cubicBezTo>
                        <a:pt x="1969" y="1885"/>
                        <a:pt x="1990" y="1809"/>
                        <a:pt x="1956" y="1749"/>
                      </a:cubicBezTo>
                      <a:close/>
                      <a:moveTo>
                        <a:pt x="803" y="551"/>
                      </a:moveTo>
                      <a:lnTo>
                        <a:pt x="249" y="551"/>
                      </a:lnTo>
                      <a:lnTo>
                        <a:pt x="249" y="613"/>
                      </a:lnTo>
                      <a:lnTo>
                        <a:pt x="803" y="613"/>
                      </a:lnTo>
                      <a:lnTo>
                        <a:pt x="803" y="551"/>
                      </a:lnTo>
                      <a:close/>
                      <a:moveTo>
                        <a:pt x="675" y="828"/>
                      </a:moveTo>
                      <a:lnTo>
                        <a:pt x="249" y="828"/>
                      </a:lnTo>
                      <a:lnTo>
                        <a:pt x="249" y="890"/>
                      </a:lnTo>
                      <a:lnTo>
                        <a:pt x="675" y="890"/>
                      </a:lnTo>
                      <a:lnTo>
                        <a:pt x="675" y="828"/>
                      </a:lnTo>
                      <a:close/>
                      <a:moveTo>
                        <a:pt x="249" y="1167"/>
                      </a:moveTo>
                      <a:lnTo>
                        <a:pt x="675" y="1167"/>
                      </a:lnTo>
                      <a:lnTo>
                        <a:pt x="675" y="1105"/>
                      </a:lnTo>
                      <a:lnTo>
                        <a:pt x="249" y="1105"/>
                      </a:lnTo>
                      <a:lnTo>
                        <a:pt x="249" y="1167"/>
                      </a:lnTo>
                      <a:close/>
                      <a:moveTo>
                        <a:pt x="249" y="1444"/>
                      </a:moveTo>
                      <a:lnTo>
                        <a:pt x="803" y="1444"/>
                      </a:lnTo>
                      <a:lnTo>
                        <a:pt x="803" y="1382"/>
                      </a:lnTo>
                      <a:lnTo>
                        <a:pt x="249" y="1382"/>
                      </a:lnTo>
                      <a:lnTo>
                        <a:pt x="249" y="1444"/>
                      </a:lnTo>
                      <a:close/>
                      <a:moveTo>
                        <a:pt x="1308" y="1105"/>
                      </a:moveTo>
                      <a:lnTo>
                        <a:pt x="1179" y="961"/>
                      </a:lnTo>
                      <a:lnTo>
                        <a:pt x="1118" y="1017"/>
                      </a:lnTo>
                      <a:lnTo>
                        <a:pt x="1300" y="1219"/>
                      </a:lnTo>
                      <a:lnTo>
                        <a:pt x="1657" y="922"/>
                      </a:lnTo>
                      <a:lnTo>
                        <a:pt x="1604" y="858"/>
                      </a:lnTo>
                      <a:lnTo>
                        <a:pt x="1308" y="1105"/>
                      </a:lnTo>
                      <a:close/>
                    </a:path>
                  </a:pathLst>
                </a:custGeom>
                <a:solidFill>
                  <a:schemeClr val="bg1"/>
                </a:solidFill>
                <a:ln>
                  <a:noFill/>
                </a:ln>
              </p:spPr>
              <p:txBody>
                <a:bodyPr vert="horz" wrap="square" lIns="182832" tIns="91416" rIns="182832" bIns="91416" numCol="1" anchor="t" anchorCtr="0" compatLnSpc="1">
                  <a:prstTxWarp prst="textNoShape">
                    <a:avLst/>
                  </a:prstTxWarp>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endParaRPr lang="en-US" sz="7198" dirty="0"/>
                </a:p>
              </p:txBody>
            </p:sp>
          </p:grpSp>
        </p:grpSp>
        <p:grpSp>
          <p:nvGrpSpPr>
            <p:cNvPr id="8" name="ïṣḻïḋe">
              <a:extLst>
                <a:ext uri="{FF2B5EF4-FFF2-40B4-BE49-F238E27FC236}">
                  <a16:creationId xmlns:a16="http://schemas.microsoft.com/office/drawing/2014/main" id="{6E31D0E6-C199-4B84-9342-634A7E10590C}"/>
                </a:ext>
              </a:extLst>
            </p:cNvPr>
            <p:cNvGrpSpPr/>
            <p:nvPr/>
          </p:nvGrpSpPr>
          <p:grpSpPr>
            <a:xfrm>
              <a:off x="1803547" y="2607313"/>
              <a:ext cx="3911041" cy="2074378"/>
              <a:chOff x="1803547" y="1275545"/>
              <a:chExt cx="3911041" cy="2074378"/>
            </a:xfrm>
          </p:grpSpPr>
          <p:grpSp>
            <p:nvGrpSpPr>
              <p:cNvPr id="15" name="iś1iḋé">
                <a:extLst>
                  <a:ext uri="{FF2B5EF4-FFF2-40B4-BE49-F238E27FC236}">
                    <a16:creationId xmlns:a16="http://schemas.microsoft.com/office/drawing/2014/main" id="{7C912425-2202-4128-954B-C1246E8638D2}"/>
                  </a:ext>
                </a:extLst>
              </p:cNvPr>
              <p:cNvGrpSpPr/>
              <p:nvPr/>
            </p:nvGrpSpPr>
            <p:grpSpPr>
              <a:xfrm>
                <a:off x="1803547" y="1356666"/>
                <a:ext cx="1933578" cy="1993257"/>
                <a:chOff x="1803547" y="1356666"/>
                <a:chExt cx="1933578" cy="1993257"/>
              </a:xfrm>
            </p:grpSpPr>
            <p:sp>
              <p:nvSpPr>
                <p:cNvPr id="19" name="ïšļíḋê">
                  <a:extLst>
                    <a:ext uri="{FF2B5EF4-FFF2-40B4-BE49-F238E27FC236}">
                      <a16:creationId xmlns:a16="http://schemas.microsoft.com/office/drawing/2014/main" id="{76DA8A3A-2BED-44F8-A45D-535C32D782BE}"/>
                    </a:ext>
                  </a:extLst>
                </p:cNvPr>
                <p:cNvSpPr/>
                <p:nvPr/>
              </p:nvSpPr>
              <p:spPr>
                <a:xfrm>
                  <a:off x="1803547" y="1416345"/>
                  <a:ext cx="1933578" cy="1933578"/>
                </a:xfrm>
                <a:custGeom>
                  <a:avLst/>
                  <a:gdLst/>
                  <a:ahLst/>
                  <a:cxnLst>
                    <a:cxn ang="0">
                      <a:pos x="wd2" y="hd2"/>
                    </a:cxn>
                    <a:cxn ang="5400000">
                      <a:pos x="wd2" y="hd2"/>
                    </a:cxn>
                    <a:cxn ang="10800000">
                      <a:pos x="wd2" y="hd2"/>
                    </a:cxn>
                    <a:cxn ang="16200000">
                      <a:pos x="wd2" y="hd2"/>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path>
                  </a:pathLst>
                </a:custGeom>
                <a:noFill/>
                <a:ln w="25400" cap="flat" cmpd="sng" algn="ctr">
                  <a:solidFill>
                    <a:schemeClr val="accent1"/>
                  </a:solidFill>
                  <a:prstDash val="solid"/>
                  <a:miter lim="400000"/>
                  <a:headEnd type="none" w="med" len="med"/>
                  <a:tailEnd type="none" w="med" len="med"/>
                </a:ln>
                <a:effectLst/>
                <a:extLst>
                  <a:ext uri="{909E8E84-426E-40DD-AFC4-6F175D3DCCD1}">
                    <a14:hiddenFill xmlns:a14="http://schemas.microsoft.com/office/drawing/2010/main">
                      <a:solidFill>
                        <a:schemeClr val="bg2">
                          <a:lumMod val="100000"/>
                        </a:schemeClr>
                      </a:solidFill>
                    </a14:hiddenFill>
                  </a:ext>
                </a:extLst>
              </p:spPr>
              <p:txBody>
                <a:bodyPr anchor="ctr"/>
                <a:lstStyle/>
                <a:p>
                  <a:pPr algn="ctr"/>
                  <a:endParaRPr/>
                </a:p>
              </p:txBody>
            </p:sp>
            <p:sp>
              <p:nvSpPr>
                <p:cNvPr id="20" name="íślíḋé">
                  <a:extLst>
                    <a:ext uri="{FF2B5EF4-FFF2-40B4-BE49-F238E27FC236}">
                      <a16:creationId xmlns:a16="http://schemas.microsoft.com/office/drawing/2014/main" id="{CFC29A73-14DF-4528-B725-A07FC2354D01}"/>
                    </a:ext>
                  </a:extLst>
                </p:cNvPr>
                <p:cNvSpPr/>
                <p:nvPr/>
              </p:nvSpPr>
              <p:spPr>
                <a:xfrm>
                  <a:off x="1871811" y="1493193"/>
                  <a:ext cx="1797051" cy="1797051"/>
                </a:xfrm>
                <a:custGeom>
                  <a:avLst/>
                  <a:gdLst/>
                  <a:ahLst/>
                  <a:cxnLst>
                    <a:cxn ang="0">
                      <a:pos x="wd2" y="hd2"/>
                    </a:cxn>
                    <a:cxn ang="5400000">
                      <a:pos x="wd2" y="hd2"/>
                    </a:cxn>
                    <a:cxn ang="10800000">
                      <a:pos x="wd2" y="hd2"/>
                    </a:cxn>
                    <a:cxn ang="16200000">
                      <a:pos x="wd2" y="hd2"/>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path>
                  </a:pathLst>
                </a:custGeom>
                <a:pattFill prst="pct5">
                  <a:fgClr>
                    <a:srgbClr val="E4E6EA"/>
                  </a:fgClr>
                  <a:bgClr>
                    <a:srgbClr val="ADB5BF"/>
                  </a:bgClr>
                </a:patt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a:solidFill>
                      <a:schemeClr val="lt1"/>
                    </a:solidFill>
                  </a:endParaRPr>
                </a:p>
              </p:txBody>
            </p:sp>
            <p:grpSp>
              <p:nvGrpSpPr>
                <p:cNvPr id="21" name="ïSḷîďê">
                  <a:extLst>
                    <a:ext uri="{FF2B5EF4-FFF2-40B4-BE49-F238E27FC236}">
                      <a16:creationId xmlns:a16="http://schemas.microsoft.com/office/drawing/2014/main" id="{E0960696-D7A4-4754-BE13-3420EF56387A}"/>
                    </a:ext>
                  </a:extLst>
                </p:cNvPr>
                <p:cNvGrpSpPr/>
                <p:nvPr/>
              </p:nvGrpSpPr>
              <p:grpSpPr>
                <a:xfrm>
                  <a:off x="3002836" y="1356666"/>
                  <a:ext cx="675000" cy="675005"/>
                  <a:chOff x="8276548" y="4153276"/>
                  <a:chExt cx="675000" cy="675005"/>
                </a:xfrm>
              </p:grpSpPr>
              <p:sp>
                <p:nvSpPr>
                  <p:cNvPr id="22" name="iṧļîḍè">
                    <a:extLst>
                      <a:ext uri="{FF2B5EF4-FFF2-40B4-BE49-F238E27FC236}">
                        <a16:creationId xmlns:a16="http://schemas.microsoft.com/office/drawing/2014/main" id="{8429431F-4E02-49EB-B0DE-8FFF733AEF04}"/>
                      </a:ext>
                    </a:extLst>
                  </p:cNvPr>
                  <p:cNvSpPr/>
                  <p:nvPr/>
                </p:nvSpPr>
                <p:spPr>
                  <a:xfrm>
                    <a:off x="8276548" y="4153276"/>
                    <a:ext cx="675000" cy="675005"/>
                  </a:xfrm>
                  <a:prstGeom prst="ellipse">
                    <a:avLst/>
                  </a:prstGeom>
                  <a:solidFill>
                    <a:schemeClr val="accent1"/>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377" rtl="0" eaLnBrk="1" latinLnBrk="0" hangingPunct="1">
                      <a:defRPr sz="1800" kern="1200">
                        <a:solidFill>
                          <a:schemeClr val="lt1"/>
                        </a:solidFill>
                      </a:defRPr>
                    </a:lvl1pPr>
                    <a:lvl2pPr marL="457189" algn="l" defTabSz="914377" rtl="0" eaLnBrk="1" latinLnBrk="0" hangingPunct="1">
                      <a:defRPr sz="1800" kern="1200">
                        <a:solidFill>
                          <a:schemeClr val="lt1"/>
                        </a:solidFill>
                      </a:defRPr>
                    </a:lvl2pPr>
                    <a:lvl3pPr marL="914377" algn="l" defTabSz="914377" rtl="0" eaLnBrk="1" latinLnBrk="0" hangingPunct="1">
                      <a:defRPr sz="1800" kern="1200">
                        <a:solidFill>
                          <a:schemeClr val="lt1"/>
                        </a:solidFill>
                      </a:defRPr>
                    </a:lvl3pPr>
                    <a:lvl4pPr marL="1371566" algn="l" defTabSz="914377" rtl="0" eaLnBrk="1" latinLnBrk="0" hangingPunct="1">
                      <a:defRPr sz="1800" kern="1200">
                        <a:solidFill>
                          <a:schemeClr val="lt1"/>
                        </a:solidFill>
                      </a:defRPr>
                    </a:lvl4pPr>
                    <a:lvl5pPr marL="1828754" algn="l" defTabSz="914377" rtl="0" eaLnBrk="1" latinLnBrk="0" hangingPunct="1">
                      <a:defRPr sz="1800" kern="1200">
                        <a:solidFill>
                          <a:schemeClr val="lt1"/>
                        </a:solidFill>
                      </a:defRPr>
                    </a:lvl5pPr>
                    <a:lvl6pPr marL="2285943" algn="l" defTabSz="914377" rtl="0" eaLnBrk="1" latinLnBrk="0" hangingPunct="1">
                      <a:defRPr sz="1800" kern="1200">
                        <a:solidFill>
                          <a:schemeClr val="lt1"/>
                        </a:solidFill>
                      </a:defRPr>
                    </a:lvl6pPr>
                    <a:lvl7pPr marL="2743131" algn="l" defTabSz="914377" rtl="0" eaLnBrk="1" latinLnBrk="0" hangingPunct="1">
                      <a:defRPr sz="1800" kern="1200">
                        <a:solidFill>
                          <a:schemeClr val="lt1"/>
                        </a:solidFill>
                      </a:defRPr>
                    </a:lvl7pPr>
                    <a:lvl8pPr marL="3200320" algn="l" defTabSz="914377" rtl="0" eaLnBrk="1" latinLnBrk="0" hangingPunct="1">
                      <a:defRPr sz="1800" kern="1200">
                        <a:solidFill>
                          <a:schemeClr val="lt1"/>
                        </a:solidFill>
                      </a:defRPr>
                    </a:lvl8pPr>
                    <a:lvl9pPr marL="3657509" algn="l" defTabSz="914377" rtl="0" eaLnBrk="1" latinLnBrk="0" hangingPunct="1">
                      <a:defRPr sz="1800" kern="1200">
                        <a:solidFill>
                          <a:schemeClr val="lt1"/>
                        </a:solidFill>
                      </a:defRPr>
                    </a:lvl9pPr>
                  </a:lstStyle>
                  <a:p>
                    <a:pPr algn="ctr"/>
                    <a:endParaRPr lang="zh-CN" altLang="en-US" dirty="0"/>
                  </a:p>
                </p:txBody>
              </p:sp>
              <p:sp>
                <p:nvSpPr>
                  <p:cNvPr id="23" name="i$ļíḑé">
                    <a:extLst>
                      <a:ext uri="{FF2B5EF4-FFF2-40B4-BE49-F238E27FC236}">
                        <a16:creationId xmlns:a16="http://schemas.microsoft.com/office/drawing/2014/main" id="{DD835C9E-334B-47B4-BBBB-098261B1CEE8}"/>
                      </a:ext>
                    </a:extLst>
                  </p:cNvPr>
                  <p:cNvSpPr/>
                  <p:nvPr/>
                </p:nvSpPr>
                <p:spPr bwMode="auto">
                  <a:xfrm>
                    <a:off x="8453101" y="4322041"/>
                    <a:ext cx="344185" cy="337474"/>
                  </a:xfrm>
                  <a:custGeom>
                    <a:avLst/>
                    <a:gdLst>
                      <a:gd name="T0" fmla="*/ 1312 w 1990"/>
                      <a:gd name="T1" fmla="*/ 1552 h 1954"/>
                      <a:gd name="T2" fmla="*/ 291 w 1990"/>
                      <a:gd name="T3" fmla="*/ 1746 h 1954"/>
                      <a:gd name="T4" fmla="*/ 0 w 1990"/>
                      <a:gd name="T5" fmla="*/ 540 h 1954"/>
                      <a:gd name="T6" fmla="*/ 515 w 1990"/>
                      <a:gd name="T7" fmla="*/ 249 h 1954"/>
                      <a:gd name="T8" fmla="*/ 1205 w 1990"/>
                      <a:gd name="T9" fmla="*/ 0 h 1954"/>
                      <a:gd name="T10" fmla="*/ 1496 w 1990"/>
                      <a:gd name="T11" fmla="*/ 489 h 1954"/>
                      <a:gd name="T12" fmla="*/ 1413 w 1990"/>
                      <a:gd name="T13" fmla="*/ 291 h 1954"/>
                      <a:gd name="T14" fmla="*/ 802 w 1990"/>
                      <a:gd name="T15" fmla="*/ 83 h 1954"/>
                      <a:gd name="T16" fmla="*/ 1039 w 1990"/>
                      <a:gd name="T17" fmla="*/ 249 h 1954"/>
                      <a:gd name="T18" fmla="*/ 1243 w 1990"/>
                      <a:gd name="T19" fmla="*/ 499 h 1954"/>
                      <a:gd name="T20" fmla="*/ 291 w 1990"/>
                      <a:gd name="T21" fmla="*/ 333 h 1954"/>
                      <a:gd name="T22" fmla="*/ 83 w 1990"/>
                      <a:gd name="T23" fmla="*/ 1455 h 1954"/>
                      <a:gd name="T24" fmla="*/ 1039 w 1990"/>
                      <a:gd name="T25" fmla="*/ 1663 h 1954"/>
                      <a:gd name="T26" fmla="*/ 1641 w 1990"/>
                      <a:gd name="T27" fmla="*/ 1453 h 1954"/>
                      <a:gd name="T28" fmla="*/ 1138 w 1990"/>
                      <a:gd name="T29" fmla="*/ 583 h 1954"/>
                      <a:gd name="T30" fmla="*/ 1641 w 1990"/>
                      <a:gd name="T31" fmla="*/ 1453 h 1954"/>
                      <a:gd name="T32" fmla="*/ 1752 w 1990"/>
                      <a:gd name="T33" fmla="*/ 809 h 1954"/>
                      <a:gd name="T34" fmla="*/ 1026 w 1990"/>
                      <a:gd name="T35" fmla="*/ 1228 h 1954"/>
                      <a:gd name="T36" fmla="*/ 1767 w 1990"/>
                      <a:gd name="T37" fmla="*/ 1422 h 1954"/>
                      <a:gd name="T38" fmla="*/ 1717 w 1990"/>
                      <a:gd name="T39" fmla="*/ 1835 h 1954"/>
                      <a:gd name="T40" fmla="*/ 1767 w 1990"/>
                      <a:gd name="T41" fmla="*/ 1422 h 1954"/>
                      <a:gd name="T42" fmla="*/ 1739 w 1990"/>
                      <a:gd name="T43" fmla="*/ 1874 h 1954"/>
                      <a:gd name="T44" fmla="*/ 1956 w 1990"/>
                      <a:gd name="T45" fmla="*/ 1749 h 1954"/>
                      <a:gd name="T46" fmla="*/ 249 w 1990"/>
                      <a:gd name="T47" fmla="*/ 551 h 1954"/>
                      <a:gd name="T48" fmla="*/ 803 w 1990"/>
                      <a:gd name="T49" fmla="*/ 613 h 1954"/>
                      <a:gd name="T50" fmla="*/ 675 w 1990"/>
                      <a:gd name="T51" fmla="*/ 828 h 1954"/>
                      <a:gd name="T52" fmla="*/ 249 w 1990"/>
                      <a:gd name="T53" fmla="*/ 890 h 1954"/>
                      <a:gd name="T54" fmla="*/ 675 w 1990"/>
                      <a:gd name="T55" fmla="*/ 828 h 1954"/>
                      <a:gd name="T56" fmla="*/ 675 w 1990"/>
                      <a:gd name="T57" fmla="*/ 1167 h 1954"/>
                      <a:gd name="T58" fmla="*/ 249 w 1990"/>
                      <a:gd name="T59" fmla="*/ 1105 h 1954"/>
                      <a:gd name="T60" fmla="*/ 249 w 1990"/>
                      <a:gd name="T61" fmla="*/ 1444 h 1954"/>
                      <a:gd name="T62" fmla="*/ 803 w 1990"/>
                      <a:gd name="T63" fmla="*/ 1382 h 1954"/>
                      <a:gd name="T64" fmla="*/ 249 w 1990"/>
                      <a:gd name="T65" fmla="*/ 1444 h 1954"/>
                      <a:gd name="T66" fmla="*/ 1179 w 1990"/>
                      <a:gd name="T67" fmla="*/ 961 h 1954"/>
                      <a:gd name="T68" fmla="*/ 1300 w 1990"/>
                      <a:gd name="T69" fmla="*/ 1219 h 1954"/>
                      <a:gd name="T70" fmla="*/ 1604 w 1990"/>
                      <a:gd name="T71" fmla="*/ 858 h 19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990" h="1954">
                        <a:moveTo>
                          <a:pt x="1231" y="1534"/>
                        </a:moveTo>
                        <a:cubicBezTo>
                          <a:pt x="1258" y="1542"/>
                          <a:pt x="1285" y="1548"/>
                          <a:pt x="1312" y="1552"/>
                        </a:cubicBezTo>
                        <a:cubicBezTo>
                          <a:pt x="1272" y="1665"/>
                          <a:pt x="1165" y="1746"/>
                          <a:pt x="1039" y="1746"/>
                        </a:cubicBezTo>
                        <a:lnTo>
                          <a:pt x="291" y="1746"/>
                        </a:lnTo>
                        <a:cubicBezTo>
                          <a:pt x="131" y="1746"/>
                          <a:pt x="0" y="1615"/>
                          <a:pt x="0" y="1455"/>
                        </a:cubicBezTo>
                        <a:lnTo>
                          <a:pt x="0" y="540"/>
                        </a:lnTo>
                        <a:cubicBezTo>
                          <a:pt x="0" y="380"/>
                          <a:pt x="131" y="249"/>
                          <a:pt x="291" y="249"/>
                        </a:cubicBezTo>
                        <a:lnTo>
                          <a:pt x="515" y="249"/>
                        </a:lnTo>
                        <a:cubicBezTo>
                          <a:pt x="535" y="109"/>
                          <a:pt x="656" y="0"/>
                          <a:pt x="802" y="0"/>
                        </a:cubicBezTo>
                        <a:lnTo>
                          <a:pt x="1205" y="0"/>
                        </a:lnTo>
                        <a:cubicBezTo>
                          <a:pt x="1366" y="0"/>
                          <a:pt x="1496" y="131"/>
                          <a:pt x="1496" y="291"/>
                        </a:cubicBezTo>
                        <a:lnTo>
                          <a:pt x="1496" y="489"/>
                        </a:lnTo>
                        <a:cubicBezTo>
                          <a:pt x="1469" y="484"/>
                          <a:pt x="1441" y="480"/>
                          <a:pt x="1413" y="479"/>
                        </a:cubicBezTo>
                        <a:lnTo>
                          <a:pt x="1413" y="291"/>
                        </a:lnTo>
                        <a:cubicBezTo>
                          <a:pt x="1413" y="176"/>
                          <a:pt x="1320" y="83"/>
                          <a:pt x="1205" y="83"/>
                        </a:cubicBezTo>
                        <a:lnTo>
                          <a:pt x="802" y="83"/>
                        </a:lnTo>
                        <a:cubicBezTo>
                          <a:pt x="701" y="83"/>
                          <a:pt x="617" y="155"/>
                          <a:pt x="598" y="249"/>
                        </a:cubicBezTo>
                        <a:lnTo>
                          <a:pt x="1039" y="249"/>
                        </a:lnTo>
                        <a:cubicBezTo>
                          <a:pt x="1180" y="249"/>
                          <a:pt x="1297" y="349"/>
                          <a:pt x="1324" y="482"/>
                        </a:cubicBezTo>
                        <a:cubicBezTo>
                          <a:pt x="1297" y="485"/>
                          <a:pt x="1270" y="491"/>
                          <a:pt x="1243" y="499"/>
                        </a:cubicBezTo>
                        <a:cubicBezTo>
                          <a:pt x="1224" y="404"/>
                          <a:pt x="1140" y="333"/>
                          <a:pt x="1039" y="333"/>
                        </a:cubicBezTo>
                        <a:lnTo>
                          <a:pt x="291" y="333"/>
                        </a:lnTo>
                        <a:cubicBezTo>
                          <a:pt x="177" y="333"/>
                          <a:pt x="83" y="426"/>
                          <a:pt x="83" y="540"/>
                        </a:cubicBezTo>
                        <a:lnTo>
                          <a:pt x="83" y="1455"/>
                        </a:lnTo>
                        <a:cubicBezTo>
                          <a:pt x="83" y="1569"/>
                          <a:pt x="177" y="1663"/>
                          <a:pt x="291" y="1663"/>
                        </a:cubicBezTo>
                        <a:lnTo>
                          <a:pt x="1039" y="1663"/>
                        </a:lnTo>
                        <a:cubicBezTo>
                          <a:pt x="1126" y="1663"/>
                          <a:pt x="1200" y="1609"/>
                          <a:pt x="1231" y="1534"/>
                        </a:cubicBezTo>
                        <a:close/>
                        <a:moveTo>
                          <a:pt x="1641" y="1453"/>
                        </a:moveTo>
                        <a:cubicBezTo>
                          <a:pt x="1401" y="1591"/>
                          <a:pt x="1093" y="1509"/>
                          <a:pt x="955" y="1269"/>
                        </a:cubicBezTo>
                        <a:cubicBezTo>
                          <a:pt x="816" y="1029"/>
                          <a:pt x="899" y="722"/>
                          <a:pt x="1138" y="583"/>
                        </a:cubicBezTo>
                        <a:cubicBezTo>
                          <a:pt x="1378" y="445"/>
                          <a:pt x="1686" y="527"/>
                          <a:pt x="1824" y="767"/>
                        </a:cubicBezTo>
                        <a:cubicBezTo>
                          <a:pt x="1963" y="1007"/>
                          <a:pt x="1880" y="1314"/>
                          <a:pt x="1641" y="1453"/>
                        </a:cubicBezTo>
                        <a:close/>
                        <a:moveTo>
                          <a:pt x="1599" y="1381"/>
                        </a:moveTo>
                        <a:cubicBezTo>
                          <a:pt x="1799" y="1266"/>
                          <a:pt x="1868" y="1009"/>
                          <a:pt x="1752" y="809"/>
                        </a:cubicBezTo>
                        <a:cubicBezTo>
                          <a:pt x="1637" y="608"/>
                          <a:pt x="1380" y="539"/>
                          <a:pt x="1180" y="655"/>
                        </a:cubicBezTo>
                        <a:cubicBezTo>
                          <a:pt x="980" y="771"/>
                          <a:pt x="911" y="1027"/>
                          <a:pt x="1026" y="1228"/>
                        </a:cubicBezTo>
                        <a:cubicBezTo>
                          <a:pt x="1142" y="1428"/>
                          <a:pt x="1399" y="1497"/>
                          <a:pt x="1599" y="1381"/>
                        </a:cubicBezTo>
                        <a:close/>
                        <a:moveTo>
                          <a:pt x="1767" y="1422"/>
                        </a:moveTo>
                        <a:lnTo>
                          <a:pt x="1551" y="1547"/>
                        </a:lnTo>
                        <a:lnTo>
                          <a:pt x="1717" y="1835"/>
                        </a:lnTo>
                        <a:lnTo>
                          <a:pt x="1933" y="1710"/>
                        </a:lnTo>
                        <a:lnTo>
                          <a:pt x="1767" y="1422"/>
                        </a:lnTo>
                        <a:close/>
                        <a:moveTo>
                          <a:pt x="1956" y="1749"/>
                        </a:moveTo>
                        <a:lnTo>
                          <a:pt x="1739" y="1874"/>
                        </a:lnTo>
                        <a:cubicBezTo>
                          <a:pt x="1774" y="1934"/>
                          <a:pt x="1850" y="1954"/>
                          <a:pt x="1910" y="1919"/>
                        </a:cubicBezTo>
                        <a:cubicBezTo>
                          <a:pt x="1969" y="1885"/>
                          <a:pt x="1990" y="1809"/>
                          <a:pt x="1956" y="1749"/>
                        </a:cubicBezTo>
                        <a:close/>
                        <a:moveTo>
                          <a:pt x="803" y="551"/>
                        </a:moveTo>
                        <a:lnTo>
                          <a:pt x="249" y="551"/>
                        </a:lnTo>
                        <a:lnTo>
                          <a:pt x="249" y="613"/>
                        </a:lnTo>
                        <a:lnTo>
                          <a:pt x="803" y="613"/>
                        </a:lnTo>
                        <a:lnTo>
                          <a:pt x="803" y="551"/>
                        </a:lnTo>
                        <a:close/>
                        <a:moveTo>
                          <a:pt x="675" y="828"/>
                        </a:moveTo>
                        <a:lnTo>
                          <a:pt x="249" y="828"/>
                        </a:lnTo>
                        <a:lnTo>
                          <a:pt x="249" y="890"/>
                        </a:lnTo>
                        <a:lnTo>
                          <a:pt x="675" y="890"/>
                        </a:lnTo>
                        <a:lnTo>
                          <a:pt x="675" y="828"/>
                        </a:lnTo>
                        <a:close/>
                        <a:moveTo>
                          <a:pt x="249" y="1167"/>
                        </a:moveTo>
                        <a:lnTo>
                          <a:pt x="675" y="1167"/>
                        </a:lnTo>
                        <a:lnTo>
                          <a:pt x="675" y="1105"/>
                        </a:lnTo>
                        <a:lnTo>
                          <a:pt x="249" y="1105"/>
                        </a:lnTo>
                        <a:lnTo>
                          <a:pt x="249" y="1167"/>
                        </a:lnTo>
                        <a:close/>
                        <a:moveTo>
                          <a:pt x="249" y="1444"/>
                        </a:moveTo>
                        <a:lnTo>
                          <a:pt x="803" y="1444"/>
                        </a:lnTo>
                        <a:lnTo>
                          <a:pt x="803" y="1382"/>
                        </a:lnTo>
                        <a:lnTo>
                          <a:pt x="249" y="1382"/>
                        </a:lnTo>
                        <a:lnTo>
                          <a:pt x="249" y="1444"/>
                        </a:lnTo>
                        <a:close/>
                        <a:moveTo>
                          <a:pt x="1308" y="1105"/>
                        </a:moveTo>
                        <a:lnTo>
                          <a:pt x="1179" y="961"/>
                        </a:lnTo>
                        <a:lnTo>
                          <a:pt x="1118" y="1017"/>
                        </a:lnTo>
                        <a:lnTo>
                          <a:pt x="1300" y="1219"/>
                        </a:lnTo>
                        <a:lnTo>
                          <a:pt x="1657" y="922"/>
                        </a:lnTo>
                        <a:lnTo>
                          <a:pt x="1604" y="858"/>
                        </a:lnTo>
                        <a:lnTo>
                          <a:pt x="1308" y="1105"/>
                        </a:lnTo>
                        <a:close/>
                      </a:path>
                    </a:pathLst>
                  </a:custGeom>
                  <a:solidFill>
                    <a:schemeClr val="bg1"/>
                  </a:solidFill>
                  <a:ln>
                    <a:noFill/>
                  </a:ln>
                </p:spPr>
                <p:txBody>
                  <a:bodyPr vert="horz" wrap="square" lIns="182832" tIns="91416" rIns="182832" bIns="91416" numCol="1" anchor="t" anchorCtr="0" compatLnSpc="1">
                    <a:prstTxWarp prst="textNoShape">
                      <a:avLst/>
                    </a:prstTxWarp>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endParaRPr lang="en-US" sz="7198" dirty="0"/>
                  </a:p>
                </p:txBody>
              </p:sp>
            </p:grpSp>
          </p:grpSp>
          <p:grpSp>
            <p:nvGrpSpPr>
              <p:cNvPr id="16" name="iṥľiḍê">
                <a:extLst>
                  <a:ext uri="{FF2B5EF4-FFF2-40B4-BE49-F238E27FC236}">
                    <a16:creationId xmlns:a16="http://schemas.microsoft.com/office/drawing/2014/main" id="{F24FF092-6DC5-411E-84CC-069EE7C2BAE1}"/>
                  </a:ext>
                </a:extLst>
              </p:cNvPr>
              <p:cNvGrpSpPr/>
              <p:nvPr/>
            </p:nvGrpSpPr>
            <p:grpSpPr>
              <a:xfrm>
                <a:off x="3834269" y="1275545"/>
                <a:ext cx="1880319" cy="1305781"/>
                <a:chOff x="3843243" y="1231264"/>
                <a:chExt cx="1880319" cy="1305781"/>
              </a:xfrm>
            </p:grpSpPr>
            <p:sp>
              <p:nvSpPr>
                <p:cNvPr id="17" name="íş1ïḋe">
                  <a:extLst>
                    <a:ext uri="{FF2B5EF4-FFF2-40B4-BE49-F238E27FC236}">
                      <a16:creationId xmlns:a16="http://schemas.microsoft.com/office/drawing/2014/main" id="{074C4A15-84D8-491A-9EF6-99C04D21D2D4}"/>
                    </a:ext>
                  </a:extLst>
                </p:cNvPr>
                <p:cNvSpPr txBox="1"/>
                <p:nvPr/>
              </p:nvSpPr>
              <p:spPr>
                <a:xfrm>
                  <a:off x="3843244" y="1231264"/>
                  <a:ext cx="1880318" cy="588331"/>
                </a:xfrm>
                <a:prstGeom prst="rect">
                  <a:avLst/>
                </a:prstGeom>
                <a:noFill/>
              </p:spPr>
              <p:txBody>
                <a:bodyPr wrap="none" lIns="90000" tIns="46800" rIns="90000" bIns="46800" rtlCol="0" anchor="ctr" anchorCtr="0">
                  <a:normAutofit/>
                </a:bodyPr>
                <a:lstStyle/>
                <a:p>
                  <a:r>
                    <a:rPr lang="zh-CN" altLang="en-US" sz="2400" b="1" dirty="0" smtClean="0">
                      <a:solidFill>
                        <a:schemeClr val="accent1"/>
                      </a:solidFill>
                    </a:rPr>
                    <a:t>仓库管理员</a:t>
                  </a:r>
                  <a:endParaRPr lang="en-US" altLang="zh-CN" sz="2400" b="1" dirty="0">
                    <a:solidFill>
                      <a:schemeClr val="accent1"/>
                    </a:solidFill>
                  </a:endParaRPr>
                </a:p>
              </p:txBody>
            </p:sp>
            <p:sp>
              <p:nvSpPr>
                <p:cNvPr id="18" name="ïšļîḓe">
                  <a:extLst>
                    <a:ext uri="{FF2B5EF4-FFF2-40B4-BE49-F238E27FC236}">
                      <a16:creationId xmlns:a16="http://schemas.microsoft.com/office/drawing/2014/main" id="{94AA66DB-C105-4232-847F-B30F8613C7EB}"/>
                    </a:ext>
                  </a:extLst>
                </p:cNvPr>
                <p:cNvSpPr txBox="1"/>
                <p:nvPr/>
              </p:nvSpPr>
              <p:spPr>
                <a:xfrm>
                  <a:off x="3843243" y="1819596"/>
                  <a:ext cx="1880319" cy="717449"/>
                </a:xfrm>
                <a:prstGeom prst="rect">
                  <a:avLst/>
                </a:prstGeom>
                <a:noFill/>
              </p:spPr>
              <p:txBody>
                <a:bodyPr wrap="square" lIns="90000" tIns="46800" rIns="90000" bIns="46800" rtlCol="0">
                  <a:normAutofit/>
                </a:bodyPr>
                <a:lstStyle/>
                <a:p>
                  <a:pPr marL="285750" indent="-285750">
                    <a:lnSpc>
                      <a:spcPct val="150000"/>
                    </a:lnSpc>
                    <a:buFont typeface="Arial" panose="020B0604020202020204" pitchFamily="34" charset="0"/>
                    <a:buChar char="•"/>
                  </a:pPr>
                  <a:r>
                    <a:rPr lang="zh-CN" altLang="en-US" dirty="0" smtClean="0"/>
                    <a:t>发料</a:t>
                  </a:r>
                  <a:endParaRPr lang="en-US" altLang="zh-CN" dirty="0"/>
                </a:p>
              </p:txBody>
            </p:sp>
          </p:grpSp>
        </p:grpSp>
        <p:grpSp>
          <p:nvGrpSpPr>
            <p:cNvPr id="9" name="íṧlîḍe">
              <a:extLst>
                <a:ext uri="{FF2B5EF4-FFF2-40B4-BE49-F238E27FC236}">
                  <a16:creationId xmlns:a16="http://schemas.microsoft.com/office/drawing/2014/main" id="{2081F4EE-27CF-4D16-9D8E-4DF2A1E411D3}"/>
                </a:ext>
              </a:extLst>
            </p:cNvPr>
            <p:cNvGrpSpPr/>
            <p:nvPr/>
          </p:nvGrpSpPr>
          <p:grpSpPr>
            <a:xfrm>
              <a:off x="10637057" y="1416345"/>
              <a:ext cx="1746643" cy="1934404"/>
              <a:chOff x="4971776" y="1372064"/>
              <a:chExt cx="1746643" cy="1934404"/>
            </a:xfrm>
          </p:grpSpPr>
          <p:sp>
            <p:nvSpPr>
              <p:cNvPr id="13" name="í$ľïde">
                <a:extLst>
                  <a:ext uri="{FF2B5EF4-FFF2-40B4-BE49-F238E27FC236}">
                    <a16:creationId xmlns:a16="http://schemas.microsoft.com/office/drawing/2014/main" id="{ED8D29B6-2CD0-4E76-9A77-E3F77B74D168}"/>
                  </a:ext>
                </a:extLst>
              </p:cNvPr>
              <p:cNvSpPr txBox="1"/>
              <p:nvPr/>
            </p:nvSpPr>
            <p:spPr>
              <a:xfrm>
                <a:off x="4971776" y="1372064"/>
                <a:ext cx="1639515" cy="588331"/>
              </a:xfrm>
              <a:prstGeom prst="rect">
                <a:avLst/>
              </a:prstGeom>
              <a:noFill/>
            </p:spPr>
            <p:txBody>
              <a:bodyPr wrap="none" lIns="90000" tIns="46800" rIns="90000" bIns="46800" rtlCol="0" anchor="ctr" anchorCtr="0">
                <a:normAutofit/>
              </a:bodyPr>
              <a:lstStyle/>
              <a:p>
                <a:r>
                  <a:rPr lang="zh-CN" altLang="en-US" sz="2400" b="1" dirty="0">
                    <a:solidFill>
                      <a:schemeClr val="accent2"/>
                    </a:solidFill>
                  </a:rPr>
                  <a:t>品质管理员</a:t>
                </a:r>
                <a:endParaRPr lang="en-US" altLang="zh-CN" sz="2400" b="1" dirty="0">
                  <a:solidFill>
                    <a:schemeClr val="accent2"/>
                  </a:solidFill>
                </a:endParaRPr>
              </a:p>
            </p:txBody>
          </p:sp>
          <p:sp>
            <p:nvSpPr>
              <p:cNvPr id="14" name="íS1iḍè">
                <a:extLst>
                  <a:ext uri="{FF2B5EF4-FFF2-40B4-BE49-F238E27FC236}">
                    <a16:creationId xmlns:a16="http://schemas.microsoft.com/office/drawing/2014/main" id="{145B7924-6AA5-44EC-9617-908E696F9833}"/>
                  </a:ext>
                </a:extLst>
              </p:cNvPr>
              <p:cNvSpPr txBox="1"/>
              <p:nvPr/>
            </p:nvSpPr>
            <p:spPr>
              <a:xfrm>
                <a:off x="5078904" y="1819596"/>
                <a:ext cx="1639515" cy="1486872"/>
              </a:xfrm>
              <a:prstGeom prst="rect">
                <a:avLst/>
              </a:prstGeom>
              <a:noFill/>
            </p:spPr>
            <p:txBody>
              <a:bodyPr wrap="square" lIns="90000" tIns="46800" rIns="90000" bIns="46800" rtlCol="0">
                <a:normAutofit/>
              </a:bodyPr>
              <a:lstStyle/>
              <a:p>
                <a:pPr marL="285750" indent="-285750">
                  <a:lnSpc>
                    <a:spcPct val="150000"/>
                  </a:lnSpc>
                  <a:buFont typeface="Arial" panose="020B0604020202020204" pitchFamily="34" charset="0"/>
                  <a:buChar char="•"/>
                </a:pPr>
                <a:r>
                  <a:rPr lang="zh-CN" altLang="en-US" dirty="0" smtClean="0">
                    <a:latin typeface="+mn-ea"/>
                  </a:rPr>
                  <a:t>首检</a:t>
                </a:r>
                <a:endParaRPr lang="en-US" altLang="zh-CN" dirty="0" smtClean="0">
                  <a:latin typeface="+mn-ea"/>
                </a:endParaRPr>
              </a:p>
              <a:p>
                <a:pPr marL="285750" indent="-285750">
                  <a:lnSpc>
                    <a:spcPct val="150000"/>
                  </a:lnSpc>
                  <a:buFont typeface="Arial" panose="020B0604020202020204" pitchFamily="34" charset="0"/>
                  <a:buChar char="•"/>
                </a:pPr>
                <a:r>
                  <a:rPr lang="zh-CN" altLang="en-US" dirty="0">
                    <a:latin typeface="+mn-ea"/>
                  </a:rPr>
                  <a:t>核</a:t>
                </a:r>
                <a:r>
                  <a:rPr lang="zh-CN" altLang="en-US" dirty="0" smtClean="0">
                    <a:latin typeface="+mn-ea"/>
                  </a:rPr>
                  <a:t>料</a:t>
                </a:r>
                <a:endParaRPr lang="en-US" altLang="zh-CN" dirty="0" smtClean="0">
                  <a:latin typeface="+mn-ea"/>
                </a:endParaRPr>
              </a:p>
              <a:p>
                <a:pPr marL="285750" indent="-285750">
                  <a:lnSpc>
                    <a:spcPct val="150000"/>
                  </a:lnSpc>
                  <a:buFont typeface="Arial" panose="020B0604020202020204" pitchFamily="34" charset="0"/>
                  <a:buChar char="•"/>
                </a:pPr>
                <a:r>
                  <a:rPr lang="zh-CN" altLang="en-US" dirty="0">
                    <a:latin typeface="+mn-ea"/>
                  </a:rPr>
                  <a:t>全检</a:t>
                </a:r>
                <a:endParaRPr lang="en-US" altLang="zh-CN" dirty="0">
                  <a:latin typeface="+mn-ea"/>
                </a:endParaRPr>
              </a:p>
            </p:txBody>
          </p:sp>
        </p:grpSp>
        <p:grpSp>
          <p:nvGrpSpPr>
            <p:cNvPr id="10" name="ïS1îḍé">
              <a:extLst>
                <a:ext uri="{FF2B5EF4-FFF2-40B4-BE49-F238E27FC236}">
                  <a16:creationId xmlns:a16="http://schemas.microsoft.com/office/drawing/2014/main" id="{CFE3D588-0039-4331-9981-DAEE19C21B0D}"/>
                </a:ext>
              </a:extLst>
            </p:cNvPr>
            <p:cNvGrpSpPr/>
            <p:nvPr/>
          </p:nvGrpSpPr>
          <p:grpSpPr>
            <a:xfrm>
              <a:off x="8441722" y="4011984"/>
              <a:ext cx="1766937" cy="2075204"/>
              <a:chOff x="2776441" y="1231264"/>
              <a:chExt cx="1766937" cy="2075204"/>
            </a:xfrm>
          </p:grpSpPr>
          <p:sp>
            <p:nvSpPr>
              <p:cNvPr id="11" name="ïṧlíďé">
                <a:extLst>
                  <a:ext uri="{FF2B5EF4-FFF2-40B4-BE49-F238E27FC236}">
                    <a16:creationId xmlns:a16="http://schemas.microsoft.com/office/drawing/2014/main" id="{DF14690B-A2B3-4784-A20F-6F9721C8E8C4}"/>
                  </a:ext>
                </a:extLst>
              </p:cNvPr>
              <p:cNvSpPr txBox="1"/>
              <p:nvPr/>
            </p:nvSpPr>
            <p:spPr>
              <a:xfrm>
                <a:off x="2776441" y="1231264"/>
                <a:ext cx="1766937" cy="588331"/>
              </a:xfrm>
              <a:prstGeom prst="rect">
                <a:avLst/>
              </a:prstGeom>
              <a:noFill/>
            </p:spPr>
            <p:txBody>
              <a:bodyPr wrap="none" lIns="90000" tIns="46800" rIns="90000" bIns="46800" rtlCol="0" anchor="ctr" anchorCtr="0">
                <a:normAutofit/>
              </a:bodyPr>
              <a:lstStyle/>
              <a:p>
                <a:r>
                  <a:rPr lang="zh-CN" altLang="en-US" sz="2400" b="1" dirty="0" smtClean="0">
                    <a:solidFill>
                      <a:schemeClr val="accent3"/>
                    </a:solidFill>
                  </a:rPr>
                  <a:t>生产</a:t>
                </a:r>
                <a:r>
                  <a:rPr lang="zh-CN" altLang="en-US" sz="2400" b="1" dirty="0">
                    <a:solidFill>
                      <a:schemeClr val="accent3"/>
                    </a:solidFill>
                  </a:rPr>
                  <a:t>管理员</a:t>
                </a:r>
                <a:endParaRPr lang="en-US" altLang="zh-CN" sz="2400" b="1" dirty="0">
                  <a:solidFill>
                    <a:schemeClr val="accent3"/>
                  </a:solidFill>
                </a:endParaRPr>
              </a:p>
            </p:txBody>
          </p:sp>
          <p:sp>
            <p:nvSpPr>
              <p:cNvPr id="12" name="íṩlïḋè">
                <a:extLst>
                  <a:ext uri="{FF2B5EF4-FFF2-40B4-BE49-F238E27FC236}">
                    <a16:creationId xmlns:a16="http://schemas.microsoft.com/office/drawing/2014/main" id="{BCBD4F45-310B-4D9D-A7E0-B6A01FA87816}"/>
                  </a:ext>
                </a:extLst>
              </p:cNvPr>
              <p:cNvSpPr txBox="1"/>
              <p:nvPr/>
            </p:nvSpPr>
            <p:spPr>
              <a:xfrm>
                <a:off x="2776441" y="1819596"/>
                <a:ext cx="1674535" cy="1486872"/>
              </a:xfrm>
              <a:prstGeom prst="rect">
                <a:avLst/>
              </a:prstGeom>
              <a:noFill/>
            </p:spPr>
            <p:txBody>
              <a:bodyPr wrap="square" lIns="90000" tIns="46800" rIns="90000" bIns="46800" rtlCol="0">
                <a:normAutofit/>
              </a:bodyPr>
              <a:lstStyle/>
              <a:p>
                <a:pPr marL="285750" indent="-285750">
                  <a:lnSpc>
                    <a:spcPct val="150000"/>
                  </a:lnSpc>
                  <a:buFont typeface="Arial" panose="020B0604020202020204" pitchFamily="34" charset="0"/>
                  <a:buChar char="•"/>
                </a:pPr>
                <a:r>
                  <a:rPr lang="zh-CN" altLang="en-US" dirty="0" smtClean="0">
                    <a:latin typeface="+mn-ea"/>
                  </a:rPr>
                  <a:t>上料</a:t>
                </a:r>
                <a:endParaRPr lang="en-US" altLang="zh-CN" dirty="0" smtClean="0">
                  <a:latin typeface="+mn-ea"/>
                </a:endParaRPr>
              </a:p>
              <a:p>
                <a:pPr marL="285750" indent="-285750">
                  <a:lnSpc>
                    <a:spcPct val="150000"/>
                  </a:lnSpc>
                  <a:buFont typeface="Arial" panose="020B0604020202020204" pitchFamily="34" charset="0"/>
                  <a:buChar char="•"/>
                </a:pPr>
                <a:r>
                  <a:rPr lang="zh-CN" altLang="en-US" dirty="0">
                    <a:latin typeface="+mn-ea"/>
                  </a:rPr>
                  <a:t>换</a:t>
                </a:r>
                <a:r>
                  <a:rPr lang="zh-CN" altLang="en-US" dirty="0" smtClean="0">
                    <a:latin typeface="+mn-ea"/>
                  </a:rPr>
                  <a:t>料</a:t>
                </a:r>
                <a:endParaRPr lang="en-US" altLang="zh-CN" dirty="0" smtClean="0">
                  <a:latin typeface="+mn-ea"/>
                </a:endParaRPr>
              </a:p>
              <a:p>
                <a:pPr marL="285750" indent="-285750">
                  <a:lnSpc>
                    <a:spcPct val="150000"/>
                  </a:lnSpc>
                  <a:buFont typeface="Arial" panose="020B0604020202020204" pitchFamily="34" charset="0"/>
                  <a:buChar char="•"/>
                </a:pPr>
                <a:r>
                  <a:rPr lang="zh-CN" altLang="en-US" dirty="0">
                    <a:latin typeface="+mn-ea"/>
                  </a:rPr>
                  <a:t>全检</a:t>
                </a:r>
                <a:endParaRPr lang="en-US" altLang="zh-CN" dirty="0">
                  <a:latin typeface="+mn-ea"/>
                </a:endParaRPr>
              </a:p>
            </p:txBody>
          </p:sp>
        </p:grpSp>
      </p:grpSp>
      <p:sp>
        <p:nvSpPr>
          <p:cNvPr id="37" name="smartphone_183811"/>
          <p:cNvSpPr>
            <a:spLocks noChangeAspect="1"/>
          </p:cNvSpPr>
          <p:nvPr/>
        </p:nvSpPr>
        <p:spPr bwMode="auto">
          <a:xfrm>
            <a:off x="5804524" y="1946239"/>
            <a:ext cx="792307" cy="1331302"/>
          </a:xfrm>
          <a:custGeom>
            <a:avLst/>
            <a:gdLst>
              <a:gd name="connsiteX0" fmla="*/ 155813 w 361083"/>
              <a:gd name="connsiteY0" fmla="*/ 487537 h 606722"/>
              <a:gd name="connsiteX1" fmla="*/ 205128 w 361083"/>
              <a:gd name="connsiteY1" fmla="*/ 487537 h 606722"/>
              <a:gd name="connsiteX2" fmla="*/ 228984 w 361083"/>
              <a:gd name="connsiteY2" fmla="*/ 511353 h 606722"/>
              <a:gd name="connsiteX3" fmla="*/ 205128 w 361083"/>
              <a:gd name="connsiteY3" fmla="*/ 535169 h 606722"/>
              <a:gd name="connsiteX4" fmla="*/ 155813 w 361083"/>
              <a:gd name="connsiteY4" fmla="*/ 535169 h 606722"/>
              <a:gd name="connsiteX5" fmla="*/ 131957 w 361083"/>
              <a:gd name="connsiteY5" fmla="*/ 511353 h 606722"/>
              <a:gd name="connsiteX6" fmla="*/ 155813 w 361083"/>
              <a:gd name="connsiteY6" fmla="*/ 487537 h 606722"/>
              <a:gd name="connsiteX7" fmla="*/ 47705 w 361083"/>
              <a:gd name="connsiteY7" fmla="*/ 465329 h 606722"/>
              <a:gd name="connsiteX8" fmla="*/ 47705 w 361083"/>
              <a:gd name="connsiteY8" fmla="*/ 557488 h 606722"/>
              <a:gd name="connsiteX9" fmla="*/ 49841 w 361083"/>
              <a:gd name="connsiteY9" fmla="*/ 559087 h 606722"/>
              <a:gd name="connsiteX10" fmla="*/ 312755 w 361083"/>
              <a:gd name="connsiteY10" fmla="*/ 559087 h 606722"/>
              <a:gd name="connsiteX11" fmla="*/ 314891 w 361083"/>
              <a:gd name="connsiteY11" fmla="*/ 557488 h 606722"/>
              <a:gd name="connsiteX12" fmla="*/ 314891 w 361083"/>
              <a:gd name="connsiteY12" fmla="*/ 465329 h 606722"/>
              <a:gd name="connsiteX13" fmla="*/ 246409 w 361083"/>
              <a:gd name="connsiteY13" fmla="*/ 231790 h 606722"/>
              <a:gd name="connsiteX14" fmla="*/ 263242 w 361083"/>
              <a:gd name="connsiteY14" fmla="*/ 238724 h 606722"/>
              <a:gd name="connsiteX15" fmla="*/ 293592 w 361083"/>
              <a:gd name="connsiteY15" fmla="*/ 269034 h 606722"/>
              <a:gd name="connsiteX16" fmla="*/ 293592 w 361083"/>
              <a:gd name="connsiteY16" fmla="*/ 302723 h 606722"/>
              <a:gd name="connsiteX17" fmla="*/ 263242 w 361083"/>
              <a:gd name="connsiteY17" fmla="*/ 333033 h 606722"/>
              <a:gd name="connsiteX18" fmla="*/ 246420 w 361083"/>
              <a:gd name="connsiteY18" fmla="*/ 340055 h 606722"/>
              <a:gd name="connsiteX19" fmla="*/ 229509 w 361083"/>
              <a:gd name="connsiteY19" fmla="*/ 333033 h 606722"/>
              <a:gd name="connsiteX20" fmla="*/ 229509 w 361083"/>
              <a:gd name="connsiteY20" fmla="*/ 299345 h 606722"/>
              <a:gd name="connsiteX21" fmla="*/ 243038 w 361083"/>
              <a:gd name="connsiteY21" fmla="*/ 285923 h 606722"/>
              <a:gd name="connsiteX22" fmla="*/ 229509 w 361083"/>
              <a:gd name="connsiteY22" fmla="*/ 272412 h 606722"/>
              <a:gd name="connsiteX23" fmla="*/ 229509 w 361083"/>
              <a:gd name="connsiteY23" fmla="*/ 238724 h 606722"/>
              <a:gd name="connsiteX24" fmla="*/ 246409 w 361083"/>
              <a:gd name="connsiteY24" fmla="*/ 231790 h 606722"/>
              <a:gd name="connsiteX25" fmla="*/ 116217 w 361083"/>
              <a:gd name="connsiteY25" fmla="*/ 231790 h 606722"/>
              <a:gd name="connsiteX26" fmla="*/ 133054 w 361083"/>
              <a:gd name="connsiteY26" fmla="*/ 238724 h 606722"/>
              <a:gd name="connsiteX27" fmla="*/ 133054 w 361083"/>
              <a:gd name="connsiteY27" fmla="*/ 272412 h 606722"/>
              <a:gd name="connsiteX28" fmla="*/ 119611 w 361083"/>
              <a:gd name="connsiteY28" fmla="*/ 285923 h 606722"/>
              <a:gd name="connsiteX29" fmla="*/ 133054 w 361083"/>
              <a:gd name="connsiteY29" fmla="*/ 299345 h 606722"/>
              <a:gd name="connsiteX30" fmla="*/ 133054 w 361083"/>
              <a:gd name="connsiteY30" fmla="*/ 333033 h 606722"/>
              <a:gd name="connsiteX31" fmla="*/ 116228 w 361083"/>
              <a:gd name="connsiteY31" fmla="*/ 340055 h 606722"/>
              <a:gd name="connsiteX32" fmla="*/ 99314 w 361083"/>
              <a:gd name="connsiteY32" fmla="*/ 333033 h 606722"/>
              <a:gd name="connsiteX33" fmla="*/ 68956 w 361083"/>
              <a:gd name="connsiteY33" fmla="*/ 302723 h 606722"/>
              <a:gd name="connsiteX34" fmla="*/ 68956 w 361083"/>
              <a:gd name="connsiteY34" fmla="*/ 269034 h 606722"/>
              <a:gd name="connsiteX35" fmla="*/ 99314 w 361083"/>
              <a:gd name="connsiteY35" fmla="*/ 238724 h 606722"/>
              <a:gd name="connsiteX36" fmla="*/ 116217 w 361083"/>
              <a:gd name="connsiteY36" fmla="*/ 231790 h 606722"/>
              <a:gd name="connsiteX37" fmla="*/ 202572 w 361083"/>
              <a:gd name="connsiteY37" fmla="*/ 195153 h 606722"/>
              <a:gd name="connsiteX38" fmla="*/ 220471 w 361083"/>
              <a:gd name="connsiteY38" fmla="*/ 223771 h 606722"/>
              <a:gd name="connsiteX39" fmla="*/ 189303 w 361083"/>
              <a:gd name="connsiteY39" fmla="*/ 358775 h 606722"/>
              <a:gd name="connsiteX40" fmla="*/ 166060 w 361083"/>
              <a:gd name="connsiteY40" fmla="*/ 377172 h 606722"/>
              <a:gd name="connsiteX41" fmla="*/ 160628 w 361083"/>
              <a:gd name="connsiteY41" fmla="*/ 376550 h 606722"/>
              <a:gd name="connsiteX42" fmla="*/ 142729 w 361083"/>
              <a:gd name="connsiteY42" fmla="*/ 348021 h 606722"/>
              <a:gd name="connsiteX43" fmla="*/ 173986 w 361083"/>
              <a:gd name="connsiteY43" fmla="*/ 213017 h 606722"/>
              <a:gd name="connsiteX44" fmla="*/ 202572 w 361083"/>
              <a:gd name="connsiteY44" fmla="*/ 195153 h 606722"/>
              <a:gd name="connsiteX45" fmla="*/ 47705 w 361083"/>
              <a:gd name="connsiteY45" fmla="*/ 133395 h 606722"/>
              <a:gd name="connsiteX46" fmla="*/ 47705 w 361083"/>
              <a:gd name="connsiteY46" fmla="*/ 417694 h 606722"/>
              <a:gd name="connsiteX47" fmla="*/ 314891 w 361083"/>
              <a:gd name="connsiteY47" fmla="*/ 417694 h 606722"/>
              <a:gd name="connsiteX48" fmla="*/ 314891 w 361083"/>
              <a:gd name="connsiteY48" fmla="*/ 133395 h 606722"/>
              <a:gd name="connsiteX49" fmla="*/ 49841 w 361083"/>
              <a:gd name="connsiteY49" fmla="*/ 47635 h 606722"/>
              <a:gd name="connsiteX50" fmla="*/ 47705 w 361083"/>
              <a:gd name="connsiteY50" fmla="*/ 49234 h 606722"/>
              <a:gd name="connsiteX51" fmla="*/ 47705 w 361083"/>
              <a:gd name="connsiteY51" fmla="*/ 85760 h 606722"/>
              <a:gd name="connsiteX52" fmla="*/ 314891 w 361083"/>
              <a:gd name="connsiteY52" fmla="*/ 85760 h 606722"/>
              <a:gd name="connsiteX53" fmla="*/ 314891 w 361083"/>
              <a:gd name="connsiteY53" fmla="*/ 49234 h 606722"/>
              <a:gd name="connsiteX54" fmla="*/ 312755 w 361083"/>
              <a:gd name="connsiteY54" fmla="*/ 47635 h 606722"/>
              <a:gd name="connsiteX55" fmla="*/ 49307 w 361083"/>
              <a:gd name="connsiteY55" fmla="*/ 0 h 606722"/>
              <a:gd name="connsiteX56" fmla="*/ 311776 w 361083"/>
              <a:gd name="connsiteY56" fmla="*/ 0 h 606722"/>
              <a:gd name="connsiteX57" fmla="*/ 361083 w 361083"/>
              <a:gd name="connsiteY57" fmla="*/ 49234 h 606722"/>
              <a:gd name="connsiteX58" fmla="*/ 361083 w 361083"/>
              <a:gd name="connsiteY58" fmla="*/ 557488 h 606722"/>
              <a:gd name="connsiteX59" fmla="*/ 311776 w 361083"/>
              <a:gd name="connsiteY59" fmla="*/ 606722 h 606722"/>
              <a:gd name="connsiteX60" fmla="*/ 49307 w 361083"/>
              <a:gd name="connsiteY60" fmla="*/ 606722 h 606722"/>
              <a:gd name="connsiteX61" fmla="*/ 0 w 361083"/>
              <a:gd name="connsiteY61" fmla="*/ 557488 h 606722"/>
              <a:gd name="connsiteX62" fmla="*/ 0 w 361083"/>
              <a:gd name="connsiteY62" fmla="*/ 49234 h 606722"/>
              <a:gd name="connsiteX63" fmla="*/ 49307 w 361083"/>
              <a:gd name="connsiteY63" fmla="*/ 0 h 6067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361083" h="606722">
                <a:moveTo>
                  <a:pt x="155813" y="487537"/>
                </a:moveTo>
                <a:lnTo>
                  <a:pt x="205128" y="487537"/>
                </a:lnTo>
                <a:cubicBezTo>
                  <a:pt x="218302" y="487537"/>
                  <a:pt x="228984" y="498201"/>
                  <a:pt x="228984" y="511353"/>
                </a:cubicBezTo>
                <a:cubicBezTo>
                  <a:pt x="228984" y="524505"/>
                  <a:pt x="218302" y="535169"/>
                  <a:pt x="205128" y="535169"/>
                </a:cubicBezTo>
                <a:lnTo>
                  <a:pt x="155813" y="535169"/>
                </a:lnTo>
                <a:cubicBezTo>
                  <a:pt x="142639" y="535169"/>
                  <a:pt x="131957" y="524505"/>
                  <a:pt x="131957" y="511353"/>
                </a:cubicBezTo>
                <a:cubicBezTo>
                  <a:pt x="131957" y="498201"/>
                  <a:pt x="142639" y="487537"/>
                  <a:pt x="155813" y="487537"/>
                </a:cubicBezTo>
                <a:close/>
                <a:moveTo>
                  <a:pt x="47705" y="465329"/>
                </a:moveTo>
                <a:lnTo>
                  <a:pt x="47705" y="557488"/>
                </a:lnTo>
                <a:cubicBezTo>
                  <a:pt x="47705" y="558376"/>
                  <a:pt x="48951" y="559087"/>
                  <a:pt x="49841" y="559087"/>
                </a:cubicBezTo>
                <a:lnTo>
                  <a:pt x="312755" y="559087"/>
                </a:lnTo>
                <a:cubicBezTo>
                  <a:pt x="313645" y="559087"/>
                  <a:pt x="314891" y="558376"/>
                  <a:pt x="314891" y="557488"/>
                </a:cubicBezTo>
                <a:lnTo>
                  <a:pt x="314891" y="465329"/>
                </a:lnTo>
                <a:close/>
                <a:moveTo>
                  <a:pt x="246409" y="231790"/>
                </a:moveTo>
                <a:cubicBezTo>
                  <a:pt x="252517" y="231790"/>
                  <a:pt x="258613" y="234102"/>
                  <a:pt x="263242" y="238724"/>
                </a:cubicBezTo>
                <a:lnTo>
                  <a:pt x="293592" y="269034"/>
                </a:lnTo>
                <a:cubicBezTo>
                  <a:pt x="302937" y="278367"/>
                  <a:pt x="302937" y="293478"/>
                  <a:pt x="293592" y="302723"/>
                </a:cubicBezTo>
                <a:lnTo>
                  <a:pt x="263242" y="333033"/>
                </a:lnTo>
                <a:cubicBezTo>
                  <a:pt x="258613" y="337744"/>
                  <a:pt x="252472" y="340055"/>
                  <a:pt x="246420" y="340055"/>
                </a:cubicBezTo>
                <a:cubicBezTo>
                  <a:pt x="240279" y="340055"/>
                  <a:pt x="234138" y="337744"/>
                  <a:pt x="229509" y="333033"/>
                </a:cubicBezTo>
                <a:cubicBezTo>
                  <a:pt x="220164" y="323789"/>
                  <a:pt x="220164" y="308678"/>
                  <a:pt x="229509" y="299345"/>
                </a:cubicBezTo>
                <a:lnTo>
                  <a:pt x="243038" y="285923"/>
                </a:lnTo>
                <a:lnTo>
                  <a:pt x="229509" y="272412"/>
                </a:lnTo>
                <a:cubicBezTo>
                  <a:pt x="220164" y="263168"/>
                  <a:pt x="220164" y="248057"/>
                  <a:pt x="229509" y="238724"/>
                </a:cubicBezTo>
                <a:cubicBezTo>
                  <a:pt x="234182" y="234102"/>
                  <a:pt x="240301" y="231790"/>
                  <a:pt x="246409" y="231790"/>
                </a:cubicBezTo>
                <a:close/>
                <a:moveTo>
                  <a:pt x="116217" y="231790"/>
                </a:moveTo>
                <a:cubicBezTo>
                  <a:pt x="122326" y="231790"/>
                  <a:pt x="128424" y="234102"/>
                  <a:pt x="133054" y="238724"/>
                </a:cubicBezTo>
                <a:cubicBezTo>
                  <a:pt x="142401" y="248057"/>
                  <a:pt x="142401" y="263168"/>
                  <a:pt x="133054" y="272412"/>
                </a:cubicBezTo>
                <a:lnTo>
                  <a:pt x="119611" y="285923"/>
                </a:lnTo>
                <a:lnTo>
                  <a:pt x="133054" y="299345"/>
                </a:lnTo>
                <a:cubicBezTo>
                  <a:pt x="142401" y="308678"/>
                  <a:pt x="142401" y="323789"/>
                  <a:pt x="133054" y="333033"/>
                </a:cubicBezTo>
                <a:cubicBezTo>
                  <a:pt x="128424" y="337744"/>
                  <a:pt x="122282" y="340055"/>
                  <a:pt x="116228" y="340055"/>
                </a:cubicBezTo>
                <a:cubicBezTo>
                  <a:pt x="110085" y="340055"/>
                  <a:pt x="104032" y="337744"/>
                  <a:pt x="99314" y="333033"/>
                </a:cubicBezTo>
                <a:lnTo>
                  <a:pt x="68956" y="302723"/>
                </a:lnTo>
                <a:cubicBezTo>
                  <a:pt x="59698" y="293478"/>
                  <a:pt x="59698" y="278367"/>
                  <a:pt x="68956" y="269034"/>
                </a:cubicBezTo>
                <a:lnTo>
                  <a:pt x="99314" y="238724"/>
                </a:lnTo>
                <a:cubicBezTo>
                  <a:pt x="103987" y="234102"/>
                  <a:pt x="110108" y="231790"/>
                  <a:pt x="116217" y="231790"/>
                </a:cubicBezTo>
                <a:close/>
                <a:moveTo>
                  <a:pt x="202572" y="195153"/>
                </a:moveTo>
                <a:cubicBezTo>
                  <a:pt x="215484" y="198086"/>
                  <a:pt x="223410" y="210884"/>
                  <a:pt x="220471" y="223771"/>
                </a:cubicBezTo>
                <a:lnTo>
                  <a:pt x="189303" y="358775"/>
                </a:lnTo>
                <a:cubicBezTo>
                  <a:pt x="186721" y="369795"/>
                  <a:pt x="176925" y="377172"/>
                  <a:pt x="166060" y="377172"/>
                </a:cubicBezTo>
                <a:cubicBezTo>
                  <a:pt x="164279" y="377172"/>
                  <a:pt x="162409" y="376994"/>
                  <a:pt x="160628" y="376550"/>
                </a:cubicBezTo>
                <a:cubicBezTo>
                  <a:pt x="147805" y="373617"/>
                  <a:pt x="139790" y="360819"/>
                  <a:pt x="142729" y="348021"/>
                </a:cubicBezTo>
                <a:lnTo>
                  <a:pt x="173986" y="213017"/>
                </a:lnTo>
                <a:cubicBezTo>
                  <a:pt x="176925" y="200219"/>
                  <a:pt x="189748" y="192220"/>
                  <a:pt x="202572" y="195153"/>
                </a:cubicBezTo>
                <a:close/>
                <a:moveTo>
                  <a:pt x="47705" y="133395"/>
                </a:moveTo>
                <a:lnTo>
                  <a:pt x="47705" y="417694"/>
                </a:lnTo>
                <a:lnTo>
                  <a:pt x="314891" y="417694"/>
                </a:lnTo>
                <a:lnTo>
                  <a:pt x="314891" y="133395"/>
                </a:lnTo>
                <a:close/>
                <a:moveTo>
                  <a:pt x="49841" y="47635"/>
                </a:moveTo>
                <a:cubicBezTo>
                  <a:pt x="48951" y="47635"/>
                  <a:pt x="47705" y="48346"/>
                  <a:pt x="47705" y="49234"/>
                </a:cubicBezTo>
                <a:lnTo>
                  <a:pt x="47705" y="85760"/>
                </a:lnTo>
                <a:lnTo>
                  <a:pt x="314891" y="85760"/>
                </a:lnTo>
                <a:lnTo>
                  <a:pt x="314891" y="49234"/>
                </a:lnTo>
                <a:cubicBezTo>
                  <a:pt x="314891" y="48346"/>
                  <a:pt x="313645" y="47635"/>
                  <a:pt x="312755" y="47635"/>
                </a:cubicBezTo>
                <a:close/>
                <a:moveTo>
                  <a:pt x="49307" y="0"/>
                </a:moveTo>
                <a:lnTo>
                  <a:pt x="311776" y="0"/>
                </a:lnTo>
                <a:cubicBezTo>
                  <a:pt x="339010" y="0"/>
                  <a:pt x="361083" y="22040"/>
                  <a:pt x="361083" y="49234"/>
                </a:cubicBezTo>
                <a:lnTo>
                  <a:pt x="361083" y="557488"/>
                </a:lnTo>
                <a:cubicBezTo>
                  <a:pt x="361083" y="584682"/>
                  <a:pt x="339010" y="606722"/>
                  <a:pt x="311776" y="606722"/>
                </a:cubicBezTo>
                <a:lnTo>
                  <a:pt x="49307" y="606722"/>
                </a:lnTo>
                <a:cubicBezTo>
                  <a:pt x="22073" y="606722"/>
                  <a:pt x="0" y="584682"/>
                  <a:pt x="0" y="557488"/>
                </a:cubicBezTo>
                <a:lnTo>
                  <a:pt x="0" y="49234"/>
                </a:lnTo>
                <a:cubicBezTo>
                  <a:pt x="0" y="22040"/>
                  <a:pt x="22073" y="0"/>
                  <a:pt x="49307" y="0"/>
                </a:cubicBezTo>
                <a:close/>
              </a:path>
            </a:pathLst>
          </a:custGeom>
          <a:solidFill>
            <a:srgbClr val="FFB535"/>
          </a:solidFill>
          <a:ln>
            <a:noFill/>
          </a:ln>
        </p:spPr>
      </p:sp>
      <p:cxnSp>
        <p:nvCxnSpPr>
          <p:cNvPr id="39" name="曲线连接符 38"/>
          <p:cNvCxnSpPr>
            <a:stCxn id="17" idx="0"/>
          </p:cNvCxnSpPr>
          <p:nvPr/>
        </p:nvCxnSpPr>
        <p:spPr>
          <a:xfrm rot="5400000" flipH="1" flipV="1">
            <a:off x="4760989" y="1820243"/>
            <a:ext cx="290907" cy="1796164"/>
          </a:xfrm>
          <a:prstGeom prst="curvedConnector2">
            <a:avLst/>
          </a:prstGeom>
          <a:ln w="57150">
            <a:tailEnd type="triangle"/>
          </a:ln>
          <a:effectLst>
            <a:outerShdw blurRad="50800" dist="38100" dir="2700000" algn="tl" rotWithShape="0">
              <a:prstClr val="black">
                <a:alpha val="40000"/>
              </a:prstClr>
            </a:outerShdw>
          </a:effectLst>
        </p:spPr>
        <p:style>
          <a:lnRef idx="3">
            <a:schemeClr val="accent1"/>
          </a:lnRef>
          <a:fillRef idx="0">
            <a:schemeClr val="accent1"/>
          </a:fillRef>
          <a:effectRef idx="2">
            <a:schemeClr val="accent1"/>
          </a:effectRef>
          <a:fontRef idx="minor">
            <a:schemeClr val="tx1"/>
          </a:fontRef>
        </p:style>
      </p:cxnSp>
      <p:cxnSp>
        <p:nvCxnSpPr>
          <p:cNvPr id="45" name="曲线连接符 44"/>
          <p:cNvCxnSpPr/>
          <p:nvPr/>
        </p:nvCxnSpPr>
        <p:spPr>
          <a:xfrm rot="16200000" flipV="1">
            <a:off x="6931880" y="2722761"/>
            <a:ext cx="1015665" cy="2146414"/>
          </a:xfrm>
          <a:prstGeom prst="curvedConnector3">
            <a:avLst>
              <a:gd name="adj1" fmla="val 50000"/>
            </a:avLst>
          </a:prstGeom>
          <a:ln w="57150">
            <a:solidFill>
              <a:schemeClr val="tx1"/>
            </a:solidFill>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61" name="曲线连接符 60"/>
          <p:cNvCxnSpPr/>
          <p:nvPr/>
        </p:nvCxnSpPr>
        <p:spPr>
          <a:xfrm rot="10800000">
            <a:off x="6611720" y="2297142"/>
            <a:ext cx="1107846" cy="395846"/>
          </a:xfrm>
          <a:prstGeom prst="curvedConnector3">
            <a:avLst/>
          </a:prstGeom>
          <a:ln w="57150">
            <a:solidFill>
              <a:srgbClr val="00B0F0"/>
            </a:solidFill>
            <a:tailEnd type="triangle"/>
          </a:ln>
        </p:spPr>
        <p:style>
          <a:lnRef idx="1">
            <a:schemeClr val="accent1"/>
          </a:lnRef>
          <a:fillRef idx="0">
            <a:schemeClr val="accent1"/>
          </a:fillRef>
          <a:effectRef idx="0">
            <a:schemeClr val="accent1"/>
          </a:effectRef>
          <a:fontRef idx="minor">
            <a:schemeClr val="tx1"/>
          </a:fontRef>
        </p:style>
      </p:cxnSp>
      <p:sp>
        <p:nvSpPr>
          <p:cNvPr id="64" name="文本框 63"/>
          <p:cNvSpPr txBox="1"/>
          <p:nvPr/>
        </p:nvSpPr>
        <p:spPr>
          <a:xfrm>
            <a:off x="5877511" y="1550564"/>
            <a:ext cx="646331" cy="369332"/>
          </a:xfrm>
          <a:prstGeom prst="rect">
            <a:avLst/>
          </a:prstGeom>
          <a:noFill/>
        </p:spPr>
        <p:txBody>
          <a:bodyPr wrap="none" rtlCol="0">
            <a:spAutoFit/>
          </a:bodyPr>
          <a:lstStyle/>
          <a:p>
            <a:r>
              <a:rPr lang="en-US" altLang="zh-CN" dirty="0" smtClean="0"/>
              <a:t>APP</a:t>
            </a:r>
          </a:p>
        </p:txBody>
      </p:sp>
      <p:sp>
        <p:nvSpPr>
          <p:cNvPr id="40" name="teenager-man_57114"/>
          <p:cNvSpPr>
            <a:spLocks noChangeAspect="1"/>
          </p:cNvSpPr>
          <p:nvPr/>
        </p:nvSpPr>
        <p:spPr bwMode="auto">
          <a:xfrm>
            <a:off x="1780631" y="3675108"/>
            <a:ext cx="447272" cy="609685"/>
          </a:xfrm>
          <a:custGeom>
            <a:avLst/>
            <a:gdLst>
              <a:gd name="connsiteX0" fmla="*/ 106548 w 443856"/>
              <a:gd name="connsiteY0" fmla="*/ 446679 h 605028"/>
              <a:gd name="connsiteX1" fmla="*/ 148183 w 443856"/>
              <a:gd name="connsiteY1" fmla="*/ 446773 h 605028"/>
              <a:gd name="connsiteX2" fmla="*/ 148560 w 443856"/>
              <a:gd name="connsiteY2" fmla="*/ 446773 h 605028"/>
              <a:gd name="connsiteX3" fmla="*/ 148937 w 443856"/>
              <a:gd name="connsiteY3" fmla="*/ 446773 h 605028"/>
              <a:gd name="connsiteX4" fmla="*/ 149408 w 443856"/>
              <a:gd name="connsiteY4" fmla="*/ 446773 h 605028"/>
              <a:gd name="connsiteX5" fmla="*/ 159770 w 443856"/>
              <a:gd name="connsiteY5" fmla="*/ 452889 h 605028"/>
              <a:gd name="connsiteX6" fmla="*/ 160241 w 443856"/>
              <a:gd name="connsiteY6" fmla="*/ 453641 h 605028"/>
              <a:gd name="connsiteX7" fmla="*/ 160241 w 443856"/>
              <a:gd name="connsiteY7" fmla="*/ 453736 h 605028"/>
              <a:gd name="connsiteX8" fmla="*/ 221658 w 443856"/>
              <a:gd name="connsiteY8" fmla="*/ 531075 h 605028"/>
              <a:gd name="connsiteX9" fmla="*/ 282981 w 443856"/>
              <a:gd name="connsiteY9" fmla="*/ 453736 h 605028"/>
              <a:gd name="connsiteX10" fmla="*/ 282981 w 443856"/>
              <a:gd name="connsiteY10" fmla="*/ 453641 h 605028"/>
              <a:gd name="connsiteX11" fmla="*/ 283452 w 443856"/>
              <a:gd name="connsiteY11" fmla="*/ 452889 h 605028"/>
              <a:gd name="connsiteX12" fmla="*/ 293814 w 443856"/>
              <a:gd name="connsiteY12" fmla="*/ 446773 h 605028"/>
              <a:gd name="connsiteX13" fmla="*/ 294285 w 443856"/>
              <a:gd name="connsiteY13" fmla="*/ 446773 h 605028"/>
              <a:gd name="connsiteX14" fmla="*/ 294662 w 443856"/>
              <a:gd name="connsiteY14" fmla="*/ 446773 h 605028"/>
              <a:gd name="connsiteX15" fmla="*/ 295039 w 443856"/>
              <a:gd name="connsiteY15" fmla="*/ 446773 h 605028"/>
              <a:gd name="connsiteX16" fmla="*/ 336674 w 443856"/>
              <a:gd name="connsiteY16" fmla="*/ 446679 h 605028"/>
              <a:gd name="connsiteX17" fmla="*/ 431155 w 443856"/>
              <a:gd name="connsiteY17" fmla="*/ 530229 h 605028"/>
              <a:gd name="connsiteX18" fmla="*/ 431155 w 443856"/>
              <a:gd name="connsiteY18" fmla="*/ 605028 h 605028"/>
              <a:gd name="connsiteX19" fmla="*/ 221752 w 443856"/>
              <a:gd name="connsiteY19" fmla="*/ 605028 h 605028"/>
              <a:gd name="connsiteX20" fmla="*/ 221658 w 443856"/>
              <a:gd name="connsiteY20" fmla="*/ 605028 h 605028"/>
              <a:gd name="connsiteX21" fmla="*/ 221470 w 443856"/>
              <a:gd name="connsiteY21" fmla="*/ 605028 h 605028"/>
              <a:gd name="connsiteX22" fmla="*/ 12067 w 443856"/>
              <a:gd name="connsiteY22" fmla="*/ 605028 h 605028"/>
              <a:gd name="connsiteX23" fmla="*/ 12067 w 443856"/>
              <a:gd name="connsiteY23" fmla="*/ 530229 h 605028"/>
              <a:gd name="connsiteX24" fmla="*/ 106548 w 443856"/>
              <a:gd name="connsiteY24" fmla="*/ 446679 h 605028"/>
              <a:gd name="connsiteX25" fmla="*/ 279853 w 443856"/>
              <a:gd name="connsiteY25" fmla="*/ 256624 h 605028"/>
              <a:gd name="connsiteX26" fmla="*/ 265057 w 443856"/>
              <a:gd name="connsiteY26" fmla="*/ 271395 h 605028"/>
              <a:gd name="connsiteX27" fmla="*/ 279853 w 443856"/>
              <a:gd name="connsiteY27" fmla="*/ 286261 h 605028"/>
              <a:gd name="connsiteX28" fmla="*/ 294743 w 443856"/>
              <a:gd name="connsiteY28" fmla="*/ 271395 h 605028"/>
              <a:gd name="connsiteX29" fmla="*/ 279853 w 443856"/>
              <a:gd name="connsiteY29" fmla="*/ 256624 h 605028"/>
              <a:gd name="connsiteX30" fmla="*/ 164004 w 443856"/>
              <a:gd name="connsiteY30" fmla="*/ 256624 h 605028"/>
              <a:gd name="connsiteX31" fmla="*/ 149114 w 443856"/>
              <a:gd name="connsiteY31" fmla="*/ 271395 h 605028"/>
              <a:gd name="connsiteX32" fmla="*/ 164004 w 443856"/>
              <a:gd name="connsiteY32" fmla="*/ 286261 h 605028"/>
              <a:gd name="connsiteX33" fmla="*/ 178800 w 443856"/>
              <a:gd name="connsiteY33" fmla="*/ 271395 h 605028"/>
              <a:gd name="connsiteX34" fmla="*/ 164004 w 443856"/>
              <a:gd name="connsiteY34" fmla="*/ 256624 h 605028"/>
              <a:gd name="connsiteX35" fmla="*/ 285790 w 443856"/>
              <a:gd name="connsiteY35" fmla="*/ 238935 h 605028"/>
              <a:gd name="connsiteX36" fmla="*/ 314722 w 443856"/>
              <a:gd name="connsiteY36" fmla="*/ 267820 h 605028"/>
              <a:gd name="connsiteX37" fmla="*/ 285790 w 443856"/>
              <a:gd name="connsiteY37" fmla="*/ 296799 h 605028"/>
              <a:gd name="connsiteX38" fmla="*/ 256858 w 443856"/>
              <a:gd name="connsiteY38" fmla="*/ 267820 h 605028"/>
              <a:gd name="connsiteX39" fmla="*/ 285790 w 443856"/>
              <a:gd name="connsiteY39" fmla="*/ 238935 h 605028"/>
              <a:gd name="connsiteX40" fmla="*/ 158067 w 443856"/>
              <a:gd name="connsiteY40" fmla="*/ 238935 h 605028"/>
              <a:gd name="connsiteX41" fmla="*/ 186999 w 443856"/>
              <a:gd name="connsiteY41" fmla="*/ 267820 h 605028"/>
              <a:gd name="connsiteX42" fmla="*/ 158067 w 443856"/>
              <a:gd name="connsiteY42" fmla="*/ 296799 h 605028"/>
              <a:gd name="connsiteX43" fmla="*/ 129135 w 443856"/>
              <a:gd name="connsiteY43" fmla="*/ 267820 h 605028"/>
              <a:gd name="connsiteX44" fmla="*/ 158067 w 443856"/>
              <a:gd name="connsiteY44" fmla="*/ 238935 h 605028"/>
              <a:gd name="connsiteX45" fmla="*/ 166446 w 443856"/>
              <a:gd name="connsiteY45" fmla="*/ 167892 h 605028"/>
              <a:gd name="connsiteX46" fmla="*/ 128673 w 443856"/>
              <a:gd name="connsiteY46" fmla="*/ 169679 h 605028"/>
              <a:gd name="connsiteX47" fmla="*/ 103428 w 443856"/>
              <a:gd name="connsiteY47" fmla="*/ 237118 h 605028"/>
              <a:gd name="connsiteX48" fmla="*/ 103334 w 443856"/>
              <a:gd name="connsiteY48" fmla="*/ 237400 h 605028"/>
              <a:gd name="connsiteX49" fmla="*/ 103146 w 443856"/>
              <a:gd name="connsiteY49" fmla="*/ 237871 h 605028"/>
              <a:gd name="connsiteX50" fmla="*/ 103051 w 443856"/>
              <a:gd name="connsiteY50" fmla="*/ 238153 h 605028"/>
              <a:gd name="connsiteX51" fmla="*/ 95233 w 443856"/>
              <a:gd name="connsiteY51" fmla="*/ 243514 h 605028"/>
              <a:gd name="connsiteX52" fmla="*/ 88357 w 443856"/>
              <a:gd name="connsiteY52" fmla="*/ 240034 h 605028"/>
              <a:gd name="connsiteX53" fmla="*/ 50301 w 443856"/>
              <a:gd name="connsiteY53" fmla="*/ 225455 h 605028"/>
              <a:gd name="connsiteX54" fmla="*/ 25904 w 443856"/>
              <a:gd name="connsiteY54" fmla="*/ 269192 h 605028"/>
              <a:gd name="connsiteX55" fmla="*/ 55765 w 443856"/>
              <a:gd name="connsiteY55" fmla="*/ 308319 h 605028"/>
              <a:gd name="connsiteX56" fmla="*/ 57554 w 443856"/>
              <a:gd name="connsiteY56" fmla="*/ 308225 h 605028"/>
              <a:gd name="connsiteX57" fmla="*/ 66786 w 443856"/>
              <a:gd name="connsiteY57" fmla="*/ 307473 h 605028"/>
              <a:gd name="connsiteX58" fmla="*/ 70648 w 443856"/>
              <a:gd name="connsiteY58" fmla="*/ 315092 h 605028"/>
              <a:gd name="connsiteX59" fmla="*/ 221928 w 443856"/>
              <a:gd name="connsiteY59" fmla="*/ 416673 h 605028"/>
              <a:gd name="connsiteX60" fmla="*/ 373208 w 443856"/>
              <a:gd name="connsiteY60" fmla="*/ 315092 h 605028"/>
              <a:gd name="connsiteX61" fmla="*/ 377165 w 443856"/>
              <a:gd name="connsiteY61" fmla="*/ 307473 h 605028"/>
              <a:gd name="connsiteX62" fmla="*/ 386302 w 443856"/>
              <a:gd name="connsiteY62" fmla="*/ 308225 h 605028"/>
              <a:gd name="connsiteX63" fmla="*/ 388186 w 443856"/>
              <a:gd name="connsiteY63" fmla="*/ 308319 h 605028"/>
              <a:gd name="connsiteX64" fmla="*/ 417952 w 443856"/>
              <a:gd name="connsiteY64" fmla="*/ 269192 h 605028"/>
              <a:gd name="connsiteX65" fmla="*/ 393555 w 443856"/>
              <a:gd name="connsiteY65" fmla="*/ 225455 h 605028"/>
              <a:gd name="connsiteX66" fmla="*/ 355593 w 443856"/>
              <a:gd name="connsiteY66" fmla="*/ 240034 h 605028"/>
              <a:gd name="connsiteX67" fmla="*/ 348717 w 443856"/>
              <a:gd name="connsiteY67" fmla="*/ 243514 h 605028"/>
              <a:gd name="connsiteX68" fmla="*/ 340805 w 443856"/>
              <a:gd name="connsiteY68" fmla="*/ 238153 h 605028"/>
              <a:gd name="connsiteX69" fmla="*/ 340710 w 443856"/>
              <a:gd name="connsiteY69" fmla="*/ 237871 h 605028"/>
              <a:gd name="connsiteX70" fmla="*/ 340522 w 443856"/>
              <a:gd name="connsiteY70" fmla="*/ 237400 h 605028"/>
              <a:gd name="connsiteX71" fmla="*/ 340428 w 443856"/>
              <a:gd name="connsiteY71" fmla="*/ 237118 h 605028"/>
              <a:gd name="connsiteX72" fmla="*/ 315183 w 443856"/>
              <a:gd name="connsiteY72" fmla="*/ 169679 h 605028"/>
              <a:gd name="connsiteX73" fmla="*/ 222399 w 443856"/>
              <a:gd name="connsiteY73" fmla="*/ 170620 h 605028"/>
              <a:gd name="connsiteX74" fmla="*/ 221928 w 443856"/>
              <a:gd name="connsiteY74" fmla="*/ 170620 h 605028"/>
              <a:gd name="connsiteX75" fmla="*/ 221457 w 443856"/>
              <a:gd name="connsiteY75" fmla="*/ 170620 h 605028"/>
              <a:gd name="connsiteX76" fmla="*/ 166446 w 443856"/>
              <a:gd name="connsiteY76" fmla="*/ 167892 h 605028"/>
              <a:gd name="connsiteX77" fmla="*/ 221457 w 443856"/>
              <a:gd name="connsiteY77" fmla="*/ 0 h 605028"/>
              <a:gd name="connsiteX78" fmla="*/ 221928 w 443856"/>
              <a:gd name="connsiteY78" fmla="*/ 0 h 605028"/>
              <a:gd name="connsiteX79" fmla="*/ 222399 w 443856"/>
              <a:gd name="connsiteY79" fmla="*/ 0 h 605028"/>
              <a:gd name="connsiteX80" fmla="*/ 442726 w 443856"/>
              <a:gd name="connsiteY80" fmla="*/ 253766 h 605028"/>
              <a:gd name="connsiteX81" fmla="*/ 443856 w 443856"/>
              <a:gd name="connsiteY81" fmla="*/ 269192 h 605028"/>
              <a:gd name="connsiteX82" fmla="*/ 430292 w 443856"/>
              <a:gd name="connsiteY82" fmla="*/ 315186 h 605028"/>
              <a:gd name="connsiteX83" fmla="*/ 392330 w 443856"/>
              <a:gd name="connsiteY83" fmla="*/ 333997 h 605028"/>
              <a:gd name="connsiteX84" fmla="*/ 324979 w 443856"/>
              <a:gd name="connsiteY84" fmla="*/ 407456 h 605028"/>
              <a:gd name="connsiteX85" fmla="*/ 222399 w 443856"/>
              <a:gd name="connsiteY85" fmla="*/ 442445 h 605028"/>
              <a:gd name="connsiteX86" fmla="*/ 221928 w 443856"/>
              <a:gd name="connsiteY86" fmla="*/ 442445 h 605028"/>
              <a:gd name="connsiteX87" fmla="*/ 221457 w 443856"/>
              <a:gd name="connsiteY87" fmla="*/ 442445 h 605028"/>
              <a:gd name="connsiteX88" fmla="*/ 118971 w 443856"/>
              <a:gd name="connsiteY88" fmla="*/ 407456 h 605028"/>
              <a:gd name="connsiteX89" fmla="*/ 51526 w 443856"/>
              <a:gd name="connsiteY89" fmla="*/ 333997 h 605028"/>
              <a:gd name="connsiteX90" fmla="*/ 13564 w 443856"/>
              <a:gd name="connsiteY90" fmla="*/ 315186 h 605028"/>
              <a:gd name="connsiteX91" fmla="*/ 0 w 443856"/>
              <a:gd name="connsiteY91" fmla="*/ 269192 h 605028"/>
              <a:gd name="connsiteX92" fmla="*/ 1225 w 443856"/>
              <a:gd name="connsiteY92" fmla="*/ 253766 h 605028"/>
              <a:gd name="connsiteX93" fmla="*/ 221457 w 443856"/>
              <a:gd name="connsiteY93" fmla="*/ 0 h 6050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Lst>
            <a:rect l="l" t="t" r="r" b="b"/>
            <a:pathLst>
              <a:path w="443856" h="605028">
                <a:moveTo>
                  <a:pt x="106548" y="446679"/>
                </a:moveTo>
                <a:cubicBezTo>
                  <a:pt x="115497" y="446679"/>
                  <a:pt x="142343" y="446773"/>
                  <a:pt x="148183" y="446773"/>
                </a:cubicBezTo>
                <a:cubicBezTo>
                  <a:pt x="148372" y="446773"/>
                  <a:pt x="148466" y="446773"/>
                  <a:pt x="148560" y="446773"/>
                </a:cubicBezTo>
                <a:cubicBezTo>
                  <a:pt x="148654" y="446773"/>
                  <a:pt x="148843" y="446773"/>
                  <a:pt x="148937" y="446773"/>
                </a:cubicBezTo>
                <a:cubicBezTo>
                  <a:pt x="149220" y="446773"/>
                  <a:pt x="149408" y="446773"/>
                  <a:pt x="149408" y="446773"/>
                </a:cubicBezTo>
                <a:cubicBezTo>
                  <a:pt x="153835" y="447055"/>
                  <a:pt x="157509" y="449408"/>
                  <a:pt x="159770" y="452889"/>
                </a:cubicBezTo>
                <a:cubicBezTo>
                  <a:pt x="159770" y="452889"/>
                  <a:pt x="159958" y="453171"/>
                  <a:pt x="160241" y="453641"/>
                </a:cubicBezTo>
                <a:cubicBezTo>
                  <a:pt x="160241" y="453641"/>
                  <a:pt x="160241" y="453736"/>
                  <a:pt x="160241" y="453736"/>
                </a:cubicBezTo>
                <a:cubicBezTo>
                  <a:pt x="165139" y="462015"/>
                  <a:pt x="205927" y="530605"/>
                  <a:pt x="221658" y="531075"/>
                </a:cubicBezTo>
                <a:cubicBezTo>
                  <a:pt x="237295" y="530605"/>
                  <a:pt x="278083" y="462015"/>
                  <a:pt x="282981" y="453736"/>
                </a:cubicBezTo>
                <a:cubicBezTo>
                  <a:pt x="282981" y="453736"/>
                  <a:pt x="282981" y="453641"/>
                  <a:pt x="282981" y="453641"/>
                </a:cubicBezTo>
                <a:cubicBezTo>
                  <a:pt x="283264" y="453171"/>
                  <a:pt x="283452" y="452889"/>
                  <a:pt x="283452" y="452889"/>
                </a:cubicBezTo>
                <a:cubicBezTo>
                  <a:pt x="285713" y="449408"/>
                  <a:pt x="289387" y="447055"/>
                  <a:pt x="293814" y="446773"/>
                </a:cubicBezTo>
                <a:cubicBezTo>
                  <a:pt x="293814" y="446773"/>
                  <a:pt x="294002" y="446773"/>
                  <a:pt x="294285" y="446773"/>
                </a:cubicBezTo>
                <a:cubicBezTo>
                  <a:pt x="294473" y="446773"/>
                  <a:pt x="294568" y="446773"/>
                  <a:pt x="294662" y="446773"/>
                </a:cubicBezTo>
                <a:cubicBezTo>
                  <a:pt x="294756" y="446773"/>
                  <a:pt x="294850" y="446773"/>
                  <a:pt x="295039" y="446773"/>
                </a:cubicBezTo>
                <a:cubicBezTo>
                  <a:pt x="300879" y="446773"/>
                  <a:pt x="327725" y="446679"/>
                  <a:pt x="336674" y="446679"/>
                </a:cubicBezTo>
                <a:cubicBezTo>
                  <a:pt x="377085" y="446679"/>
                  <a:pt x="431155" y="483373"/>
                  <a:pt x="431155" y="530229"/>
                </a:cubicBezTo>
                <a:lnTo>
                  <a:pt x="431155" y="605028"/>
                </a:lnTo>
                <a:lnTo>
                  <a:pt x="221752" y="605028"/>
                </a:lnTo>
                <a:lnTo>
                  <a:pt x="221658" y="605028"/>
                </a:lnTo>
                <a:lnTo>
                  <a:pt x="221470" y="605028"/>
                </a:lnTo>
                <a:lnTo>
                  <a:pt x="12067" y="605028"/>
                </a:lnTo>
                <a:lnTo>
                  <a:pt x="12067" y="530229"/>
                </a:lnTo>
                <a:cubicBezTo>
                  <a:pt x="12067" y="483373"/>
                  <a:pt x="66137" y="446679"/>
                  <a:pt x="106548" y="446679"/>
                </a:cubicBezTo>
                <a:close/>
                <a:moveTo>
                  <a:pt x="279853" y="256624"/>
                </a:moveTo>
                <a:cubicBezTo>
                  <a:pt x="271654" y="256624"/>
                  <a:pt x="265057" y="263304"/>
                  <a:pt x="265057" y="271395"/>
                </a:cubicBezTo>
                <a:cubicBezTo>
                  <a:pt x="265057" y="279581"/>
                  <a:pt x="271654" y="286261"/>
                  <a:pt x="279853" y="286261"/>
                </a:cubicBezTo>
                <a:cubicBezTo>
                  <a:pt x="288052" y="286261"/>
                  <a:pt x="294743" y="279581"/>
                  <a:pt x="294743" y="271395"/>
                </a:cubicBezTo>
                <a:cubicBezTo>
                  <a:pt x="294743" y="263304"/>
                  <a:pt x="288052" y="256624"/>
                  <a:pt x="279853" y="256624"/>
                </a:cubicBezTo>
                <a:close/>
                <a:moveTo>
                  <a:pt x="164004" y="256624"/>
                </a:moveTo>
                <a:cubicBezTo>
                  <a:pt x="155805" y="256624"/>
                  <a:pt x="149114" y="263304"/>
                  <a:pt x="149114" y="271395"/>
                </a:cubicBezTo>
                <a:cubicBezTo>
                  <a:pt x="149114" y="279581"/>
                  <a:pt x="155805" y="286261"/>
                  <a:pt x="164004" y="286261"/>
                </a:cubicBezTo>
                <a:cubicBezTo>
                  <a:pt x="172203" y="286261"/>
                  <a:pt x="178800" y="279581"/>
                  <a:pt x="178800" y="271395"/>
                </a:cubicBezTo>
                <a:cubicBezTo>
                  <a:pt x="178800" y="263304"/>
                  <a:pt x="172203" y="256624"/>
                  <a:pt x="164004" y="256624"/>
                </a:cubicBezTo>
                <a:close/>
                <a:moveTo>
                  <a:pt x="285790" y="238935"/>
                </a:moveTo>
                <a:cubicBezTo>
                  <a:pt x="301811" y="238935"/>
                  <a:pt x="314722" y="251919"/>
                  <a:pt x="314722" y="267820"/>
                </a:cubicBezTo>
                <a:cubicBezTo>
                  <a:pt x="314722" y="283815"/>
                  <a:pt x="301811" y="296799"/>
                  <a:pt x="285790" y="296799"/>
                </a:cubicBezTo>
                <a:cubicBezTo>
                  <a:pt x="269863" y="296799"/>
                  <a:pt x="256858" y="283815"/>
                  <a:pt x="256858" y="267820"/>
                </a:cubicBezTo>
                <a:cubicBezTo>
                  <a:pt x="256858" y="251919"/>
                  <a:pt x="269863" y="238935"/>
                  <a:pt x="285790" y="238935"/>
                </a:cubicBezTo>
                <a:close/>
                <a:moveTo>
                  <a:pt x="158067" y="238935"/>
                </a:moveTo>
                <a:cubicBezTo>
                  <a:pt x="173994" y="238935"/>
                  <a:pt x="186999" y="251919"/>
                  <a:pt x="186999" y="267820"/>
                </a:cubicBezTo>
                <a:cubicBezTo>
                  <a:pt x="186999" y="283815"/>
                  <a:pt x="173994" y="296799"/>
                  <a:pt x="158067" y="296799"/>
                </a:cubicBezTo>
                <a:cubicBezTo>
                  <a:pt x="142046" y="296799"/>
                  <a:pt x="129135" y="283815"/>
                  <a:pt x="129135" y="267820"/>
                </a:cubicBezTo>
                <a:cubicBezTo>
                  <a:pt x="129135" y="251919"/>
                  <a:pt x="142046" y="238935"/>
                  <a:pt x="158067" y="238935"/>
                </a:cubicBezTo>
                <a:close/>
                <a:moveTo>
                  <a:pt x="166446" y="167892"/>
                </a:moveTo>
                <a:cubicBezTo>
                  <a:pt x="150362" y="167022"/>
                  <a:pt x="137151" y="166905"/>
                  <a:pt x="128673" y="169679"/>
                </a:cubicBezTo>
                <a:cubicBezTo>
                  <a:pt x="110776" y="175417"/>
                  <a:pt x="109080" y="211064"/>
                  <a:pt x="103428" y="237118"/>
                </a:cubicBezTo>
                <a:cubicBezTo>
                  <a:pt x="103428" y="237212"/>
                  <a:pt x="103334" y="237306"/>
                  <a:pt x="103334" y="237400"/>
                </a:cubicBezTo>
                <a:cubicBezTo>
                  <a:pt x="103240" y="237588"/>
                  <a:pt x="103240" y="237683"/>
                  <a:pt x="103146" y="237871"/>
                </a:cubicBezTo>
                <a:cubicBezTo>
                  <a:pt x="103146" y="237965"/>
                  <a:pt x="103146" y="238059"/>
                  <a:pt x="103051" y="238153"/>
                </a:cubicBezTo>
                <a:cubicBezTo>
                  <a:pt x="101827" y="241257"/>
                  <a:pt x="98718" y="243514"/>
                  <a:pt x="95233" y="243514"/>
                </a:cubicBezTo>
                <a:cubicBezTo>
                  <a:pt x="92407" y="243514"/>
                  <a:pt x="89864" y="242103"/>
                  <a:pt x="88357" y="240034"/>
                </a:cubicBezTo>
                <a:cubicBezTo>
                  <a:pt x="76771" y="225831"/>
                  <a:pt x="67916" y="223010"/>
                  <a:pt x="50301" y="225455"/>
                </a:cubicBezTo>
                <a:cubicBezTo>
                  <a:pt x="28918" y="228465"/>
                  <a:pt x="25904" y="260444"/>
                  <a:pt x="25904" y="269192"/>
                </a:cubicBezTo>
                <a:cubicBezTo>
                  <a:pt x="25904" y="295151"/>
                  <a:pt x="35889" y="308319"/>
                  <a:pt x="55765" y="308319"/>
                </a:cubicBezTo>
                <a:cubicBezTo>
                  <a:pt x="56141" y="308319"/>
                  <a:pt x="56895" y="308225"/>
                  <a:pt x="57554" y="308225"/>
                </a:cubicBezTo>
                <a:lnTo>
                  <a:pt x="66786" y="307473"/>
                </a:lnTo>
                <a:lnTo>
                  <a:pt x="70648" y="315092"/>
                </a:lnTo>
                <a:cubicBezTo>
                  <a:pt x="95610" y="363437"/>
                  <a:pt x="153353" y="415357"/>
                  <a:pt x="221928" y="416673"/>
                </a:cubicBezTo>
                <a:cubicBezTo>
                  <a:pt x="290503" y="415357"/>
                  <a:pt x="348246" y="363437"/>
                  <a:pt x="373208" y="315092"/>
                </a:cubicBezTo>
                <a:lnTo>
                  <a:pt x="377165" y="307473"/>
                </a:lnTo>
                <a:lnTo>
                  <a:pt x="386302" y="308225"/>
                </a:lnTo>
                <a:cubicBezTo>
                  <a:pt x="387055" y="308225"/>
                  <a:pt x="387715" y="308319"/>
                  <a:pt x="388186" y="308319"/>
                </a:cubicBezTo>
                <a:cubicBezTo>
                  <a:pt x="407967" y="308319"/>
                  <a:pt x="417952" y="295151"/>
                  <a:pt x="417952" y="269192"/>
                </a:cubicBezTo>
                <a:cubicBezTo>
                  <a:pt x="417952" y="260444"/>
                  <a:pt x="414938" y="228465"/>
                  <a:pt x="393555" y="225455"/>
                </a:cubicBezTo>
                <a:cubicBezTo>
                  <a:pt x="375940" y="223010"/>
                  <a:pt x="367180" y="225831"/>
                  <a:pt x="355593" y="240034"/>
                </a:cubicBezTo>
                <a:cubicBezTo>
                  <a:pt x="353992" y="242103"/>
                  <a:pt x="351543" y="243514"/>
                  <a:pt x="348717" y="243514"/>
                </a:cubicBezTo>
                <a:cubicBezTo>
                  <a:pt x="345138" y="243514"/>
                  <a:pt x="342029" y="241257"/>
                  <a:pt x="340805" y="238153"/>
                </a:cubicBezTo>
                <a:cubicBezTo>
                  <a:pt x="340805" y="238059"/>
                  <a:pt x="340710" y="237965"/>
                  <a:pt x="340710" y="237871"/>
                </a:cubicBezTo>
                <a:cubicBezTo>
                  <a:pt x="340616" y="237683"/>
                  <a:pt x="340616" y="237588"/>
                  <a:pt x="340522" y="237400"/>
                </a:cubicBezTo>
                <a:cubicBezTo>
                  <a:pt x="340522" y="237306"/>
                  <a:pt x="340428" y="237212"/>
                  <a:pt x="340428" y="237118"/>
                </a:cubicBezTo>
                <a:cubicBezTo>
                  <a:pt x="334776" y="211064"/>
                  <a:pt x="333080" y="175417"/>
                  <a:pt x="315183" y="169679"/>
                </a:cubicBezTo>
                <a:cubicBezTo>
                  <a:pt x="298228" y="164130"/>
                  <a:pt x="262339" y="170149"/>
                  <a:pt x="222399" y="170620"/>
                </a:cubicBezTo>
                <a:cubicBezTo>
                  <a:pt x="222211" y="170620"/>
                  <a:pt x="222116" y="170620"/>
                  <a:pt x="221928" y="170620"/>
                </a:cubicBezTo>
                <a:cubicBezTo>
                  <a:pt x="221740" y="170620"/>
                  <a:pt x="221645" y="170620"/>
                  <a:pt x="221457" y="170620"/>
                </a:cubicBezTo>
                <a:cubicBezTo>
                  <a:pt x="201488" y="170385"/>
                  <a:pt x="182530" y="168762"/>
                  <a:pt x="166446" y="167892"/>
                </a:cubicBezTo>
                <a:close/>
                <a:moveTo>
                  <a:pt x="221457" y="0"/>
                </a:moveTo>
                <a:cubicBezTo>
                  <a:pt x="221645" y="0"/>
                  <a:pt x="221740" y="0"/>
                  <a:pt x="221928" y="0"/>
                </a:cubicBezTo>
                <a:cubicBezTo>
                  <a:pt x="222116" y="0"/>
                  <a:pt x="222211" y="0"/>
                  <a:pt x="222399" y="0"/>
                </a:cubicBezTo>
                <a:cubicBezTo>
                  <a:pt x="355688" y="941"/>
                  <a:pt x="440465" y="120393"/>
                  <a:pt x="442726" y="253766"/>
                </a:cubicBezTo>
                <a:cubicBezTo>
                  <a:pt x="443479" y="258657"/>
                  <a:pt x="443856" y="263830"/>
                  <a:pt x="443856" y="269192"/>
                </a:cubicBezTo>
                <a:cubicBezTo>
                  <a:pt x="443856" y="288379"/>
                  <a:pt x="439335" y="303899"/>
                  <a:pt x="430292" y="315186"/>
                </a:cubicBezTo>
                <a:cubicBezTo>
                  <a:pt x="421249" y="326567"/>
                  <a:pt x="408250" y="333057"/>
                  <a:pt x="392330" y="333997"/>
                </a:cubicBezTo>
                <a:cubicBezTo>
                  <a:pt x="376223" y="362496"/>
                  <a:pt x="352485" y="388362"/>
                  <a:pt x="324979" y="407456"/>
                </a:cubicBezTo>
                <a:cubicBezTo>
                  <a:pt x="292858" y="429747"/>
                  <a:pt x="257534" y="441787"/>
                  <a:pt x="222399" y="442445"/>
                </a:cubicBezTo>
                <a:cubicBezTo>
                  <a:pt x="222211" y="442445"/>
                  <a:pt x="222116" y="442445"/>
                  <a:pt x="221928" y="442445"/>
                </a:cubicBezTo>
                <a:cubicBezTo>
                  <a:pt x="221740" y="442445"/>
                  <a:pt x="221645" y="442445"/>
                  <a:pt x="221457" y="442445"/>
                </a:cubicBezTo>
                <a:cubicBezTo>
                  <a:pt x="186416" y="441787"/>
                  <a:pt x="150998" y="429747"/>
                  <a:pt x="118971" y="407456"/>
                </a:cubicBezTo>
                <a:cubicBezTo>
                  <a:pt x="91371" y="388362"/>
                  <a:pt x="67633" y="362496"/>
                  <a:pt x="51526" y="333997"/>
                </a:cubicBezTo>
                <a:cubicBezTo>
                  <a:pt x="35606" y="333057"/>
                  <a:pt x="22607" y="326567"/>
                  <a:pt x="13564" y="315186"/>
                </a:cubicBezTo>
                <a:cubicBezTo>
                  <a:pt x="4616" y="303899"/>
                  <a:pt x="0" y="288379"/>
                  <a:pt x="0" y="269192"/>
                </a:cubicBezTo>
                <a:cubicBezTo>
                  <a:pt x="0" y="263830"/>
                  <a:pt x="471" y="258657"/>
                  <a:pt x="1225" y="253766"/>
                </a:cubicBezTo>
                <a:cubicBezTo>
                  <a:pt x="3391" y="120393"/>
                  <a:pt x="88263" y="941"/>
                  <a:pt x="221457" y="0"/>
                </a:cubicBezTo>
                <a:close/>
              </a:path>
            </a:pathLst>
          </a:custGeom>
          <a:solidFill>
            <a:schemeClr val="accent1"/>
          </a:solidFill>
          <a:ln>
            <a:noFill/>
          </a:ln>
        </p:spPr>
      </p:sp>
      <p:sp>
        <p:nvSpPr>
          <p:cNvPr id="41" name="teenager-man_57114"/>
          <p:cNvSpPr>
            <a:spLocks noChangeAspect="1"/>
          </p:cNvSpPr>
          <p:nvPr/>
        </p:nvSpPr>
        <p:spPr bwMode="auto">
          <a:xfrm>
            <a:off x="6396948" y="5000674"/>
            <a:ext cx="447272" cy="609685"/>
          </a:xfrm>
          <a:custGeom>
            <a:avLst/>
            <a:gdLst>
              <a:gd name="connsiteX0" fmla="*/ 106548 w 443856"/>
              <a:gd name="connsiteY0" fmla="*/ 446679 h 605028"/>
              <a:gd name="connsiteX1" fmla="*/ 148183 w 443856"/>
              <a:gd name="connsiteY1" fmla="*/ 446773 h 605028"/>
              <a:gd name="connsiteX2" fmla="*/ 148560 w 443856"/>
              <a:gd name="connsiteY2" fmla="*/ 446773 h 605028"/>
              <a:gd name="connsiteX3" fmla="*/ 148937 w 443856"/>
              <a:gd name="connsiteY3" fmla="*/ 446773 h 605028"/>
              <a:gd name="connsiteX4" fmla="*/ 149408 w 443856"/>
              <a:gd name="connsiteY4" fmla="*/ 446773 h 605028"/>
              <a:gd name="connsiteX5" fmla="*/ 159770 w 443856"/>
              <a:gd name="connsiteY5" fmla="*/ 452889 h 605028"/>
              <a:gd name="connsiteX6" fmla="*/ 160241 w 443856"/>
              <a:gd name="connsiteY6" fmla="*/ 453641 h 605028"/>
              <a:gd name="connsiteX7" fmla="*/ 160241 w 443856"/>
              <a:gd name="connsiteY7" fmla="*/ 453736 h 605028"/>
              <a:gd name="connsiteX8" fmla="*/ 221658 w 443856"/>
              <a:gd name="connsiteY8" fmla="*/ 531075 h 605028"/>
              <a:gd name="connsiteX9" fmla="*/ 282981 w 443856"/>
              <a:gd name="connsiteY9" fmla="*/ 453736 h 605028"/>
              <a:gd name="connsiteX10" fmla="*/ 282981 w 443856"/>
              <a:gd name="connsiteY10" fmla="*/ 453641 h 605028"/>
              <a:gd name="connsiteX11" fmla="*/ 283452 w 443856"/>
              <a:gd name="connsiteY11" fmla="*/ 452889 h 605028"/>
              <a:gd name="connsiteX12" fmla="*/ 293814 w 443856"/>
              <a:gd name="connsiteY12" fmla="*/ 446773 h 605028"/>
              <a:gd name="connsiteX13" fmla="*/ 294285 w 443856"/>
              <a:gd name="connsiteY13" fmla="*/ 446773 h 605028"/>
              <a:gd name="connsiteX14" fmla="*/ 294662 w 443856"/>
              <a:gd name="connsiteY14" fmla="*/ 446773 h 605028"/>
              <a:gd name="connsiteX15" fmla="*/ 295039 w 443856"/>
              <a:gd name="connsiteY15" fmla="*/ 446773 h 605028"/>
              <a:gd name="connsiteX16" fmla="*/ 336674 w 443856"/>
              <a:gd name="connsiteY16" fmla="*/ 446679 h 605028"/>
              <a:gd name="connsiteX17" fmla="*/ 431155 w 443856"/>
              <a:gd name="connsiteY17" fmla="*/ 530229 h 605028"/>
              <a:gd name="connsiteX18" fmla="*/ 431155 w 443856"/>
              <a:gd name="connsiteY18" fmla="*/ 605028 h 605028"/>
              <a:gd name="connsiteX19" fmla="*/ 221752 w 443856"/>
              <a:gd name="connsiteY19" fmla="*/ 605028 h 605028"/>
              <a:gd name="connsiteX20" fmla="*/ 221658 w 443856"/>
              <a:gd name="connsiteY20" fmla="*/ 605028 h 605028"/>
              <a:gd name="connsiteX21" fmla="*/ 221470 w 443856"/>
              <a:gd name="connsiteY21" fmla="*/ 605028 h 605028"/>
              <a:gd name="connsiteX22" fmla="*/ 12067 w 443856"/>
              <a:gd name="connsiteY22" fmla="*/ 605028 h 605028"/>
              <a:gd name="connsiteX23" fmla="*/ 12067 w 443856"/>
              <a:gd name="connsiteY23" fmla="*/ 530229 h 605028"/>
              <a:gd name="connsiteX24" fmla="*/ 106548 w 443856"/>
              <a:gd name="connsiteY24" fmla="*/ 446679 h 605028"/>
              <a:gd name="connsiteX25" fmla="*/ 279853 w 443856"/>
              <a:gd name="connsiteY25" fmla="*/ 256624 h 605028"/>
              <a:gd name="connsiteX26" fmla="*/ 265057 w 443856"/>
              <a:gd name="connsiteY26" fmla="*/ 271395 h 605028"/>
              <a:gd name="connsiteX27" fmla="*/ 279853 w 443856"/>
              <a:gd name="connsiteY27" fmla="*/ 286261 h 605028"/>
              <a:gd name="connsiteX28" fmla="*/ 294743 w 443856"/>
              <a:gd name="connsiteY28" fmla="*/ 271395 h 605028"/>
              <a:gd name="connsiteX29" fmla="*/ 279853 w 443856"/>
              <a:gd name="connsiteY29" fmla="*/ 256624 h 605028"/>
              <a:gd name="connsiteX30" fmla="*/ 164004 w 443856"/>
              <a:gd name="connsiteY30" fmla="*/ 256624 h 605028"/>
              <a:gd name="connsiteX31" fmla="*/ 149114 w 443856"/>
              <a:gd name="connsiteY31" fmla="*/ 271395 h 605028"/>
              <a:gd name="connsiteX32" fmla="*/ 164004 w 443856"/>
              <a:gd name="connsiteY32" fmla="*/ 286261 h 605028"/>
              <a:gd name="connsiteX33" fmla="*/ 178800 w 443856"/>
              <a:gd name="connsiteY33" fmla="*/ 271395 h 605028"/>
              <a:gd name="connsiteX34" fmla="*/ 164004 w 443856"/>
              <a:gd name="connsiteY34" fmla="*/ 256624 h 605028"/>
              <a:gd name="connsiteX35" fmla="*/ 285790 w 443856"/>
              <a:gd name="connsiteY35" fmla="*/ 238935 h 605028"/>
              <a:gd name="connsiteX36" fmla="*/ 314722 w 443856"/>
              <a:gd name="connsiteY36" fmla="*/ 267820 h 605028"/>
              <a:gd name="connsiteX37" fmla="*/ 285790 w 443856"/>
              <a:gd name="connsiteY37" fmla="*/ 296799 h 605028"/>
              <a:gd name="connsiteX38" fmla="*/ 256858 w 443856"/>
              <a:gd name="connsiteY38" fmla="*/ 267820 h 605028"/>
              <a:gd name="connsiteX39" fmla="*/ 285790 w 443856"/>
              <a:gd name="connsiteY39" fmla="*/ 238935 h 605028"/>
              <a:gd name="connsiteX40" fmla="*/ 158067 w 443856"/>
              <a:gd name="connsiteY40" fmla="*/ 238935 h 605028"/>
              <a:gd name="connsiteX41" fmla="*/ 186999 w 443856"/>
              <a:gd name="connsiteY41" fmla="*/ 267820 h 605028"/>
              <a:gd name="connsiteX42" fmla="*/ 158067 w 443856"/>
              <a:gd name="connsiteY42" fmla="*/ 296799 h 605028"/>
              <a:gd name="connsiteX43" fmla="*/ 129135 w 443856"/>
              <a:gd name="connsiteY43" fmla="*/ 267820 h 605028"/>
              <a:gd name="connsiteX44" fmla="*/ 158067 w 443856"/>
              <a:gd name="connsiteY44" fmla="*/ 238935 h 605028"/>
              <a:gd name="connsiteX45" fmla="*/ 166446 w 443856"/>
              <a:gd name="connsiteY45" fmla="*/ 167892 h 605028"/>
              <a:gd name="connsiteX46" fmla="*/ 128673 w 443856"/>
              <a:gd name="connsiteY46" fmla="*/ 169679 h 605028"/>
              <a:gd name="connsiteX47" fmla="*/ 103428 w 443856"/>
              <a:gd name="connsiteY47" fmla="*/ 237118 h 605028"/>
              <a:gd name="connsiteX48" fmla="*/ 103334 w 443856"/>
              <a:gd name="connsiteY48" fmla="*/ 237400 h 605028"/>
              <a:gd name="connsiteX49" fmla="*/ 103146 w 443856"/>
              <a:gd name="connsiteY49" fmla="*/ 237871 h 605028"/>
              <a:gd name="connsiteX50" fmla="*/ 103051 w 443856"/>
              <a:gd name="connsiteY50" fmla="*/ 238153 h 605028"/>
              <a:gd name="connsiteX51" fmla="*/ 95233 w 443856"/>
              <a:gd name="connsiteY51" fmla="*/ 243514 h 605028"/>
              <a:gd name="connsiteX52" fmla="*/ 88357 w 443856"/>
              <a:gd name="connsiteY52" fmla="*/ 240034 h 605028"/>
              <a:gd name="connsiteX53" fmla="*/ 50301 w 443856"/>
              <a:gd name="connsiteY53" fmla="*/ 225455 h 605028"/>
              <a:gd name="connsiteX54" fmla="*/ 25904 w 443856"/>
              <a:gd name="connsiteY54" fmla="*/ 269192 h 605028"/>
              <a:gd name="connsiteX55" fmla="*/ 55765 w 443856"/>
              <a:gd name="connsiteY55" fmla="*/ 308319 h 605028"/>
              <a:gd name="connsiteX56" fmla="*/ 57554 w 443856"/>
              <a:gd name="connsiteY56" fmla="*/ 308225 h 605028"/>
              <a:gd name="connsiteX57" fmla="*/ 66786 w 443856"/>
              <a:gd name="connsiteY57" fmla="*/ 307473 h 605028"/>
              <a:gd name="connsiteX58" fmla="*/ 70648 w 443856"/>
              <a:gd name="connsiteY58" fmla="*/ 315092 h 605028"/>
              <a:gd name="connsiteX59" fmla="*/ 221928 w 443856"/>
              <a:gd name="connsiteY59" fmla="*/ 416673 h 605028"/>
              <a:gd name="connsiteX60" fmla="*/ 373208 w 443856"/>
              <a:gd name="connsiteY60" fmla="*/ 315092 h 605028"/>
              <a:gd name="connsiteX61" fmla="*/ 377165 w 443856"/>
              <a:gd name="connsiteY61" fmla="*/ 307473 h 605028"/>
              <a:gd name="connsiteX62" fmla="*/ 386302 w 443856"/>
              <a:gd name="connsiteY62" fmla="*/ 308225 h 605028"/>
              <a:gd name="connsiteX63" fmla="*/ 388186 w 443856"/>
              <a:gd name="connsiteY63" fmla="*/ 308319 h 605028"/>
              <a:gd name="connsiteX64" fmla="*/ 417952 w 443856"/>
              <a:gd name="connsiteY64" fmla="*/ 269192 h 605028"/>
              <a:gd name="connsiteX65" fmla="*/ 393555 w 443856"/>
              <a:gd name="connsiteY65" fmla="*/ 225455 h 605028"/>
              <a:gd name="connsiteX66" fmla="*/ 355593 w 443856"/>
              <a:gd name="connsiteY66" fmla="*/ 240034 h 605028"/>
              <a:gd name="connsiteX67" fmla="*/ 348717 w 443856"/>
              <a:gd name="connsiteY67" fmla="*/ 243514 h 605028"/>
              <a:gd name="connsiteX68" fmla="*/ 340805 w 443856"/>
              <a:gd name="connsiteY68" fmla="*/ 238153 h 605028"/>
              <a:gd name="connsiteX69" fmla="*/ 340710 w 443856"/>
              <a:gd name="connsiteY69" fmla="*/ 237871 h 605028"/>
              <a:gd name="connsiteX70" fmla="*/ 340522 w 443856"/>
              <a:gd name="connsiteY70" fmla="*/ 237400 h 605028"/>
              <a:gd name="connsiteX71" fmla="*/ 340428 w 443856"/>
              <a:gd name="connsiteY71" fmla="*/ 237118 h 605028"/>
              <a:gd name="connsiteX72" fmla="*/ 315183 w 443856"/>
              <a:gd name="connsiteY72" fmla="*/ 169679 h 605028"/>
              <a:gd name="connsiteX73" fmla="*/ 222399 w 443856"/>
              <a:gd name="connsiteY73" fmla="*/ 170620 h 605028"/>
              <a:gd name="connsiteX74" fmla="*/ 221928 w 443856"/>
              <a:gd name="connsiteY74" fmla="*/ 170620 h 605028"/>
              <a:gd name="connsiteX75" fmla="*/ 221457 w 443856"/>
              <a:gd name="connsiteY75" fmla="*/ 170620 h 605028"/>
              <a:gd name="connsiteX76" fmla="*/ 166446 w 443856"/>
              <a:gd name="connsiteY76" fmla="*/ 167892 h 605028"/>
              <a:gd name="connsiteX77" fmla="*/ 221457 w 443856"/>
              <a:gd name="connsiteY77" fmla="*/ 0 h 605028"/>
              <a:gd name="connsiteX78" fmla="*/ 221928 w 443856"/>
              <a:gd name="connsiteY78" fmla="*/ 0 h 605028"/>
              <a:gd name="connsiteX79" fmla="*/ 222399 w 443856"/>
              <a:gd name="connsiteY79" fmla="*/ 0 h 605028"/>
              <a:gd name="connsiteX80" fmla="*/ 442726 w 443856"/>
              <a:gd name="connsiteY80" fmla="*/ 253766 h 605028"/>
              <a:gd name="connsiteX81" fmla="*/ 443856 w 443856"/>
              <a:gd name="connsiteY81" fmla="*/ 269192 h 605028"/>
              <a:gd name="connsiteX82" fmla="*/ 430292 w 443856"/>
              <a:gd name="connsiteY82" fmla="*/ 315186 h 605028"/>
              <a:gd name="connsiteX83" fmla="*/ 392330 w 443856"/>
              <a:gd name="connsiteY83" fmla="*/ 333997 h 605028"/>
              <a:gd name="connsiteX84" fmla="*/ 324979 w 443856"/>
              <a:gd name="connsiteY84" fmla="*/ 407456 h 605028"/>
              <a:gd name="connsiteX85" fmla="*/ 222399 w 443856"/>
              <a:gd name="connsiteY85" fmla="*/ 442445 h 605028"/>
              <a:gd name="connsiteX86" fmla="*/ 221928 w 443856"/>
              <a:gd name="connsiteY86" fmla="*/ 442445 h 605028"/>
              <a:gd name="connsiteX87" fmla="*/ 221457 w 443856"/>
              <a:gd name="connsiteY87" fmla="*/ 442445 h 605028"/>
              <a:gd name="connsiteX88" fmla="*/ 118971 w 443856"/>
              <a:gd name="connsiteY88" fmla="*/ 407456 h 605028"/>
              <a:gd name="connsiteX89" fmla="*/ 51526 w 443856"/>
              <a:gd name="connsiteY89" fmla="*/ 333997 h 605028"/>
              <a:gd name="connsiteX90" fmla="*/ 13564 w 443856"/>
              <a:gd name="connsiteY90" fmla="*/ 315186 h 605028"/>
              <a:gd name="connsiteX91" fmla="*/ 0 w 443856"/>
              <a:gd name="connsiteY91" fmla="*/ 269192 h 605028"/>
              <a:gd name="connsiteX92" fmla="*/ 1225 w 443856"/>
              <a:gd name="connsiteY92" fmla="*/ 253766 h 605028"/>
              <a:gd name="connsiteX93" fmla="*/ 221457 w 443856"/>
              <a:gd name="connsiteY93" fmla="*/ 0 h 6050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Lst>
            <a:rect l="l" t="t" r="r" b="b"/>
            <a:pathLst>
              <a:path w="443856" h="605028">
                <a:moveTo>
                  <a:pt x="106548" y="446679"/>
                </a:moveTo>
                <a:cubicBezTo>
                  <a:pt x="115497" y="446679"/>
                  <a:pt x="142343" y="446773"/>
                  <a:pt x="148183" y="446773"/>
                </a:cubicBezTo>
                <a:cubicBezTo>
                  <a:pt x="148372" y="446773"/>
                  <a:pt x="148466" y="446773"/>
                  <a:pt x="148560" y="446773"/>
                </a:cubicBezTo>
                <a:cubicBezTo>
                  <a:pt x="148654" y="446773"/>
                  <a:pt x="148843" y="446773"/>
                  <a:pt x="148937" y="446773"/>
                </a:cubicBezTo>
                <a:cubicBezTo>
                  <a:pt x="149220" y="446773"/>
                  <a:pt x="149408" y="446773"/>
                  <a:pt x="149408" y="446773"/>
                </a:cubicBezTo>
                <a:cubicBezTo>
                  <a:pt x="153835" y="447055"/>
                  <a:pt x="157509" y="449408"/>
                  <a:pt x="159770" y="452889"/>
                </a:cubicBezTo>
                <a:cubicBezTo>
                  <a:pt x="159770" y="452889"/>
                  <a:pt x="159958" y="453171"/>
                  <a:pt x="160241" y="453641"/>
                </a:cubicBezTo>
                <a:cubicBezTo>
                  <a:pt x="160241" y="453641"/>
                  <a:pt x="160241" y="453736"/>
                  <a:pt x="160241" y="453736"/>
                </a:cubicBezTo>
                <a:cubicBezTo>
                  <a:pt x="165139" y="462015"/>
                  <a:pt x="205927" y="530605"/>
                  <a:pt x="221658" y="531075"/>
                </a:cubicBezTo>
                <a:cubicBezTo>
                  <a:pt x="237295" y="530605"/>
                  <a:pt x="278083" y="462015"/>
                  <a:pt x="282981" y="453736"/>
                </a:cubicBezTo>
                <a:cubicBezTo>
                  <a:pt x="282981" y="453736"/>
                  <a:pt x="282981" y="453641"/>
                  <a:pt x="282981" y="453641"/>
                </a:cubicBezTo>
                <a:cubicBezTo>
                  <a:pt x="283264" y="453171"/>
                  <a:pt x="283452" y="452889"/>
                  <a:pt x="283452" y="452889"/>
                </a:cubicBezTo>
                <a:cubicBezTo>
                  <a:pt x="285713" y="449408"/>
                  <a:pt x="289387" y="447055"/>
                  <a:pt x="293814" y="446773"/>
                </a:cubicBezTo>
                <a:cubicBezTo>
                  <a:pt x="293814" y="446773"/>
                  <a:pt x="294002" y="446773"/>
                  <a:pt x="294285" y="446773"/>
                </a:cubicBezTo>
                <a:cubicBezTo>
                  <a:pt x="294473" y="446773"/>
                  <a:pt x="294568" y="446773"/>
                  <a:pt x="294662" y="446773"/>
                </a:cubicBezTo>
                <a:cubicBezTo>
                  <a:pt x="294756" y="446773"/>
                  <a:pt x="294850" y="446773"/>
                  <a:pt x="295039" y="446773"/>
                </a:cubicBezTo>
                <a:cubicBezTo>
                  <a:pt x="300879" y="446773"/>
                  <a:pt x="327725" y="446679"/>
                  <a:pt x="336674" y="446679"/>
                </a:cubicBezTo>
                <a:cubicBezTo>
                  <a:pt x="377085" y="446679"/>
                  <a:pt x="431155" y="483373"/>
                  <a:pt x="431155" y="530229"/>
                </a:cubicBezTo>
                <a:lnTo>
                  <a:pt x="431155" y="605028"/>
                </a:lnTo>
                <a:lnTo>
                  <a:pt x="221752" y="605028"/>
                </a:lnTo>
                <a:lnTo>
                  <a:pt x="221658" y="605028"/>
                </a:lnTo>
                <a:lnTo>
                  <a:pt x="221470" y="605028"/>
                </a:lnTo>
                <a:lnTo>
                  <a:pt x="12067" y="605028"/>
                </a:lnTo>
                <a:lnTo>
                  <a:pt x="12067" y="530229"/>
                </a:lnTo>
                <a:cubicBezTo>
                  <a:pt x="12067" y="483373"/>
                  <a:pt x="66137" y="446679"/>
                  <a:pt x="106548" y="446679"/>
                </a:cubicBezTo>
                <a:close/>
                <a:moveTo>
                  <a:pt x="279853" y="256624"/>
                </a:moveTo>
                <a:cubicBezTo>
                  <a:pt x="271654" y="256624"/>
                  <a:pt x="265057" y="263304"/>
                  <a:pt x="265057" y="271395"/>
                </a:cubicBezTo>
                <a:cubicBezTo>
                  <a:pt x="265057" y="279581"/>
                  <a:pt x="271654" y="286261"/>
                  <a:pt x="279853" y="286261"/>
                </a:cubicBezTo>
                <a:cubicBezTo>
                  <a:pt x="288052" y="286261"/>
                  <a:pt x="294743" y="279581"/>
                  <a:pt x="294743" y="271395"/>
                </a:cubicBezTo>
                <a:cubicBezTo>
                  <a:pt x="294743" y="263304"/>
                  <a:pt x="288052" y="256624"/>
                  <a:pt x="279853" y="256624"/>
                </a:cubicBezTo>
                <a:close/>
                <a:moveTo>
                  <a:pt x="164004" y="256624"/>
                </a:moveTo>
                <a:cubicBezTo>
                  <a:pt x="155805" y="256624"/>
                  <a:pt x="149114" y="263304"/>
                  <a:pt x="149114" y="271395"/>
                </a:cubicBezTo>
                <a:cubicBezTo>
                  <a:pt x="149114" y="279581"/>
                  <a:pt x="155805" y="286261"/>
                  <a:pt x="164004" y="286261"/>
                </a:cubicBezTo>
                <a:cubicBezTo>
                  <a:pt x="172203" y="286261"/>
                  <a:pt x="178800" y="279581"/>
                  <a:pt x="178800" y="271395"/>
                </a:cubicBezTo>
                <a:cubicBezTo>
                  <a:pt x="178800" y="263304"/>
                  <a:pt x="172203" y="256624"/>
                  <a:pt x="164004" y="256624"/>
                </a:cubicBezTo>
                <a:close/>
                <a:moveTo>
                  <a:pt x="285790" y="238935"/>
                </a:moveTo>
                <a:cubicBezTo>
                  <a:pt x="301811" y="238935"/>
                  <a:pt x="314722" y="251919"/>
                  <a:pt x="314722" y="267820"/>
                </a:cubicBezTo>
                <a:cubicBezTo>
                  <a:pt x="314722" y="283815"/>
                  <a:pt x="301811" y="296799"/>
                  <a:pt x="285790" y="296799"/>
                </a:cubicBezTo>
                <a:cubicBezTo>
                  <a:pt x="269863" y="296799"/>
                  <a:pt x="256858" y="283815"/>
                  <a:pt x="256858" y="267820"/>
                </a:cubicBezTo>
                <a:cubicBezTo>
                  <a:pt x="256858" y="251919"/>
                  <a:pt x="269863" y="238935"/>
                  <a:pt x="285790" y="238935"/>
                </a:cubicBezTo>
                <a:close/>
                <a:moveTo>
                  <a:pt x="158067" y="238935"/>
                </a:moveTo>
                <a:cubicBezTo>
                  <a:pt x="173994" y="238935"/>
                  <a:pt x="186999" y="251919"/>
                  <a:pt x="186999" y="267820"/>
                </a:cubicBezTo>
                <a:cubicBezTo>
                  <a:pt x="186999" y="283815"/>
                  <a:pt x="173994" y="296799"/>
                  <a:pt x="158067" y="296799"/>
                </a:cubicBezTo>
                <a:cubicBezTo>
                  <a:pt x="142046" y="296799"/>
                  <a:pt x="129135" y="283815"/>
                  <a:pt x="129135" y="267820"/>
                </a:cubicBezTo>
                <a:cubicBezTo>
                  <a:pt x="129135" y="251919"/>
                  <a:pt x="142046" y="238935"/>
                  <a:pt x="158067" y="238935"/>
                </a:cubicBezTo>
                <a:close/>
                <a:moveTo>
                  <a:pt x="166446" y="167892"/>
                </a:moveTo>
                <a:cubicBezTo>
                  <a:pt x="150362" y="167022"/>
                  <a:pt x="137151" y="166905"/>
                  <a:pt x="128673" y="169679"/>
                </a:cubicBezTo>
                <a:cubicBezTo>
                  <a:pt x="110776" y="175417"/>
                  <a:pt x="109080" y="211064"/>
                  <a:pt x="103428" y="237118"/>
                </a:cubicBezTo>
                <a:cubicBezTo>
                  <a:pt x="103428" y="237212"/>
                  <a:pt x="103334" y="237306"/>
                  <a:pt x="103334" y="237400"/>
                </a:cubicBezTo>
                <a:cubicBezTo>
                  <a:pt x="103240" y="237588"/>
                  <a:pt x="103240" y="237683"/>
                  <a:pt x="103146" y="237871"/>
                </a:cubicBezTo>
                <a:cubicBezTo>
                  <a:pt x="103146" y="237965"/>
                  <a:pt x="103146" y="238059"/>
                  <a:pt x="103051" y="238153"/>
                </a:cubicBezTo>
                <a:cubicBezTo>
                  <a:pt x="101827" y="241257"/>
                  <a:pt x="98718" y="243514"/>
                  <a:pt x="95233" y="243514"/>
                </a:cubicBezTo>
                <a:cubicBezTo>
                  <a:pt x="92407" y="243514"/>
                  <a:pt x="89864" y="242103"/>
                  <a:pt x="88357" y="240034"/>
                </a:cubicBezTo>
                <a:cubicBezTo>
                  <a:pt x="76771" y="225831"/>
                  <a:pt x="67916" y="223010"/>
                  <a:pt x="50301" y="225455"/>
                </a:cubicBezTo>
                <a:cubicBezTo>
                  <a:pt x="28918" y="228465"/>
                  <a:pt x="25904" y="260444"/>
                  <a:pt x="25904" y="269192"/>
                </a:cubicBezTo>
                <a:cubicBezTo>
                  <a:pt x="25904" y="295151"/>
                  <a:pt x="35889" y="308319"/>
                  <a:pt x="55765" y="308319"/>
                </a:cubicBezTo>
                <a:cubicBezTo>
                  <a:pt x="56141" y="308319"/>
                  <a:pt x="56895" y="308225"/>
                  <a:pt x="57554" y="308225"/>
                </a:cubicBezTo>
                <a:lnTo>
                  <a:pt x="66786" y="307473"/>
                </a:lnTo>
                <a:lnTo>
                  <a:pt x="70648" y="315092"/>
                </a:lnTo>
                <a:cubicBezTo>
                  <a:pt x="95610" y="363437"/>
                  <a:pt x="153353" y="415357"/>
                  <a:pt x="221928" y="416673"/>
                </a:cubicBezTo>
                <a:cubicBezTo>
                  <a:pt x="290503" y="415357"/>
                  <a:pt x="348246" y="363437"/>
                  <a:pt x="373208" y="315092"/>
                </a:cubicBezTo>
                <a:lnTo>
                  <a:pt x="377165" y="307473"/>
                </a:lnTo>
                <a:lnTo>
                  <a:pt x="386302" y="308225"/>
                </a:lnTo>
                <a:cubicBezTo>
                  <a:pt x="387055" y="308225"/>
                  <a:pt x="387715" y="308319"/>
                  <a:pt x="388186" y="308319"/>
                </a:cubicBezTo>
                <a:cubicBezTo>
                  <a:pt x="407967" y="308319"/>
                  <a:pt x="417952" y="295151"/>
                  <a:pt x="417952" y="269192"/>
                </a:cubicBezTo>
                <a:cubicBezTo>
                  <a:pt x="417952" y="260444"/>
                  <a:pt x="414938" y="228465"/>
                  <a:pt x="393555" y="225455"/>
                </a:cubicBezTo>
                <a:cubicBezTo>
                  <a:pt x="375940" y="223010"/>
                  <a:pt x="367180" y="225831"/>
                  <a:pt x="355593" y="240034"/>
                </a:cubicBezTo>
                <a:cubicBezTo>
                  <a:pt x="353992" y="242103"/>
                  <a:pt x="351543" y="243514"/>
                  <a:pt x="348717" y="243514"/>
                </a:cubicBezTo>
                <a:cubicBezTo>
                  <a:pt x="345138" y="243514"/>
                  <a:pt x="342029" y="241257"/>
                  <a:pt x="340805" y="238153"/>
                </a:cubicBezTo>
                <a:cubicBezTo>
                  <a:pt x="340805" y="238059"/>
                  <a:pt x="340710" y="237965"/>
                  <a:pt x="340710" y="237871"/>
                </a:cubicBezTo>
                <a:cubicBezTo>
                  <a:pt x="340616" y="237683"/>
                  <a:pt x="340616" y="237588"/>
                  <a:pt x="340522" y="237400"/>
                </a:cubicBezTo>
                <a:cubicBezTo>
                  <a:pt x="340522" y="237306"/>
                  <a:pt x="340428" y="237212"/>
                  <a:pt x="340428" y="237118"/>
                </a:cubicBezTo>
                <a:cubicBezTo>
                  <a:pt x="334776" y="211064"/>
                  <a:pt x="333080" y="175417"/>
                  <a:pt x="315183" y="169679"/>
                </a:cubicBezTo>
                <a:cubicBezTo>
                  <a:pt x="298228" y="164130"/>
                  <a:pt x="262339" y="170149"/>
                  <a:pt x="222399" y="170620"/>
                </a:cubicBezTo>
                <a:cubicBezTo>
                  <a:pt x="222211" y="170620"/>
                  <a:pt x="222116" y="170620"/>
                  <a:pt x="221928" y="170620"/>
                </a:cubicBezTo>
                <a:cubicBezTo>
                  <a:pt x="221740" y="170620"/>
                  <a:pt x="221645" y="170620"/>
                  <a:pt x="221457" y="170620"/>
                </a:cubicBezTo>
                <a:cubicBezTo>
                  <a:pt x="201488" y="170385"/>
                  <a:pt x="182530" y="168762"/>
                  <a:pt x="166446" y="167892"/>
                </a:cubicBezTo>
                <a:close/>
                <a:moveTo>
                  <a:pt x="221457" y="0"/>
                </a:moveTo>
                <a:cubicBezTo>
                  <a:pt x="221645" y="0"/>
                  <a:pt x="221740" y="0"/>
                  <a:pt x="221928" y="0"/>
                </a:cubicBezTo>
                <a:cubicBezTo>
                  <a:pt x="222116" y="0"/>
                  <a:pt x="222211" y="0"/>
                  <a:pt x="222399" y="0"/>
                </a:cubicBezTo>
                <a:cubicBezTo>
                  <a:pt x="355688" y="941"/>
                  <a:pt x="440465" y="120393"/>
                  <a:pt x="442726" y="253766"/>
                </a:cubicBezTo>
                <a:cubicBezTo>
                  <a:pt x="443479" y="258657"/>
                  <a:pt x="443856" y="263830"/>
                  <a:pt x="443856" y="269192"/>
                </a:cubicBezTo>
                <a:cubicBezTo>
                  <a:pt x="443856" y="288379"/>
                  <a:pt x="439335" y="303899"/>
                  <a:pt x="430292" y="315186"/>
                </a:cubicBezTo>
                <a:cubicBezTo>
                  <a:pt x="421249" y="326567"/>
                  <a:pt x="408250" y="333057"/>
                  <a:pt x="392330" y="333997"/>
                </a:cubicBezTo>
                <a:cubicBezTo>
                  <a:pt x="376223" y="362496"/>
                  <a:pt x="352485" y="388362"/>
                  <a:pt x="324979" y="407456"/>
                </a:cubicBezTo>
                <a:cubicBezTo>
                  <a:pt x="292858" y="429747"/>
                  <a:pt x="257534" y="441787"/>
                  <a:pt x="222399" y="442445"/>
                </a:cubicBezTo>
                <a:cubicBezTo>
                  <a:pt x="222211" y="442445"/>
                  <a:pt x="222116" y="442445"/>
                  <a:pt x="221928" y="442445"/>
                </a:cubicBezTo>
                <a:cubicBezTo>
                  <a:pt x="221740" y="442445"/>
                  <a:pt x="221645" y="442445"/>
                  <a:pt x="221457" y="442445"/>
                </a:cubicBezTo>
                <a:cubicBezTo>
                  <a:pt x="186416" y="441787"/>
                  <a:pt x="150998" y="429747"/>
                  <a:pt x="118971" y="407456"/>
                </a:cubicBezTo>
                <a:cubicBezTo>
                  <a:pt x="91371" y="388362"/>
                  <a:pt x="67633" y="362496"/>
                  <a:pt x="51526" y="333997"/>
                </a:cubicBezTo>
                <a:cubicBezTo>
                  <a:pt x="35606" y="333057"/>
                  <a:pt x="22607" y="326567"/>
                  <a:pt x="13564" y="315186"/>
                </a:cubicBezTo>
                <a:cubicBezTo>
                  <a:pt x="4616" y="303899"/>
                  <a:pt x="0" y="288379"/>
                  <a:pt x="0" y="269192"/>
                </a:cubicBezTo>
                <a:cubicBezTo>
                  <a:pt x="0" y="263830"/>
                  <a:pt x="471" y="258657"/>
                  <a:pt x="1225" y="253766"/>
                </a:cubicBezTo>
                <a:cubicBezTo>
                  <a:pt x="3391" y="120393"/>
                  <a:pt x="88263" y="941"/>
                  <a:pt x="221457" y="0"/>
                </a:cubicBezTo>
                <a:close/>
              </a:path>
            </a:pathLst>
          </a:custGeom>
          <a:solidFill>
            <a:schemeClr val="tx1">
              <a:lumMod val="75000"/>
              <a:lumOff val="25000"/>
            </a:schemeClr>
          </a:solidFill>
          <a:ln>
            <a:noFill/>
          </a:ln>
        </p:spPr>
      </p:sp>
      <p:sp>
        <p:nvSpPr>
          <p:cNvPr id="42" name="teenager-man_57114"/>
          <p:cNvSpPr>
            <a:spLocks noChangeAspect="1"/>
          </p:cNvSpPr>
          <p:nvPr/>
        </p:nvSpPr>
        <p:spPr bwMode="auto">
          <a:xfrm>
            <a:off x="8596021" y="2394893"/>
            <a:ext cx="447272" cy="609685"/>
          </a:xfrm>
          <a:custGeom>
            <a:avLst/>
            <a:gdLst>
              <a:gd name="connsiteX0" fmla="*/ 106548 w 443856"/>
              <a:gd name="connsiteY0" fmla="*/ 446679 h 605028"/>
              <a:gd name="connsiteX1" fmla="*/ 148183 w 443856"/>
              <a:gd name="connsiteY1" fmla="*/ 446773 h 605028"/>
              <a:gd name="connsiteX2" fmla="*/ 148560 w 443856"/>
              <a:gd name="connsiteY2" fmla="*/ 446773 h 605028"/>
              <a:gd name="connsiteX3" fmla="*/ 148937 w 443856"/>
              <a:gd name="connsiteY3" fmla="*/ 446773 h 605028"/>
              <a:gd name="connsiteX4" fmla="*/ 149408 w 443856"/>
              <a:gd name="connsiteY4" fmla="*/ 446773 h 605028"/>
              <a:gd name="connsiteX5" fmla="*/ 159770 w 443856"/>
              <a:gd name="connsiteY5" fmla="*/ 452889 h 605028"/>
              <a:gd name="connsiteX6" fmla="*/ 160241 w 443856"/>
              <a:gd name="connsiteY6" fmla="*/ 453641 h 605028"/>
              <a:gd name="connsiteX7" fmla="*/ 160241 w 443856"/>
              <a:gd name="connsiteY7" fmla="*/ 453736 h 605028"/>
              <a:gd name="connsiteX8" fmla="*/ 221658 w 443856"/>
              <a:gd name="connsiteY8" fmla="*/ 531075 h 605028"/>
              <a:gd name="connsiteX9" fmla="*/ 282981 w 443856"/>
              <a:gd name="connsiteY9" fmla="*/ 453736 h 605028"/>
              <a:gd name="connsiteX10" fmla="*/ 282981 w 443856"/>
              <a:gd name="connsiteY10" fmla="*/ 453641 h 605028"/>
              <a:gd name="connsiteX11" fmla="*/ 283452 w 443856"/>
              <a:gd name="connsiteY11" fmla="*/ 452889 h 605028"/>
              <a:gd name="connsiteX12" fmla="*/ 293814 w 443856"/>
              <a:gd name="connsiteY12" fmla="*/ 446773 h 605028"/>
              <a:gd name="connsiteX13" fmla="*/ 294285 w 443856"/>
              <a:gd name="connsiteY13" fmla="*/ 446773 h 605028"/>
              <a:gd name="connsiteX14" fmla="*/ 294662 w 443856"/>
              <a:gd name="connsiteY14" fmla="*/ 446773 h 605028"/>
              <a:gd name="connsiteX15" fmla="*/ 295039 w 443856"/>
              <a:gd name="connsiteY15" fmla="*/ 446773 h 605028"/>
              <a:gd name="connsiteX16" fmla="*/ 336674 w 443856"/>
              <a:gd name="connsiteY16" fmla="*/ 446679 h 605028"/>
              <a:gd name="connsiteX17" fmla="*/ 431155 w 443856"/>
              <a:gd name="connsiteY17" fmla="*/ 530229 h 605028"/>
              <a:gd name="connsiteX18" fmla="*/ 431155 w 443856"/>
              <a:gd name="connsiteY18" fmla="*/ 605028 h 605028"/>
              <a:gd name="connsiteX19" fmla="*/ 221752 w 443856"/>
              <a:gd name="connsiteY19" fmla="*/ 605028 h 605028"/>
              <a:gd name="connsiteX20" fmla="*/ 221658 w 443856"/>
              <a:gd name="connsiteY20" fmla="*/ 605028 h 605028"/>
              <a:gd name="connsiteX21" fmla="*/ 221470 w 443856"/>
              <a:gd name="connsiteY21" fmla="*/ 605028 h 605028"/>
              <a:gd name="connsiteX22" fmla="*/ 12067 w 443856"/>
              <a:gd name="connsiteY22" fmla="*/ 605028 h 605028"/>
              <a:gd name="connsiteX23" fmla="*/ 12067 w 443856"/>
              <a:gd name="connsiteY23" fmla="*/ 530229 h 605028"/>
              <a:gd name="connsiteX24" fmla="*/ 106548 w 443856"/>
              <a:gd name="connsiteY24" fmla="*/ 446679 h 605028"/>
              <a:gd name="connsiteX25" fmla="*/ 279853 w 443856"/>
              <a:gd name="connsiteY25" fmla="*/ 256624 h 605028"/>
              <a:gd name="connsiteX26" fmla="*/ 265057 w 443856"/>
              <a:gd name="connsiteY26" fmla="*/ 271395 h 605028"/>
              <a:gd name="connsiteX27" fmla="*/ 279853 w 443856"/>
              <a:gd name="connsiteY27" fmla="*/ 286261 h 605028"/>
              <a:gd name="connsiteX28" fmla="*/ 294743 w 443856"/>
              <a:gd name="connsiteY28" fmla="*/ 271395 h 605028"/>
              <a:gd name="connsiteX29" fmla="*/ 279853 w 443856"/>
              <a:gd name="connsiteY29" fmla="*/ 256624 h 605028"/>
              <a:gd name="connsiteX30" fmla="*/ 164004 w 443856"/>
              <a:gd name="connsiteY30" fmla="*/ 256624 h 605028"/>
              <a:gd name="connsiteX31" fmla="*/ 149114 w 443856"/>
              <a:gd name="connsiteY31" fmla="*/ 271395 h 605028"/>
              <a:gd name="connsiteX32" fmla="*/ 164004 w 443856"/>
              <a:gd name="connsiteY32" fmla="*/ 286261 h 605028"/>
              <a:gd name="connsiteX33" fmla="*/ 178800 w 443856"/>
              <a:gd name="connsiteY33" fmla="*/ 271395 h 605028"/>
              <a:gd name="connsiteX34" fmla="*/ 164004 w 443856"/>
              <a:gd name="connsiteY34" fmla="*/ 256624 h 605028"/>
              <a:gd name="connsiteX35" fmla="*/ 285790 w 443856"/>
              <a:gd name="connsiteY35" fmla="*/ 238935 h 605028"/>
              <a:gd name="connsiteX36" fmla="*/ 314722 w 443856"/>
              <a:gd name="connsiteY36" fmla="*/ 267820 h 605028"/>
              <a:gd name="connsiteX37" fmla="*/ 285790 w 443856"/>
              <a:gd name="connsiteY37" fmla="*/ 296799 h 605028"/>
              <a:gd name="connsiteX38" fmla="*/ 256858 w 443856"/>
              <a:gd name="connsiteY38" fmla="*/ 267820 h 605028"/>
              <a:gd name="connsiteX39" fmla="*/ 285790 w 443856"/>
              <a:gd name="connsiteY39" fmla="*/ 238935 h 605028"/>
              <a:gd name="connsiteX40" fmla="*/ 158067 w 443856"/>
              <a:gd name="connsiteY40" fmla="*/ 238935 h 605028"/>
              <a:gd name="connsiteX41" fmla="*/ 186999 w 443856"/>
              <a:gd name="connsiteY41" fmla="*/ 267820 h 605028"/>
              <a:gd name="connsiteX42" fmla="*/ 158067 w 443856"/>
              <a:gd name="connsiteY42" fmla="*/ 296799 h 605028"/>
              <a:gd name="connsiteX43" fmla="*/ 129135 w 443856"/>
              <a:gd name="connsiteY43" fmla="*/ 267820 h 605028"/>
              <a:gd name="connsiteX44" fmla="*/ 158067 w 443856"/>
              <a:gd name="connsiteY44" fmla="*/ 238935 h 605028"/>
              <a:gd name="connsiteX45" fmla="*/ 166446 w 443856"/>
              <a:gd name="connsiteY45" fmla="*/ 167892 h 605028"/>
              <a:gd name="connsiteX46" fmla="*/ 128673 w 443856"/>
              <a:gd name="connsiteY46" fmla="*/ 169679 h 605028"/>
              <a:gd name="connsiteX47" fmla="*/ 103428 w 443856"/>
              <a:gd name="connsiteY47" fmla="*/ 237118 h 605028"/>
              <a:gd name="connsiteX48" fmla="*/ 103334 w 443856"/>
              <a:gd name="connsiteY48" fmla="*/ 237400 h 605028"/>
              <a:gd name="connsiteX49" fmla="*/ 103146 w 443856"/>
              <a:gd name="connsiteY49" fmla="*/ 237871 h 605028"/>
              <a:gd name="connsiteX50" fmla="*/ 103051 w 443856"/>
              <a:gd name="connsiteY50" fmla="*/ 238153 h 605028"/>
              <a:gd name="connsiteX51" fmla="*/ 95233 w 443856"/>
              <a:gd name="connsiteY51" fmla="*/ 243514 h 605028"/>
              <a:gd name="connsiteX52" fmla="*/ 88357 w 443856"/>
              <a:gd name="connsiteY52" fmla="*/ 240034 h 605028"/>
              <a:gd name="connsiteX53" fmla="*/ 50301 w 443856"/>
              <a:gd name="connsiteY53" fmla="*/ 225455 h 605028"/>
              <a:gd name="connsiteX54" fmla="*/ 25904 w 443856"/>
              <a:gd name="connsiteY54" fmla="*/ 269192 h 605028"/>
              <a:gd name="connsiteX55" fmla="*/ 55765 w 443856"/>
              <a:gd name="connsiteY55" fmla="*/ 308319 h 605028"/>
              <a:gd name="connsiteX56" fmla="*/ 57554 w 443856"/>
              <a:gd name="connsiteY56" fmla="*/ 308225 h 605028"/>
              <a:gd name="connsiteX57" fmla="*/ 66786 w 443856"/>
              <a:gd name="connsiteY57" fmla="*/ 307473 h 605028"/>
              <a:gd name="connsiteX58" fmla="*/ 70648 w 443856"/>
              <a:gd name="connsiteY58" fmla="*/ 315092 h 605028"/>
              <a:gd name="connsiteX59" fmla="*/ 221928 w 443856"/>
              <a:gd name="connsiteY59" fmla="*/ 416673 h 605028"/>
              <a:gd name="connsiteX60" fmla="*/ 373208 w 443856"/>
              <a:gd name="connsiteY60" fmla="*/ 315092 h 605028"/>
              <a:gd name="connsiteX61" fmla="*/ 377165 w 443856"/>
              <a:gd name="connsiteY61" fmla="*/ 307473 h 605028"/>
              <a:gd name="connsiteX62" fmla="*/ 386302 w 443856"/>
              <a:gd name="connsiteY62" fmla="*/ 308225 h 605028"/>
              <a:gd name="connsiteX63" fmla="*/ 388186 w 443856"/>
              <a:gd name="connsiteY63" fmla="*/ 308319 h 605028"/>
              <a:gd name="connsiteX64" fmla="*/ 417952 w 443856"/>
              <a:gd name="connsiteY64" fmla="*/ 269192 h 605028"/>
              <a:gd name="connsiteX65" fmla="*/ 393555 w 443856"/>
              <a:gd name="connsiteY65" fmla="*/ 225455 h 605028"/>
              <a:gd name="connsiteX66" fmla="*/ 355593 w 443856"/>
              <a:gd name="connsiteY66" fmla="*/ 240034 h 605028"/>
              <a:gd name="connsiteX67" fmla="*/ 348717 w 443856"/>
              <a:gd name="connsiteY67" fmla="*/ 243514 h 605028"/>
              <a:gd name="connsiteX68" fmla="*/ 340805 w 443856"/>
              <a:gd name="connsiteY68" fmla="*/ 238153 h 605028"/>
              <a:gd name="connsiteX69" fmla="*/ 340710 w 443856"/>
              <a:gd name="connsiteY69" fmla="*/ 237871 h 605028"/>
              <a:gd name="connsiteX70" fmla="*/ 340522 w 443856"/>
              <a:gd name="connsiteY70" fmla="*/ 237400 h 605028"/>
              <a:gd name="connsiteX71" fmla="*/ 340428 w 443856"/>
              <a:gd name="connsiteY71" fmla="*/ 237118 h 605028"/>
              <a:gd name="connsiteX72" fmla="*/ 315183 w 443856"/>
              <a:gd name="connsiteY72" fmla="*/ 169679 h 605028"/>
              <a:gd name="connsiteX73" fmla="*/ 222399 w 443856"/>
              <a:gd name="connsiteY73" fmla="*/ 170620 h 605028"/>
              <a:gd name="connsiteX74" fmla="*/ 221928 w 443856"/>
              <a:gd name="connsiteY74" fmla="*/ 170620 h 605028"/>
              <a:gd name="connsiteX75" fmla="*/ 221457 w 443856"/>
              <a:gd name="connsiteY75" fmla="*/ 170620 h 605028"/>
              <a:gd name="connsiteX76" fmla="*/ 166446 w 443856"/>
              <a:gd name="connsiteY76" fmla="*/ 167892 h 605028"/>
              <a:gd name="connsiteX77" fmla="*/ 221457 w 443856"/>
              <a:gd name="connsiteY77" fmla="*/ 0 h 605028"/>
              <a:gd name="connsiteX78" fmla="*/ 221928 w 443856"/>
              <a:gd name="connsiteY78" fmla="*/ 0 h 605028"/>
              <a:gd name="connsiteX79" fmla="*/ 222399 w 443856"/>
              <a:gd name="connsiteY79" fmla="*/ 0 h 605028"/>
              <a:gd name="connsiteX80" fmla="*/ 442726 w 443856"/>
              <a:gd name="connsiteY80" fmla="*/ 253766 h 605028"/>
              <a:gd name="connsiteX81" fmla="*/ 443856 w 443856"/>
              <a:gd name="connsiteY81" fmla="*/ 269192 h 605028"/>
              <a:gd name="connsiteX82" fmla="*/ 430292 w 443856"/>
              <a:gd name="connsiteY82" fmla="*/ 315186 h 605028"/>
              <a:gd name="connsiteX83" fmla="*/ 392330 w 443856"/>
              <a:gd name="connsiteY83" fmla="*/ 333997 h 605028"/>
              <a:gd name="connsiteX84" fmla="*/ 324979 w 443856"/>
              <a:gd name="connsiteY84" fmla="*/ 407456 h 605028"/>
              <a:gd name="connsiteX85" fmla="*/ 222399 w 443856"/>
              <a:gd name="connsiteY85" fmla="*/ 442445 h 605028"/>
              <a:gd name="connsiteX86" fmla="*/ 221928 w 443856"/>
              <a:gd name="connsiteY86" fmla="*/ 442445 h 605028"/>
              <a:gd name="connsiteX87" fmla="*/ 221457 w 443856"/>
              <a:gd name="connsiteY87" fmla="*/ 442445 h 605028"/>
              <a:gd name="connsiteX88" fmla="*/ 118971 w 443856"/>
              <a:gd name="connsiteY88" fmla="*/ 407456 h 605028"/>
              <a:gd name="connsiteX89" fmla="*/ 51526 w 443856"/>
              <a:gd name="connsiteY89" fmla="*/ 333997 h 605028"/>
              <a:gd name="connsiteX90" fmla="*/ 13564 w 443856"/>
              <a:gd name="connsiteY90" fmla="*/ 315186 h 605028"/>
              <a:gd name="connsiteX91" fmla="*/ 0 w 443856"/>
              <a:gd name="connsiteY91" fmla="*/ 269192 h 605028"/>
              <a:gd name="connsiteX92" fmla="*/ 1225 w 443856"/>
              <a:gd name="connsiteY92" fmla="*/ 253766 h 605028"/>
              <a:gd name="connsiteX93" fmla="*/ 221457 w 443856"/>
              <a:gd name="connsiteY93" fmla="*/ 0 h 6050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Lst>
            <a:rect l="l" t="t" r="r" b="b"/>
            <a:pathLst>
              <a:path w="443856" h="605028">
                <a:moveTo>
                  <a:pt x="106548" y="446679"/>
                </a:moveTo>
                <a:cubicBezTo>
                  <a:pt x="115497" y="446679"/>
                  <a:pt x="142343" y="446773"/>
                  <a:pt x="148183" y="446773"/>
                </a:cubicBezTo>
                <a:cubicBezTo>
                  <a:pt x="148372" y="446773"/>
                  <a:pt x="148466" y="446773"/>
                  <a:pt x="148560" y="446773"/>
                </a:cubicBezTo>
                <a:cubicBezTo>
                  <a:pt x="148654" y="446773"/>
                  <a:pt x="148843" y="446773"/>
                  <a:pt x="148937" y="446773"/>
                </a:cubicBezTo>
                <a:cubicBezTo>
                  <a:pt x="149220" y="446773"/>
                  <a:pt x="149408" y="446773"/>
                  <a:pt x="149408" y="446773"/>
                </a:cubicBezTo>
                <a:cubicBezTo>
                  <a:pt x="153835" y="447055"/>
                  <a:pt x="157509" y="449408"/>
                  <a:pt x="159770" y="452889"/>
                </a:cubicBezTo>
                <a:cubicBezTo>
                  <a:pt x="159770" y="452889"/>
                  <a:pt x="159958" y="453171"/>
                  <a:pt x="160241" y="453641"/>
                </a:cubicBezTo>
                <a:cubicBezTo>
                  <a:pt x="160241" y="453641"/>
                  <a:pt x="160241" y="453736"/>
                  <a:pt x="160241" y="453736"/>
                </a:cubicBezTo>
                <a:cubicBezTo>
                  <a:pt x="165139" y="462015"/>
                  <a:pt x="205927" y="530605"/>
                  <a:pt x="221658" y="531075"/>
                </a:cubicBezTo>
                <a:cubicBezTo>
                  <a:pt x="237295" y="530605"/>
                  <a:pt x="278083" y="462015"/>
                  <a:pt x="282981" y="453736"/>
                </a:cubicBezTo>
                <a:cubicBezTo>
                  <a:pt x="282981" y="453736"/>
                  <a:pt x="282981" y="453641"/>
                  <a:pt x="282981" y="453641"/>
                </a:cubicBezTo>
                <a:cubicBezTo>
                  <a:pt x="283264" y="453171"/>
                  <a:pt x="283452" y="452889"/>
                  <a:pt x="283452" y="452889"/>
                </a:cubicBezTo>
                <a:cubicBezTo>
                  <a:pt x="285713" y="449408"/>
                  <a:pt x="289387" y="447055"/>
                  <a:pt x="293814" y="446773"/>
                </a:cubicBezTo>
                <a:cubicBezTo>
                  <a:pt x="293814" y="446773"/>
                  <a:pt x="294002" y="446773"/>
                  <a:pt x="294285" y="446773"/>
                </a:cubicBezTo>
                <a:cubicBezTo>
                  <a:pt x="294473" y="446773"/>
                  <a:pt x="294568" y="446773"/>
                  <a:pt x="294662" y="446773"/>
                </a:cubicBezTo>
                <a:cubicBezTo>
                  <a:pt x="294756" y="446773"/>
                  <a:pt x="294850" y="446773"/>
                  <a:pt x="295039" y="446773"/>
                </a:cubicBezTo>
                <a:cubicBezTo>
                  <a:pt x="300879" y="446773"/>
                  <a:pt x="327725" y="446679"/>
                  <a:pt x="336674" y="446679"/>
                </a:cubicBezTo>
                <a:cubicBezTo>
                  <a:pt x="377085" y="446679"/>
                  <a:pt x="431155" y="483373"/>
                  <a:pt x="431155" y="530229"/>
                </a:cubicBezTo>
                <a:lnTo>
                  <a:pt x="431155" y="605028"/>
                </a:lnTo>
                <a:lnTo>
                  <a:pt x="221752" y="605028"/>
                </a:lnTo>
                <a:lnTo>
                  <a:pt x="221658" y="605028"/>
                </a:lnTo>
                <a:lnTo>
                  <a:pt x="221470" y="605028"/>
                </a:lnTo>
                <a:lnTo>
                  <a:pt x="12067" y="605028"/>
                </a:lnTo>
                <a:lnTo>
                  <a:pt x="12067" y="530229"/>
                </a:lnTo>
                <a:cubicBezTo>
                  <a:pt x="12067" y="483373"/>
                  <a:pt x="66137" y="446679"/>
                  <a:pt x="106548" y="446679"/>
                </a:cubicBezTo>
                <a:close/>
                <a:moveTo>
                  <a:pt x="279853" y="256624"/>
                </a:moveTo>
                <a:cubicBezTo>
                  <a:pt x="271654" y="256624"/>
                  <a:pt x="265057" y="263304"/>
                  <a:pt x="265057" y="271395"/>
                </a:cubicBezTo>
                <a:cubicBezTo>
                  <a:pt x="265057" y="279581"/>
                  <a:pt x="271654" y="286261"/>
                  <a:pt x="279853" y="286261"/>
                </a:cubicBezTo>
                <a:cubicBezTo>
                  <a:pt x="288052" y="286261"/>
                  <a:pt x="294743" y="279581"/>
                  <a:pt x="294743" y="271395"/>
                </a:cubicBezTo>
                <a:cubicBezTo>
                  <a:pt x="294743" y="263304"/>
                  <a:pt x="288052" y="256624"/>
                  <a:pt x="279853" y="256624"/>
                </a:cubicBezTo>
                <a:close/>
                <a:moveTo>
                  <a:pt x="164004" y="256624"/>
                </a:moveTo>
                <a:cubicBezTo>
                  <a:pt x="155805" y="256624"/>
                  <a:pt x="149114" y="263304"/>
                  <a:pt x="149114" y="271395"/>
                </a:cubicBezTo>
                <a:cubicBezTo>
                  <a:pt x="149114" y="279581"/>
                  <a:pt x="155805" y="286261"/>
                  <a:pt x="164004" y="286261"/>
                </a:cubicBezTo>
                <a:cubicBezTo>
                  <a:pt x="172203" y="286261"/>
                  <a:pt x="178800" y="279581"/>
                  <a:pt x="178800" y="271395"/>
                </a:cubicBezTo>
                <a:cubicBezTo>
                  <a:pt x="178800" y="263304"/>
                  <a:pt x="172203" y="256624"/>
                  <a:pt x="164004" y="256624"/>
                </a:cubicBezTo>
                <a:close/>
                <a:moveTo>
                  <a:pt x="285790" y="238935"/>
                </a:moveTo>
                <a:cubicBezTo>
                  <a:pt x="301811" y="238935"/>
                  <a:pt x="314722" y="251919"/>
                  <a:pt x="314722" y="267820"/>
                </a:cubicBezTo>
                <a:cubicBezTo>
                  <a:pt x="314722" y="283815"/>
                  <a:pt x="301811" y="296799"/>
                  <a:pt x="285790" y="296799"/>
                </a:cubicBezTo>
                <a:cubicBezTo>
                  <a:pt x="269863" y="296799"/>
                  <a:pt x="256858" y="283815"/>
                  <a:pt x="256858" y="267820"/>
                </a:cubicBezTo>
                <a:cubicBezTo>
                  <a:pt x="256858" y="251919"/>
                  <a:pt x="269863" y="238935"/>
                  <a:pt x="285790" y="238935"/>
                </a:cubicBezTo>
                <a:close/>
                <a:moveTo>
                  <a:pt x="158067" y="238935"/>
                </a:moveTo>
                <a:cubicBezTo>
                  <a:pt x="173994" y="238935"/>
                  <a:pt x="186999" y="251919"/>
                  <a:pt x="186999" y="267820"/>
                </a:cubicBezTo>
                <a:cubicBezTo>
                  <a:pt x="186999" y="283815"/>
                  <a:pt x="173994" y="296799"/>
                  <a:pt x="158067" y="296799"/>
                </a:cubicBezTo>
                <a:cubicBezTo>
                  <a:pt x="142046" y="296799"/>
                  <a:pt x="129135" y="283815"/>
                  <a:pt x="129135" y="267820"/>
                </a:cubicBezTo>
                <a:cubicBezTo>
                  <a:pt x="129135" y="251919"/>
                  <a:pt x="142046" y="238935"/>
                  <a:pt x="158067" y="238935"/>
                </a:cubicBezTo>
                <a:close/>
                <a:moveTo>
                  <a:pt x="166446" y="167892"/>
                </a:moveTo>
                <a:cubicBezTo>
                  <a:pt x="150362" y="167022"/>
                  <a:pt x="137151" y="166905"/>
                  <a:pt x="128673" y="169679"/>
                </a:cubicBezTo>
                <a:cubicBezTo>
                  <a:pt x="110776" y="175417"/>
                  <a:pt x="109080" y="211064"/>
                  <a:pt x="103428" y="237118"/>
                </a:cubicBezTo>
                <a:cubicBezTo>
                  <a:pt x="103428" y="237212"/>
                  <a:pt x="103334" y="237306"/>
                  <a:pt x="103334" y="237400"/>
                </a:cubicBezTo>
                <a:cubicBezTo>
                  <a:pt x="103240" y="237588"/>
                  <a:pt x="103240" y="237683"/>
                  <a:pt x="103146" y="237871"/>
                </a:cubicBezTo>
                <a:cubicBezTo>
                  <a:pt x="103146" y="237965"/>
                  <a:pt x="103146" y="238059"/>
                  <a:pt x="103051" y="238153"/>
                </a:cubicBezTo>
                <a:cubicBezTo>
                  <a:pt x="101827" y="241257"/>
                  <a:pt x="98718" y="243514"/>
                  <a:pt x="95233" y="243514"/>
                </a:cubicBezTo>
                <a:cubicBezTo>
                  <a:pt x="92407" y="243514"/>
                  <a:pt x="89864" y="242103"/>
                  <a:pt x="88357" y="240034"/>
                </a:cubicBezTo>
                <a:cubicBezTo>
                  <a:pt x="76771" y="225831"/>
                  <a:pt x="67916" y="223010"/>
                  <a:pt x="50301" y="225455"/>
                </a:cubicBezTo>
                <a:cubicBezTo>
                  <a:pt x="28918" y="228465"/>
                  <a:pt x="25904" y="260444"/>
                  <a:pt x="25904" y="269192"/>
                </a:cubicBezTo>
                <a:cubicBezTo>
                  <a:pt x="25904" y="295151"/>
                  <a:pt x="35889" y="308319"/>
                  <a:pt x="55765" y="308319"/>
                </a:cubicBezTo>
                <a:cubicBezTo>
                  <a:pt x="56141" y="308319"/>
                  <a:pt x="56895" y="308225"/>
                  <a:pt x="57554" y="308225"/>
                </a:cubicBezTo>
                <a:lnTo>
                  <a:pt x="66786" y="307473"/>
                </a:lnTo>
                <a:lnTo>
                  <a:pt x="70648" y="315092"/>
                </a:lnTo>
                <a:cubicBezTo>
                  <a:pt x="95610" y="363437"/>
                  <a:pt x="153353" y="415357"/>
                  <a:pt x="221928" y="416673"/>
                </a:cubicBezTo>
                <a:cubicBezTo>
                  <a:pt x="290503" y="415357"/>
                  <a:pt x="348246" y="363437"/>
                  <a:pt x="373208" y="315092"/>
                </a:cubicBezTo>
                <a:lnTo>
                  <a:pt x="377165" y="307473"/>
                </a:lnTo>
                <a:lnTo>
                  <a:pt x="386302" y="308225"/>
                </a:lnTo>
                <a:cubicBezTo>
                  <a:pt x="387055" y="308225"/>
                  <a:pt x="387715" y="308319"/>
                  <a:pt x="388186" y="308319"/>
                </a:cubicBezTo>
                <a:cubicBezTo>
                  <a:pt x="407967" y="308319"/>
                  <a:pt x="417952" y="295151"/>
                  <a:pt x="417952" y="269192"/>
                </a:cubicBezTo>
                <a:cubicBezTo>
                  <a:pt x="417952" y="260444"/>
                  <a:pt x="414938" y="228465"/>
                  <a:pt x="393555" y="225455"/>
                </a:cubicBezTo>
                <a:cubicBezTo>
                  <a:pt x="375940" y="223010"/>
                  <a:pt x="367180" y="225831"/>
                  <a:pt x="355593" y="240034"/>
                </a:cubicBezTo>
                <a:cubicBezTo>
                  <a:pt x="353992" y="242103"/>
                  <a:pt x="351543" y="243514"/>
                  <a:pt x="348717" y="243514"/>
                </a:cubicBezTo>
                <a:cubicBezTo>
                  <a:pt x="345138" y="243514"/>
                  <a:pt x="342029" y="241257"/>
                  <a:pt x="340805" y="238153"/>
                </a:cubicBezTo>
                <a:cubicBezTo>
                  <a:pt x="340805" y="238059"/>
                  <a:pt x="340710" y="237965"/>
                  <a:pt x="340710" y="237871"/>
                </a:cubicBezTo>
                <a:cubicBezTo>
                  <a:pt x="340616" y="237683"/>
                  <a:pt x="340616" y="237588"/>
                  <a:pt x="340522" y="237400"/>
                </a:cubicBezTo>
                <a:cubicBezTo>
                  <a:pt x="340522" y="237306"/>
                  <a:pt x="340428" y="237212"/>
                  <a:pt x="340428" y="237118"/>
                </a:cubicBezTo>
                <a:cubicBezTo>
                  <a:pt x="334776" y="211064"/>
                  <a:pt x="333080" y="175417"/>
                  <a:pt x="315183" y="169679"/>
                </a:cubicBezTo>
                <a:cubicBezTo>
                  <a:pt x="298228" y="164130"/>
                  <a:pt x="262339" y="170149"/>
                  <a:pt x="222399" y="170620"/>
                </a:cubicBezTo>
                <a:cubicBezTo>
                  <a:pt x="222211" y="170620"/>
                  <a:pt x="222116" y="170620"/>
                  <a:pt x="221928" y="170620"/>
                </a:cubicBezTo>
                <a:cubicBezTo>
                  <a:pt x="221740" y="170620"/>
                  <a:pt x="221645" y="170620"/>
                  <a:pt x="221457" y="170620"/>
                </a:cubicBezTo>
                <a:cubicBezTo>
                  <a:pt x="201488" y="170385"/>
                  <a:pt x="182530" y="168762"/>
                  <a:pt x="166446" y="167892"/>
                </a:cubicBezTo>
                <a:close/>
                <a:moveTo>
                  <a:pt x="221457" y="0"/>
                </a:moveTo>
                <a:cubicBezTo>
                  <a:pt x="221645" y="0"/>
                  <a:pt x="221740" y="0"/>
                  <a:pt x="221928" y="0"/>
                </a:cubicBezTo>
                <a:cubicBezTo>
                  <a:pt x="222116" y="0"/>
                  <a:pt x="222211" y="0"/>
                  <a:pt x="222399" y="0"/>
                </a:cubicBezTo>
                <a:cubicBezTo>
                  <a:pt x="355688" y="941"/>
                  <a:pt x="440465" y="120393"/>
                  <a:pt x="442726" y="253766"/>
                </a:cubicBezTo>
                <a:cubicBezTo>
                  <a:pt x="443479" y="258657"/>
                  <a:pt x="443856" y="263830"/>
                  <a:pt x="443856" y="269192"/>
                </a:cubicBezTo>
                <a:cubicBezTo>
                  <a:pt x="443856" y="288379"/>
                  <a:pt x="439335" y="303899"/>
                  <a:pt x="430292" y="315186"/>
                </a:cubicBezTo>
                <a:cubicBezTo>
                  <a:pt x="421249" y="326567"/>
                  <a:pt x="408250" y="333057"/>
                  <a:pt x="392330" y="333997"/>
                </a:cubicBezTo>
                <a:cubicBezTo>
                  <a:pt x="376223" y="362496"/>
                  <a:pt x="352485" y="388362"/>
                  <a:pt x="324979" y="407456"/>
                </a:cubicBezTo>
                <a:cubicBezTo>
                  <a:pt x="292858" y="429747"/>
                  <a:pt x="257534" y="441787"/>
                  <a:pt x="222399" y="442445"/>
                </a:cubicBezTo>
                <a:cubicBezTo>
                  <a:pt x="222211" y="442445"/>
                  <a:pt x="222116" y="442445"/>
                  <a:pt x="221928" y="442445"/>
                </a:cubicBezTo>
                <a:cubicBezTo>
                  <a:pt x="221740" y="442445"/>
                  <a:pt x="221645" y="442445"/>
                  <a:pt x="221457" y="442445"/>
                </a:cubicBezTo>
                <a:cubicBezTo>
                  <a:pt x="186416" y="441787"/>
                  <a:pt x="150998" y="429747"/>
                  <a:pt x="118971" y="407456"/>
                </a:cubicBezTo>
                <a:cubicBezTo>
                  <a:pt x="91371" y="388362"/>
                  <a:pt x="67633" y="362496"/>
                  <a:pt x="51526" y="333997"/>
                </a:cubicBezTo>
                <a:cubicBezTo>
                  <a:pt x="35606" y="333057"/>
                  <a:pt x="22607" y="326567"/>
                  <a:pt x="13564" y="315186"/>
                </a:cubicBezTo>
                <a:cubicBezTo>
                  <a:pt x="4616" y="303899"/>
                  <a:pt x="0" y="288379"/>
                  <a:pt x="0" y="269192"/>
                </a:cubicBezTo>
                <a:cubicBezTo>
                  <a:pt x="0" y="263830"/>
                  <a:pt x="471" y="258657"/>
                  <a:pt x="1225" y="253766"/>
                </a:cubicBezTo>
                <a:cubicBezTo>
                  <a:pt x="3391" y="120393"/>
                  <a:pt x="88263" y="941"/>
                  <a:pt x="221457" y="0"/>
                </a:cubicBezTo>
                <a:close/>
              </a:path>
            </a:pathLst>
          </a:custGeom>
          <a:solidFill>
            <a:srgbClr val="00B0F0"/>
          </a:solidFill>
          <a:ln>
            <a:noFill/>
          </a:ln>
        </p:spPr>
      </p:sp>
    </p:spTree>
    <p:extLst>
      <p:ext uri="{BB962C8B-B14F-4D97-AF65-F5344CB8AC3E}">
        <p14:creationId xmlns:p14="http://schemas.microsoft.com/office/powerpoint/2010/main" val="1755197573"/>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smtClean="0"/>
              <a:t>移动</a:t>
            </a:r>
            <a:r>
              <a:rPr lang="en-US" altLang="zh-CN" dirty="0" smtClean="0"/>
              <a:t>APP</a:t>
            </a:r>
            <a:r>
              <a:rPr lang="zh-CN" altLang="en-US" dirty="0" smtClean="0"/>
              <a:t>运行图</a:t>
            </a:r>
            <a:endParaRPr lang="zh-CN" altLang="en-US" dirty="0"/>
          </a:p>
        </p:txBody>
      </p:sp>
      <p:grpSp>
        <p:nvGrpSpPr>
          <p:cNvPr id="58" name="9ca43a9b-d4bf-4d81-ae3d-b0040c4935ff"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p:cNvGrpSpPr>
            <a:grpSpLocks noChangeAspect="1"/>
          </p:cNvGrpSpPr>
          <p:nvPr/>
        </p:nvGrpSpPr>
        <p:grpSpPr>
          <a:xfrm>
            <a:off x="669926" y="4206340"/>
            <a:ext cx="7929560" cy="2140448"/>
            <a:chOff x="4852591" y="1870176"/>
            <a:chExt cx="12257706" cy="3308755"/>
          </a:xfrm>
        </p:grpSpPr>
        <p:grpSp>
          <p:nvGrpSpPr>
            <p:cNvPr id="59" name="îṩḻîḓe">
              <a:extLst>
                <a:ext uri="{FF2B5EF4-FFF2-40B4-BE49-F238E27FC236}">
                  <a16:creationId xmlns:a16="http://schemas.microsoft.com/office/drawing/2014/main" id="{44B43AFB-455A-45CF-9F69-32BCD5B75106}"/>
                </a:ext>
              </a:extLst>
            </p:cNvPr>
            <p:cNvGrpSpPr/>
            <p:nvPr/>
          </p:nvGrpSpPr>
          <p:grpSpPr>
            <a:xfrm>
              <a:off x="4852591" y="2024844"/>
              <a:ext cx="3145231" cy="3154087"/>
              <a:chOff x="1600200" y="1175013"/>
              <a:chExt cx="4495317" cy="4507975"/>
            </a:xfrm>
          </p:grpSpPr>
          <p:sp>
            <p:nvSpPr>
              <p:cNvPr id="68" name="ïṥḷíḋé">
                <a:extLst>
                  <a:ext uri="{FF2B5EF4-FFF2-40B4-BE49-F238E27FC236}">
                    <a16:creationId xmlns:a16="http://schemas.microsoft.com/office/drawing/2014/main" id="{52B27154-A12E-45BC-8BB9-77384DEBD12A}"/>
                  </a:ext>
                </a:extLst>
              </p:cNvPr>
              <p:cNvSpPr/>
              <p:nvPr/>
            </p:nvSpPr>
            <p:spPr>
              <a:xfrm>
                <a:off x="1600200" y="1175016"/>
                <a:ext cx="4495317" cy="4507972"/>
              </a:xfrm>
              <a:custGeom>
                <a:avLst/>
                <a:gdLst>
                  <a:gd name="connsiteX0" fmla="*/ 278 w 3903784"/>
                  <a:gd name="connsiteY0" fmla="*/ 0 h 3914774"/>
                  <a:gd name="connsiteX1" fmla="*/ 968133 w 3903784"/>
                  <a:gd name="connsiteY1" fmla="*/ 0 h 3914774"/>
                  <a:gd name="connsiteX2" fmla="*/ 3603633 w 3903784"/>
                  <a:gd name="connsiteY2" fmla="*/ 2920497 h 3914774"/>
                  <a:gd name="connsiteX3" fmla="*/ 3903784 w 3903784"/>
                  <a:gd name="connsiteY3" fmla="*/ 2935654 h 3914774"/>
                  <a:gd name="connsiteX4" fmla="*/ 3903784 w 3903784"/>
                  <a:gd name="connsiteY4" fmla="*/ 3914774 h 3914774"/>
                  <a:gd name="connsiteX5" fmla="*/ 0 w 3903784"/>
                  <a:gd name="connsiteY5" fmla="*/ 10990 h 39147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03784" h="3914774">
                    <a:moveTo>
                      <a:pt x="278" y="0"/>
                    </a:moveTo>
                    <a:lnTo>
                      <a:pt x="968133" y="0"/>
                    </a:lnTo>
                    <a:cubicBezTo>
                      <a:pt x="968133" y="1519985"/>
                      <a:pt x="2123310" y="2770164"/>
                      <a:pt x="3603633" y="2920497"/>
                    </a:cubicBezTo>
                    <a:lnTo>
                      <a:pt x="3903784" y="2935654"/>
                    </a:lnTo>
                    <a:lnTo>
                      <a:pt x="3903784" y="3914774"/>
                    </a:lnTo>
                    <a:cubicBezTo>
                      <a:pt x="1747784" y="3914774"/>
                      <a:pt x="0" y="2166990"/>
                      <a:pt x="0" y="10990"/>
                    </a:cubicBezTo>
                    <a:close/>
                  </a:path>
                </a:pathLst>
              </a:custGeom>
              <a:solidFill>
                <a:schemeClr val="tx1">
                  <a:lumMod val="75000"/>
                  <a:lumOff val="25000"/>
                </a:schemeClr>
              </a:solidFill>
              <a:ln w="76200">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a:p>
            </p:txBody>
          </p:sp>
          <p:sp>
            <p:nvSpPr>
              <p:cNvPr id="69" name="išḷïďé">
                <a:extLst>
                  <a:ext uri="{FF2B5EF4-FFF2-40B4-BE49-F238E27FC236}">
                    <a16:creationId xmlns:a16="http://schemas.microsoft.com/office/drawing/2014/main" id="{9FE0CC70-825D-4922-9A9C-4E5A1FCBD30A}"/>
                  </a:ext>
                </a:extLst>
              </p:cNvPr>
              <p:cNvSpPr/>
              <p:nvPr/>
            </p:nvSpPr>
            <p:spPr>
              <a:xfrm rot="10800000">
                <a:off x="2936645" y="1175016"/>
                <a:ext cx="3158872" cy="3158870"/>
              </a:xfrm>
              <a:custGeom>
                <a:avLst/>
                <a:gdLst>
                  <a:gd name="connsiteX0" fmla="*/ 0 w 1698172"/>
                  <a:gd name="connsiteY0" fmla="*/ 0 h 1698171"/>
                  <a:gd name="connsiteX1" fmla="*/ 1689405 w 1698172"/>
                  <a:gd name="connsiteY1" fmla="*/ 1524544 h 1698171"/>
                  <a:gd name="connsiteX2" fmla="*/ 1698172 w 1698172"/>
                  <a:gd name="connsiteY2" fmla="*/ 1698171 h 1698171"/>
                  <a:gd name="connsiteX3" fmla="*/ 1088118 w 1698172"/>
                  <a:gd name="connsiteY3" fmla="*/ 1698171 h 1698171"/>
                  <a:gd name="connsiteX4" fmla="*/ 111253 w 1698172"/>
                  <a:gd name="connsiteY4" fmla="*/ 615670 h 1698171"/>
                  <a:gd name="connsiteX5" fmla="*/ 0 w 1698172"/>
                  <a:gd name="connsiteY5" fmla="*/ 610052 h 1698171"/>
                  <a:gd name="connsiteX6" fmla="*/ 0 w 1698172"/>
                  <a:gd name="connsiteY6" fmla="*/ 0 h 16981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98172" h="1698171">
                    <a:moveTo>
                      <a:pt x="0" y="0"/>
                    </a:moveTo>
                    <a:cubicBezTo>
                      <a:pt x="879257" y="0"/>
                      <a:pt x="1602441" y="668231"/>
                      <a:pt x="1689405" y="1524544"/>
                    </a:cubicBezTo>
                    <a:lnTo>
                      <a:pt x="1698172" y="1698171"/>
                    </a:lnTo>
                    <a:lnTo>
                      <a:pt x="1088118" y="1698171"/>
                    </a:lnTo>
                    <a:cubicBezTo>
                      <a:pt x="1088118" y="1134779"/>
                      <a:pt x="659944" y="671392"/>
                      <a:pt x="111253" y="615670"/>
                    </a:cubicBezTo>
                    <a:lnTo>
                      <a:pt x="0" y="610052"/>
                    </a:lnTo>
                    <a:lnTo>
                      <a:pt x="0" y="0"/>
                    </a:lnTo>
                    <a:close/>
                  </a:path>
                </a:pathLst>
              </a:custGeom>
              <a:solidFill>
                <a:srgbClr val="00B0F0"/>
              </a:solidFill>
              <a:ln w="76200">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a:p>
            </p:txBody>
          </p:sp>
          <p:sp>
            <p:nvSpPr>
              <p:cNvPr id="70" name="ïśḷiḑè">
                <a:extLst>
                  <a:ext uri="{FF2B5EF4-FFF2-40B4-BE49-F238E27FC236}">
                    <a16:creationId xmlns:a16="http://schemas.microsoft.com/office/drawing/2014/main" id="{3E020380-3B2E-4426-84F2-A68A871480B4}"/>
                  </a:ext>
                </a:extLst>
              </p:cNvPr>
              <p:cNvSpPr/>
              <p:nvPr/>
            </p:nvSpPr>
            <p:spPr>
              <a:xfrm>
                <a:off x="4386019" y="1175013"/>
                <a:ext cx="1709497" cy="1799649"/>
              </a:xfrm>
              <a:custGeom>
                <a:avLst/>
                <a:gdLst>
                  <a:gd name="connsiteX0" fmla="*/ 4607 w 1484547"/>
                  <a:gd name="connsiteY0" fmla="*/ 0 h 1562836"/>
                  <a:gd name="connsiteX1" fmla="*/ 1484547 w 1484547"/>
                  <a:gd name="connsiteY1" fmla="*/ 0 h 1562836"/>
                  <a:gd name="connsiteX2" fmla="*/ 1484547 w 1484547"/>
                  <a:gd name="connsiteY2" fmla="*/ 1562183 h 1562836"/>
                  <a:gd name="connsiteX3" fmla="*/ 1471613 w 1484547"/>
                  <a:gd name="connsiteY3" fmla="*/ 1562836 h 1562836"/>
                  <a:gd name="connsiteX4" fmla="*/ 0 w 1484547"/>
                  <a:gd name="connsiteY4" fmla="*/ 91223 h 1562836"/>
                  <a:gd name="connsiteX5" fmla="*/ 4607 w 1484547"/>
                  <a:gd name="connsiteY5" fmla="*/ 0 h 15628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84547" h="1562836">
                    <a:moveTo>
                      <a:pt x="4607" y="0"/>
                    </a:moveTo>
                    <a:lnTo>
                      <a:pt x="1484547" y="0"/>
                    </a:lnTo>
                    <a:lnTo>
                      <a:pt x="1484547" y="1562183"/>
                    </a:lnTo>
                    <a:lnTo>
                      <a:pt x="1471613" y="1562836"/>
                    </a:lnTo>
                    <a:cubicBezTo>
                      <a:pt x="658864" y="1562836"/>
                      <a:pt x="0" y="903972"/>
                      <a:pt x="0" y="91223"/>
                    </a:cubicBezTo>
                    <a:lnTo>
                      <a:pt x="4607" y="0"/>
                    </a:lnTo>
                    <a:close/>
                  </a:path>
                </a:pathLst>
              </a:custGeom>
              <a:solidFill>
                <a:schemeClr val="accent1"/>
              </a:solidFill>
              <a:ln w="76200">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a:p>
            </p:txBody>
          </p:sp>
          <p:sp>
            <p:nvSpPr>
              <p:cNvPr id="71" name="îṧļídê">
                <a:extLst>
                  <a:ext uri="{FF2B5EF4-FFF2-40B4-BE49-F238E27FC236}">
                    <a16:creationId xmlns:a16="http://schemas.microsoft.com/office/drawing/2014/main" id="{05527E73-FE12-403F-8801-06420DCBDD11}"/>
                  </a:ext>
                </a:extLst>
              </p:cNvPr>
              <p:cNvSpPr/>
              <p:nvPr/>
            </p:nvSpPr>
            <p:spPr bwMode="auto">
              <a:xfrm>
                <a:off x="5222685" y="3322380"/>
                <a:ext cx="604436" cy="738494"/>
              </a:xfrm>
              <a:custGeom>
                <a:avLst/>
                <a:gdLst>
                  <a:gd name="connsiteX0" fmla="*/ 223098 w 516248"/>
                  <a:gd name="connsiteY0" fmla="*/ 439119 h 607788"/>
                  <a:gd name="connsiteX1" fmla="*/ 213935 w 516248"/>
                  <a:gd name="connsiteY1" fmla="*/ 448396 h 607788"/>
                  <a:gd name="connsiteX2" fmla="*/ 213935 w 516248"/>
                  <a:gd name="connsiteY2" fmla="*/ 487697 h 607788"/>
                  <a:gd name="connsiteX3" fmla="*/ 223098 w 516248"/>
                  <a:gd name="connsiteY3" fmla="*/ 496846 h 607788"/>
                  <a:gd name="connsiteX4" fmla="*/ 232391 w 516248"/>
                  <a:gd name="connsiteY4" fmla="*/ 487697 h 607788"/>
                  <a:gd name="connsiteX5" fmla="*/ 232391 w 516248"/>
                  <a:gd name="connsiteY5" fmla="*/ 448396 h 607788"/>
                  <a:gd name="connsiteX6" fmla="*/ 223098 w 516248"/>
                  <a:gd name="connsiteY6" fmla="*/ 439119 h 607788"/>
                  <a:gd name="connsiteX7" fmla="*/ 289071 w 516248"/>
                  <a:gd name="connsiteY7" fmla="*/ 367583 h 607788"/>
                  <a:gd name="connsiteX8" fmla="*/ 307524 w 516248"/>
                  <a:gd name="connsiteY8" fmla="*/ 386071 h 607788"/>
                  <a:gd name="connsiteX9" fmla="*/ 289071 w 516248"/>
                  <a:gd name="connsiteY9" fmla="*/ 404559 h 607788"/>
                  <a:gd name="connsiteX10" fmla="*/ 270618 w 516248"/>
                  <a:gd name="connsiteY10" fmla="*/ 386071 h 607788"/>
                  <a:gd name="connsiteX11" fmla="*/ 289071 w 516248"/>
                  <a:gd name="connsiteY11" fmla="*/ 367583 h 607788"/>
                  <a:gd name="connsiteX12" fmla="*/ 150340 w 516248"/>
                  <a:gd name="connsiteY12" fmla="*/ 367583 h 607788"/>
                  <a:gd name="connsiteX13" fmla="*/ 168793 w 516248"/>
                  <a:gd name="connsiteY13" fmla="*/ 386071 h 607788"/>
                  <a:gd name="connsiteX14" fmla="*/ 150340 w 516248"/>
                  <a:gd name="connsiteY14" fmla="*/ 404559 h 607788"/>
                  <a:gd name="connsiteX15" fmla="*/ 131887 w 516248"/>
                  <a:gd name="connsiteY15" fmla="*/ 386071 h 607788"/>
                  <a:gd name="connsiteX16" fmla="*/ 150340 w 516248"/>
                  <a:gd name="connsiteY16" fmla="*/ 367583 h 607788"/>
                  <a:gd name="connsiteX17" fmla="*/ 289051 w 516248"/>
                  <a:gd name="connsiteY17" fmla="*/ 349178 h 607788"/>
                  <a:gd name="connsiteX18" fmla="*/ 252009 w 516248"/>
                  <a:gd name="connsiteY18" fmla="*/ 386031 h 607788"/>
                  <a:gd name="connsiteX19" fmla="*/ 289051 w 516248"/>
                  <a:gd name="connsiteY19" fmla="*/ 423012 h 607788"/>
                  <a:gd name="connsiteX20" fmla="*/ 326093 w 516248"/>
                  <a:gd name="connsiteY20" fmla="*/ 386031 h 607788"/>
                  <a:gd name="connsiteX21" fmla="*/ 289051 w 516248"/>
                  <a:gd name="connsiteY21" fmla="*/ 349178 h 607788"/>
                  <a:gd name="connsiteX22" fmla="*/ 150305 w 516248"/>
                  <a:gd name="connsiteY22" fmla="*/ 349178 h 607788"/>
                  <a:gd name="connsiteX23" fmla="*/ 113264 w 516248"/>
                  <a:gd name="connsiteY23" fmla="*/ 386031 h 607788"/>
                  <a:gd name="connsiteX24" fmla="*/ 150305 w 516248"/>
                  <a:gd name="connsiteY24" fmla="*/ 423012 h 607788"/>
                  <a:gd name="connsiteX25" fmla="*/ 187347 w 516248"/>
                  <a:gd name="connsiteY25" fmla="*/ 386031 h 607788"/>
                  <a:gd name="connsiteX26" fmla="*/ 150305 w 516248"/>
                  <a:gd name="connsiteY26" fmla="*/ 349178 h 607788"/>
                  <a:gd name="connsiteX27" fmla="*/ 223098 w 516248"/>
                  <a:gd name="connsiteY27" fmla="*/ 246352 h 607788"/>
                  <a:gd name="connsiteX28" fmla="*/ 350357 w 516248"/>
                  <a:gd name="connsiteY28" fmla="*/ 376882 h 607788"/>
                  <a:gd name="connsiteX29" fmla="*/ 274854 w 516248"/>
                  <a:gd name="connsiteY29" fmla="*/ 495944 h 607788"/>
                  <a:gd name="connsiteX30" fmla="*/ 269433 w 516248"/>
                  <a:gd name="connsiteY30" fmla="*/ 504319 h 607788"/>
                  <a:gd name="connsiteX31" fmla="*/ 269433 w 516248"/>
                  <a:gd name="connsiteY31" fmla="*/ 552253 h 607788"/>
                  <a:gd name="connsiteX32" fmla="*/ 176893 w 516248"/>
                  <a:gd name="connsiteY32" fmla="*/ 552253 h 607788"/>
                  <a:gd name="connsiteX33" fmla="*/ 176893 w 516248"/>
                  <a:gd name="connsiteY33" fmla="*/ 504319 h 607788"/>
                  <a:gd name="connsiteX34" fmla="*/ 171472 w 516248"/>
                  <a:gd name="connsiteY34" fmla="*/ 495944 h 607788"/>
                  <a:gd name="connsiteX35" fmla="*/ 95969 w 516248"/>
                  <a:gd name="connsiteY35" fmla="*/ 376882 h 607788"/>
                  <a:gd name="connsiteX36" fmla="*/ 223098 w 516248"/>
                  <a:gd name="connsiteY36" fmla="*/ 246352 h 607788"/>
                  <a:gd name="connsiteX37" fmla="*/ 223147 w 516248"/>
                  <a:gd name="connsiteY37" fmla="*/ 227903 h 607788"/>
                  <a:gd name="connsiteX38" fmla="*/ 77566 w 516248"/>
                  <a:gd name="connsiteY38" fmla="*/ 376868 h 607788"/>
                  <a:gd name="connsiteX39" fmla="*/ 158487 w 516248"/>
                  <a:gd name="connsiteY39" fmla="*/ 510111 h 607788"/>
                  <a:gd name="connsiteX40" fmla="*/ 158487 w 516248"/>
                  <a:gd name="connsiteY40" fmla="*/ 561527 h 607788"/>
                  <a:gd name="connsiteX41" fmla="*/ 167651 w 516248"/>
                  <a:gd name="connsiteY41" fmla="*/ 570805 h 607788"/>
                  <a:gd name="connsiteX42" fmla="*/ 278644 w 516248"/>
                  <a:gd name="connsiteY42" fmla="*/ 570805 h 607788"/>
                  <a:gd name="connsiteX43" fmla="*/ 287936 w 516248"/>
                  <a:gd name="connsiteY43" fmla="*/ 561527 h 607788"/>
                  <a:gd name="connsiteX44" fmla="*/ 287936 w 516248"/>
                  <a:gd name="connsiteY44" fmla="*/ 510111 h 607788"/>
                  <a:gd name="connsiteX45" fmla="*/ 368858 w 516248"/>
                  <a:gd name="connsiteY45" fmla="*/ 376868 h 607788"/>
                  <a:gd name="connsiteX46" fmla="*/ 223147 w 516248"/>
                  <a:gd name="connsiteY46" fmla="*/ 227903 h 607788"/>
                  <a:gd name="connsiteX47" fmla="*/ 159649 w 516248"/>
                  <a:gd name="connsiteY47" fmla="*/ 148267 h 607788"/>
                  <a:gd name="connsiteX48" fmla="*/ 159649 w 516248"/>
                  <a:gd name="connsiteY48" fmla="*/ 173266 h 607788"/>
                  <a:gd name="connsiteX49" fmla="*/ 162875 w 516248"/>
                  <a:gd name="connsiteY49" fmla="*/ 172493 h 607788"/>
                  <a:gd name="connsiteX50" fmla="*/ 168038 w 516248"/>
                  <a:gd name="connsiteY50" fmla="*/ 171204 h 607788"/>
                  <a:gd name="connsiteX51" fmla="*/ 180170 w 516248"/>
                  <a:gd name="connsiteY51" fmla="*/ 168498 h 607788"/>
                  <a:gd name="connsiteX52" fmla="*/ 184945 w 516248"/>
                  <a:gd name="connsiteY52" fmla="*/ 167596 h 607788"/>
                  <a:gd name="connsiteX53" fmla="*/ 198367 w 516248"/>
                  <a:gd name="connsiteY53" fmla="*/ 165792 h 607788"/>
                  <a:gd name="connsiteX54" fmla="*/ 201981 w 516248"/>
                  <a:gd name="connsiteY54" fmla="*/ 165405 h 607788"/>
                  <a:gd name="connsiteX55" fmla="*/ 236957 w 516248"/>
                  <a:gd name="connsiteY55" fmla="*/ 165019 h 607788"/>
                  <a:gd name="connsiteX56" fmla="*/ 240312 w 516248"/>
                  <a:gd name="connsiteY56" fmla="*/ 165277 h 607788"/>
                  <a:gd name="connsiteX57" fmla="*/ 253993 w 516248"/>
                  <a:gd name="connsiteY57" fmla="*/ 166823 h 607788"/>
                  <a:gd name="connsiteX58" fmla="*/ 258897 w 516248"/>
                  <a:gd name="connsiteY58" fmla="*/ 167596 h 607788"/>
                  <a:gd name="connsiteX59" fmla="*/ 271158 w 516248"/>
                  <a:gd name="connsiteY59" fmla="*/ 170044 h 607788"/>
                  <a:gd name="connsiteX60" fmla="*/ 276321 w 516248"/>
                  <a:gd name="connsiteY60" fmla="*/ 171204 h 607788"/>
                  <a:gd name="connsiteX61" fmla="*/ 279805 w 516248"/>
                  <a:gd name="connsiteY61" fmla="*/ 172106 h 607788"/>
                  <a:gd name="connsiteX62" fmla="*/ 279805 w 516248"/>
                  <a:gd name="connsiteY62" fmla="*/ 148267 h 607788"/>
                  <a:gd name="connsiteX63" fmla="*/ 290517 w 516248"/>
                  <a:gd name="connsiteY63" fmla="*/ 1880 h 607788"/>
                  <a:gd name="connsiteX64" fmla="*/ 374923 w 516248"/>
                  <a:gd name="connsiteY64" fmla="*/ 78166 h 607788"/>
                  <a:gd name="connsiteX65" fmla="*/ 419192 w 516248"/>
                  <a:gd name="connsiteY65" fmla="*/ 130226 h 607788"/>
                  <a:gd name="connsiteX66" fmla="*/ 488497 w 516248"/>
                  <a:gd name="connsiteY66" fmla="*/ 96851 h 607788"/>
                  <a:gd name="connsiteX67" fmla="*/ 485529 w 516248"/>
                  <a:gd name="connsiteY67" fmla="*/ 18890 h 607788"/>
                  <a:gd name="connsiteX68" fmla="*/ 482303 w 516248"/>
                  <a:gd name="connsiteY68" fmla="*/ 6261 h 607788"/>
                  <a:gd name="connsiteX69" fmla="*/ 495080 w 516248"/>
                  <a:gd name="connsiteY69" fmla="*/ 3040 h 607788"/>
                  <a:gd name="connsiteX70" fmla="*/ 505275 w 516248"/>
                  <a:gd name="connsiteY70" fmla="*/ 104454 h 607788"/>
                  <a:gd name="connsiteX71" fmla="*/ 439196 w 516248"/>
                  <a:gd name="connsiteY71" fmla="*/ 152133 h 607788"/>
                  <a:gd name="connsiteX72" fmla="*/ 413384 w 516248"/>
                  <a:gd name="connsiteY72" fmla="*/ 147751 h 607788"/>
                  <a:gd name="connsiteX73" fmla="*/ 358404 w 516248"/>
                  <a:gd name="connsiteY73" fmla="*/ 86542 h 607788"/>
                  <a:gd name="connsiteX74" fmla="*/ 287678 w 516248"/>
                  <a:gd name="connsiteY74" fmla="*/ 20049 h 607788"/>
                  <a:gd name="connsiteX75" fmla="*/ 228309 w 516248"/>
                  <a:gd name="connsiteY75" fmla="*/ 33451 h 607788"/>
                  <a:gd name="connsiteX76" fmla="*/ 228568 w 516248"/>
                  <a:gd name="connsiteY76" fmla="*/ 129711 h 607788"/>
                  <a:gd name="connsiteX77" fmla="*/ 289098 w 516248"/>
                  <a:gd name="connsiteY77" fmla="*/ 129711 h 607788"/>
                  <a:gd name="connsiteX78" fmla="*/ 298390 w 516248"/>
                  <a:gd name="connsiteY78" fmla="*/ 138989 h 607788"/>
                  <a:gd name="connsiteX79" fmla="*/ 298390 w 516248"/>
                  <a:gd name="connsiteY79" fmla="*/ 178034 h 607788"/>
                  <a:gd name="connsiteX80" fmla="*/ 444100 w 516248"/>
                  <a:gd name="connsiteY80" fmla="*/ 386017 h 607788"/>
                  <a:gd name="connsiteX81" fmla="*/ 221985 w 516248"/>
                  <a:gd name="connsiteY81" fmla="*/ 607788 h 607788"/>
                  <a:gd name="connsiteX82" fmla="*/ 0 w 516248"/>
                  <a:gd name="connsiteY82" fmla="*/ 386017 h 607788"/>
                  <a:gd name="connsiteX83" fmla="*/ 141064 w 516248"/>
                  <a:gd name="connsiteY83" fmla="*/ 179838 h 607788"/>
                  <a:gd name="connsiteX84" fmla="*/ 141064 w 516248"/>
                  <a:gd name="connsiteY84" fmla="*/ 138989 h 607788"/>
                  <a:gd name="connsiteX85" fmla="*/ 150356 w 516248"/>
                  <a:gd name="connsiteY85" fmla="*/ 129840 h 607788"/>
                  <a:gd name="connsiteX86" fmla="*/ 209079 w 516248"/>
                  <a:gd name="connsiteY86" fmla="*/ 129840 h 607788"/>
                  <a:gd name="connsiteX87" fmla="*/ 213855 w 516248"/>
                  <a:gd name="connsiteY87" fmla="*/ 21982 h 607788"/>
                  <a:gd name="connsiteX88" fmla="*/ 290517 w 516248"/>
                  <a:gd name="connsiteY88" fmla="*/ 1880 h 6077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Lst>
                <a:rect l="l" t="t" r="r" b="b"/>
                <a:pathLst>
                  <a:path w="516248" h="607788">
                    <a:moveTo>
                      <a:pt x="223098" y="439119"/>
                    </a:moveTo>
                    <a:cubicBezTo>
                      <a:pt x="218065" y="439119"/>
                      <a:pt x="213935" y="443371"/>
                      <a:pt x="213935" y="448396"/>
                    </a:cubicBezTo>
                    <a:lnTo>
                      <a:pt x="213935" y="487697"/>
                    </a:lnTo>
                    <a:cubicBezTo>
                      <a:pt x="213935" y="492722"/>
                      <a:pt x="218065" y="496846"/>
                      <a:pt x="223098" y="496846"/>
                    </a:cubicBezTo>
                    <a:cubicBezTo>
                      <a:pt x="228261" y="496846"/>
                      <a:pt x="232391" y="492722"/>
                      <a:pt x="232391" y="487697"/>
                    </a:cubicBezTo>
                    <a:lnTo>
                      <a:pt x="232391" y="448396"/>
                    </a:lnTo>
                    <a:cubicBezTo>
                      <a:pt x="232391" y="443371"/>
                      <a:pt x="228261" y="439119"/>
                      <a:pt x="223098" y="439119"/>
                    </a:cubicBezTo>
                    <a:close/>
                    <a:moveTo>
                      <a:pt x="289071" y="367583"/>
                    </a:moveTo>
                    <a:cubicBezTo>
                      <a:pt x="299262" y="367583"/>
                      <a:pt x="307524" y="375860"/>
                      <a:pt x="307524" y="386071"/>
                    </a:cubicBezTo>
                    <a:cubicBezTo>
                      <a:pt x="307524" y="396282"/>
                      <a:pt x="299262" y="404559"/>
                      <a:pt x="289071" y="404559"/>
                    </a:cubicBezTo>
                    <a:cubicBezTo>
                      <a:pt x="278880" y="404559"/>
                      <a:pt x="270618" y="396282"/>
                      <a:pt x="270618" y="386071"/>
                    </a:cubicBezTo>
                    <a:cubicBezTo>
                      <a:pt x="270618" y="375860"/>
                      <a:pt x="278880" y="367583"/>
                      <a:pt x="289071" y="367583"/>
                    </a:cubicBezTo>
                    <a:close/>
                    <a:moveTo>
                      <a:pt x="150340" y="367583"/>
                    </a:moveTo>
                    <a:cubicBezTo>
                      <a:pt x="160531" y="367583"/>
                      <a:pt x="168793" y="375860"/>
                      <a:pt x="168793" y="386071"/>
                    </a:cubicBezTo>
                    <a:cubicBezTo>
                      <a:pt x="168793" y="396282"/>
                      <a:pt x="160531" y="404559"/>
                      <a:pt x="150340" y="404559"/>
                    </a:cubicBezTo>
                    <a:cubicBezTo>
                      <a:pt x="140149" y="404559"/>
                      <a:pt x="131887" y="396282"/>
                      <a:pt x="131887" y="386071"/>
                    </a:cubicBezTo>
                    <a:cubicBezTo>
                      <a:pt x="131887" y="375860"/>
                      <a:pt x="140149" y="367583"/>
                      <a:pt x="150340" y="367583"/>
                    </a:cubicBezTo>
                    <a:close/>
                    <a:moveTo>
                      <a:pt x="289051" y="349178"/>
                    </a:moveTo>
                    <a:cubicBezTo>
                      <a:pt x="268658" y="349178"/>
                      <a:pt x="252009" y="365671"/>
                      <a:pt x="252009" y="386031"/>
                    </a:cubicBezTo>
                    <a:cubicBezTo>
                      <a:pt x="252009" y="406390"/>
                      <a:pt x="268658" y="423012"/>
                      <a:pt x="289051" y="423012"/>
                    </a:cubicBezTo>
                    <a:cubicBezTo>
                      <a:pt x="309443" y="423012"/>
                      <a:pt x="326093" y="406390"/>
                      <a:pt x="326093" y="386031"/>
                    </a:cubicBezTo>
                    <a:cubicBezTo>
                      <a:pt x="326093" y="365671"/>
                      <a:pt x="309443" y="349178"/>
                      <a:pt x="289051" y="349178"/>
                    </a:cubicBezTo>
                    <a:close/>
                    <a:moveTo>
                      <a:pt x="150305" y="349178"/>
                    </a:moveTo>
                    <a:cubicBezTo>
                      <a:pt x="129913" y="349178"/>
                      <a:pt x="113264" y="365671"/>
                      <a:pt x="113264" y="386031"/>
                    </a:cubicBezTo>
                    <a:cubicBezTo>
                      <a:pt x="113264" y="406390"/>
                      <a:pt x="129913" y="423012"/>
                      <a:pt x="150305" y="423012"/>
                    </a:cubicBezTo>
                    <a:cubicBezTo>
                      <a:pt x="170698" y="423012"/>
                      <a:pt x="187347" y="406390"/>
                      <a:pt x="187347" y="386031"/>
                    </a:cubicBezTo>
                    <a:cubicBezTo>
                      <a:pt x="187347" y="365671"/>
                      <a:pt x="170698" y="349178"/>
                      <a:pt x="150305" y="349178"/>
                    </a:cubicBezTo>
                    <a:close/>
                    <a:moveTo>
                      <a:pt x="223098" y="246352"/>
                    </a:moveTo>
                    <a:cubicBezTo>
                      <a:pt x="293310" y="246352"/>
                      <a:pt x="350357" y="304981"/>
                      <a:pt x="350357" y="376882"/>
                    </a:cubicBezTo>
                    <a:cubicBezTo>
                      <a:pt x="350357" y="428295"/>
                      <a:pt x="320672" y="474940"/>
                      <a:pt x="274854" y="495944"/>
                    </a:cubicBezTo>
                    <a:cubicBezTo>
                      <a:pt x="271498" y="497490"/>
                      <a:pt x="269433" y="500711"/>
                      <a:pt x="269433" y="504319"/>
                    </a:cubicBezTo>
                    <a:lnTo>
                      <a:pt x="269433" y="552253"/>
                    </a:lnTo>
                    <a:lnTo>
                      <a:pt x="176893" y="552253"/>
                    </a:lnTo>
                    <a:lnTo>
                      <a:pt x="176893" y="504319"/>
                    </a:lnTo>
                    <a:cubicBezTo>
                      <a:pt x="176893" y="500711"/>
                      <a:pt x="174828" y="497490"/>
                      <a:pt x="171472" y="495944"/>
                    </a:cubicBezTo>
                    <a:cubicBezTo>
                      <a:pt x="125654" y="475069"/>
                      <a:pt x="95969" y="428295"/>
                      <a:pt x="95969" y="376882"/>
                    </a:cubicBezTo>
                    <a:cubicBezTo>
                      <a:pt x="95969" y="304981"/>
                      <a:pt x="153016" y="246352"/>
                      <a:pt x="223098" y="246352"/>
                    </a:cubicBezTo>
                    <a:close/>
                    <a:moveTo>
                      <a:pt x="223147" y="227903"/>
                    </a:moveTo>
                    <a:cubicBezTo>
                      <a:pt x="142871" y="227903"/>
                      <a:pt x="77566" y="294654"/>
                      <a:pt x="77566" y="376868"/>
                    </a:cubicBezTo>
                    <a:cubicBezTo>
                      <a:pt x="77566" y="433438"/>
                      <a:pt x="109057" y="485112"/>
                      <a:pt x="158487" y="510111"/>
                    </a:cubicBezTo>
                    <a:lnTo>
                      <a:pt x="158487" y="561527"/>
                    </a:lnTo>
                    <a:cubicBezTo>
                      <a:pt x="158487" y="566681"/>
                      <a:pt x="162617" y="570805"/>
                      <a:pt x="167651" y="570805"/>
                    </a:cubicBezTo>
                    <a:lnTo>
                      <a:pt x="278644" y="570805"/>
                    </a:lnTo>
                    <a:cubicBezTo>
                      <a:pt x="283806" y="570805"/>
                      <a:pt x="287936" y="566681"/>
                      <a:pt x="287936" y="561527"/>
                    </a:cubicBezTo>
                    <a:lnTo>
                      <a:pt x="287936" y="510111"/>
                    </a:lnTo>
                    <a:cubicBezTo>
                      <a:pt x="337367" y="485112"/>
                      <a:pt x="368858" y="433438"/>
                      <a:pt x="368858" y="376868"/>
                    </a:cubicBezTo>
                    <a:cubicBezTo>
                      <a:pt x="368858" y="294654"/>
                      <a:pt x="303553" y="227903"/>
                      <a:pt x="223147" y="227903"/>
                    </a:cubicBezTo>
                    <a:close/>
                    <a:moveTo>
                      <a:pt x="159649" y="148267"/>
                    </a:moveTo>
                    <a:lnTo>
                      <a:pt x="159649" y="173266"/>
                    </a:lnTo>
                    <a:cubicBezTo>
                      <a:pt x="160681" y="173008"/>
                      <a:pt x="161843" y="172750"/>
                      <a:pt x="162875" y="172493"/>
                    </a:cubicBezTo>
                    <a:cubicBezTo>
                      <a:pt x="164553" y="171977"/>
                      <a:pt x="166360" y="171591"/>
                      <a:pt x="168038" y="171204"/>
                    </a:cubicBezTo>
                    <a:cubicBezTo>
                      <a:pt x="172039" y="170173"/>
                      <a:pt x="176040" y="169271"/>
                      <a:pt x="180170" y="168498"/>
                    </a:cubicBezTo>
                    <a:cubicBezTo>
                      <a:pt x="181718" y="168240"/>
                      <a:pt x="183396" y="167854"/>
                      <a:pt x="184945" y="167596"/>
                    </a:cubicBezTo>
                    <a:cubicBezTo>
                      <a:pt x="189462" y="166823"/>
                      <a:pt x="193850" y="166307"/>
                      <a:pt x="198367" y="165792"/>
                    </a:cubicBezTo>
                    <a:cubicBezTo>
                      <a:pt x="199658" y="165663"/>
                      <a:pt x="200819" y="165534"/>
                      <a:pt x="201981" y="165405"/>
                    </a:cubicBezTo>
                    <a:cubicBezTo>
                      <a:pt x="213596" y="164374"/>
                      <a:pt x="225341" y="164246"/>
                      <a:pt x="236957" y="165019"/>
                    </a:cubicBezTo>
                    <a:cubicBezTo>
                      <a:pt x="238118" y="165019"/>
                      <a:pt x="239280" y="165277"/>
                      <a:pt x="240312" y="165277"/>
                    </a:cubicBezTo>
                    <a:cubicBezTo>
                      <a:pt x="244958" y="165663"/>
                      <a:pt x="249476" y="166179"/>
                      <a:pt x="253993" y="166823"/>
                    </a:cubicBezTo>
                    <a:cubicBezTo>
                      <a:pt x="255670" y="167081"/>
                      <a:pt x="257348" y="167338"/>
                      <a:pt x="258897" y="167596"/>
                    </a:cubicBezTo>
                    <a:cubicBezTo>
                      <a:pt x="263027" y="168369"/>
                      <a:pt x="267028" y="169142"/>
                      <a:pt x="271158" y="170044"/>
                    </a:cubicBezTo>
                    <a:cubicBezTo>
                      <a:pt x="272836" y="170431"/>
                      <a:pt x="274514" y="170818"/>
                      <a:pt x="276321" y="171204"/>
                    </a:cubicBezTo>
                    <a:cubicBezTo>
                      <a:pt x="277482" y="171462"/>
                      <a:pt x="278644" y="171720"/>
                      <a:pt x="279805" y="172106"/>
                    </a:cubicBezTo>
                    <a:lnTo>
                      <a:pt x="279805" y="148267"/>
                    </a:lnTo>
                    <a:close/>
                    <a:moveTo>
                      <a:pt x="290517" y="1880"/>
                    </a:moveTo>
                    <a:cubicBezTo>
                      <a:pt x="340335" y="9612"/>
                      <a:pt x="358662" y="46079"/>
                      <a:pt x="374923" y="78166"/>
                    </a:cubicBezTo>
                    <a:cubicBezTo>
                      <a:pt x="387184" y="102392"/>
                      <a:pt x="397767" y="123268"/>
                      <a:pt x="419192" y="130226"/>
                    </a:cubicBezTo>
                    <a:cubicBezTo>
                      <a:pt x="460104" y="143628"/>
                      <a:pt x="480108" y="115020"/>
                      <a:pt x="488497" y="96851"/>
                    </a:cubicBezTo>
                    <a:cubicBezTo>
                      <a:pt x="503210" y="64507"/>
                      <a:pt x="499210" y="27008"/>
                      <a:pt x="485529" y="18890"/>
                    </a:cubicBezTo>
                    <a:cubicBezTo>
                      <a:pt x="481141" y="16312"/>
                      <a:pt x="479721" y="10642"/>
                      <a:pt x="482303" y="6261"/>
                    </a:cubicBezTo>
                    <a:cubicBezTo>
                      <a:pt x="485013" y="1880"/>
                      <a:pt x="490562" y="462"/>
                      <a:pt x="495080" y="3040"/>
                    </a:cubicBezTo>
                    <a:cubicBezTo>
                      <a:pt x="521150" y="18632"/>
                      <a:pt x="521408" y="69017"/>
                      <a:pt x="505275" y="104454"/>
                    </a:cubicBezTo>
                    <a:cubicBezTo>
                      <a:pt x="491208" y="135381"/>
                      <a:pt x="467460" y="152133"/>
                      <a:pt x="439196" y="152133"/>
                    </a:cubicBezTo>
                    <a:cubicBezTo>
                      <a:pt x="430936" y="152133"/>
                      <a:pt x="422289" y="150715"/>
                      <a:pt x="413384" y="147751"/>
                    </a:cubicBezTo>
                    <a:cubicBezTo>
                      <a:pt x="384603" y="138344"/>
                      <a:pt x="371310" y="112057"/>
                      <a:pt x="358404" y="86542"/>
                    </a:cubicBezTo>
                    <a:cubicBezTo>
                      <a:pt x="342787" y="55615"/>
                      <a:pt x="328074" y="26364"/>
                      <a:pt x="287678" y="20049"/>
                    </a:cubicBezTo>
                    <a:cubicBezTo>
                      <a:pt x="259026" y="15539"/>
                      <a:pt x="239022" y="20178"/>
                      <a:pt x="228309" y="33451"/>
                    </a:cubicBezTo>
                    <a:cubicBezTo>
                      <a:pt x="209208" y="57290"/>
                      <a:pt x="220566" y="106516"/>
                      <a:pt x="228568" y="129711"/>
                    </a:cubicBezTo>
                    <a:lnTo>
                      <a:pt x="289098" y="129711"/>
                    </a:lnTo>
                    <a:cubicBezTo>
                      <a:pt x="294260" y="129711"/>
                      <a:pt x="298390" y="133963"/>
                      <a:pt x="298390" y="138989"/>
                    </a:cubicBezTo>
                    <a:lnTo>
                      <a:pt x="298390" y="178034"/>
                    </a:lnTo>
                    <a:cubicBezTo>
                      <a:pt x="385765" y="209992"/>
                      <a:pt x="444100" y="292721"/>
                      <a:pt x="444100" y="386017"/>
                    </a:cubicBezTo>
                    <a:cubicBezTo>
                      <a:pt x="444100" y="508307"/>
                      <a:pt x="344465" y="607788"/>
                      <a:pt x="221985" y="607788"/>
                    </a:cubicBezTo>
                    <a:cubicBezTo>
                      <a:pt x="99635" y="607788"/>
                      <a:pt x="0" y="508307"/>
                      <a:pt x="0" y="386017"/>
                    </a:cubicBezTo>
                    <a:cubicBezTo>
                      <a:pt x="0" y="294911"/>
                      <a:pt x="56529" y="212955"/>
                      <a:pt x="141064" y="179838"/>
                    </a:cubicBezTo>
                    <a:lnTo>
                      <a:pt x="141064" y="138989"/>
                    </a:lnTo>
                    <a:cubicBezTo>
                      <a:pt x="141064" y="133963"/>
                      <a:pt x="145194" y="129840"/>
                      <a:pt x="150356" y="129840"/>
                    </a:cubicBezTo>
                    <a:lnTo>
                      <a:pt x="209079" y="129840"/>
                    </a:lnTo>
                    <a:cubicBezTo>
                      <a:pt x="201594" y="105614"/>
                      <a:pt x="189333" y="52522"/>
                      <a:pt x="213855" y="21982"/>
                    </a:cubicBezTo>
                    <a:cubicBezTo>
                      <a:pt x="229084" y="3040"/>
                      <a:pt x="254896" y="-3661"/>
                      <a:pt x="290517" y="1880"/>
                    </a:cubicBezTo>
                    <a:close/>
                  </a:path>
                </a:pathLst>
              </a:custGeom>
              <a:solidFill>
                <a:schemeClr val="bg1"/>
              </a:solidFill>
              <a:ln>
                <a:noFill/>
              </a:ln>
              <a:extLst/>
            </p:spPr>
            <p:txBody>
              <a:bodyPr wrap="square" lIns="91440" tIns="45720" rIns="91440" bIns="45720" anchor="ctr">
                <a:normAutofit fontScale="92500" lnSpcReduction="1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sp>
            <p:nvSpPr>
              <p:cNvPr id="72" name="işḻïḍè">
                <a:extLst>
                  <a:ext uri="{FF2B5EF4-FFF2-40B4-BE49-F238E27FC236}">
                    <a16:creationId xmlns:a16="http://schemas.microsoft.com/office/drawing/2014/main" id="{2EDD4A77-5D8C-4BA7-B977-AA3F86E6E13D}"/>
                  </a:ext>
                </a:extLst>
              </p:cNvPr>
              <p:cNvSpPr/>
              <p:nvPr/>
            </p:nvSpPr>
            <p:spPr bwMode="auto">
              <a:xfrm>
                <a:off x="5225060" y="1625576"/>
                <a:ext cx="550472" cy="702445"/>
              </a:xfrm>
              <a:custGeom>
                <a:avLst/>
                <a:gdLst>
                  <a:gd name="connsiteX0" fmla="*/ 43815 w 258763"/>
                  <a:gd name="connsiteY0" fmla="*/ 130175 h 330201"/>
                  <a:gd name="connsiteX1" fmla="*/ 28575 w 258763"/>
                  <a:gd name="connsiteY1" fmla="*/ 147060 h 330201"/>
                  <a:gd name="connsiteX2" fmla="*/ 28575 w 258763"/>
                  <a:gd name="connsiteY2" fmla="*/ 227590 h 330201"/>
                  <a:gd name="connsiteX3" fmla="*/ 43815 w 258763"/>
                  <a:gd name="connsiteY3" fmla="*/ 244475 h 330201"/>
                  <a:gd name="connsiteX4" fmla="*/ 60325 w 258763"/>
                  <a:gd name="connsiteY4" fmla="*/ 227590 h 330201"/>
                  <a:gd name="connsiteX5" fmla="*/ 60325 w 258763"/>
                  <a:gd name="connsiteY5" fmla="*/ 147060 h 330201"/>
                  <a:gd name="connsiteX6" fmla="*/ 43815 w 258763"/>
                  <a:gd name="connsiteY6" fmla="*/ 130175 h 330201"/>
                  <a:gd name="connsiteX7" fmla="*/ 221457 w 258763"/>
                  <a:gd name="connsiteY7" fmla="*/ 98425 h 330201"/>
                  <a:gd name="connsiteX8" fmla="*/ 211138 w 258763"/>
                  <a:gd name="connsiteY8" fmla="*/ 110021 h 330201"/>
                  <a:gd name="connsiteX9" fmla="*/ 211138 w 258763"/>
                  <a:gd name="connsiteY9" fmla="*/ 265918 h 330201"/>
                  <a:gd name="connsiteX10" fmla="*/ 221457 w 258763"/>
                  <a:gd name="connsiteY10" fmla="*/ 276225 h 330201"/>
                  <a:gd name="connsiteX11" fmla="*/ 231776 w 258763"/>
                  <a:gd name="connsiteY11" fmla="*/ 265918 h 330201"/>
                  <a:gd name="connsiteX12" fmla="*/ 231776 w 258763"/>
                  <a:gd name="connsiteY12" fmla="*/ 110021 h 330201"/>
                  <a:gd name="connsiteX13" fmla="*/ 221457 w 258763"/>
                  <a:gd name="connsiteY13" fmla="*/ 98425 h 330201"/>
                  <a:gd name="connsiteX14" fmla="*/ 80216 w 258763"/>
                  <a:gd name="connsiteY14" fmla="*/ 71438 h 330201"/>
                  <a:gd name="connsiteX15" fmla="*/ 236768 w 258763"/>
                  <a:gd name="connsiteY15" fmla="*/ 71438 h 330201"/>
                  <a:gd name="connsiteX16" fmla="*/ 258763 w 258763"/>
                  <a:gd name="connsiteY16" fmla="*/ 93324 h 330201"/>
                  <a:gd name="connsiteX17" fmla="*/ 258763 w 258763"/>
                  <a:gd name="connsiteY17" fmla="*/ 274844 h 330201"/>
                  <a:gd name="connsiteX18" fmla="*/ 204423 w 258763"/>
                  <a:gd name="connsiteY18" fmla="*/ 330201 h 330201"/>
                  <a:gd name="connsiteX19" fmla="*/ 113856 w 258763"/>
                  <a:gd name="connsiteY19" fmla="*/ 330201 h 330201"/>
                  <a:gd name="connsiteX20" fmla="*/ 59515 w 258763"/>
                  <a:gd name="connsiteY20" fmla="*/ 274844 h 330201"/>
                  <a:gd name="connsiteX21" fmla="*/ 59515 w 258763"/>
                  <a:gd name="connsiteY21" fmla="*/ 267120 h 330201"/>
                  <a:gd name="connsiteX22" fmla="*/ 42696 w 258763"/>
                  <a:gd name="connsiteY22" fmla="*/ 270982 h 330201"/>
                  <a:gd name="connsiteX23" fmla="*/ 0 w 258763"/>
                  <a:gd name="connsiteY23" fmla="*/ 227211 h 330201"/>
                  <a:gd name="connsiteX24" fmla="*/ 0 w 258763"/>
                  <a:gd name="connsiteY24" fmla="*/ 147394 h 330201"/>
                  <a:gd name="connsiteX25" fmla="*/ 42696 w 258763"/>
                  <a:gd name="connsiteY25" fmla="*/ 103623 h 330201"/>
                  <a:gd name="connsiteX26" fmla="*/ 59515 w 258763"/>
                  <a:gd name="connsiteY26" fmla="*/ 107485 h 330201"/>
                  <a:gd name="connsiteX27" fmla="*/ 59515 w 258763"/>
                  <a:gd name="connsiteY27" fmla="*/ 93324 h 330201"/>
                  <a:gd name="connsiteX28" fmla="*/ 80216 w 258763"/>
                  <a:gd name="connsiteY28" fmla="*/ 71438 h 330201"/>
                  <a:gd name="connsiteX29" fmla="*/ 107950 w 258763"/>
                  <a:gd name="connsiteY29" fmla="*/ 0 h 330201"/>
                  <a:gd name="connsiteX30" fmla="*/ 109247 w 258763"/>
                  <a:gd name="connsiteY30" fmla="*/ 1290 h 330201"/>
                  <a:gd name="connsiteX31" fmla="*/ 113139 w 258763"/>
                  <a:gd name="connsiteY31" fmla="*/ 2580 h 330201"/>
                  <a:gd name="connsiteX32" fmla="*/ 119624 w 258763"/>
                  <a:gd name="connsiteY32" fmla="*/ 5160 h 330201"/>
                  <a:gd name="connsiteX33" fmla="*/ 126110 w 258763"/>
                  <a:gd name="connsiteY33" fmla="*/ 7739 h 330201"/>
                  <a:gd name="connsiteX34" fmla="*/ 144269 w 258763"/>
                  <a:gd name="connsiteY34" fmla="*/ 12899 h 330201"/>
                  <a:gd name="connsiteX35" fmla="*/ 145566 w 258763"/>
                  <a:gd name="connsiteY35" fmla="*/ 12899 h 330201"/>
                  <a:gd name="connsiteX36" fmla="*/ 146863 w 258763"/>
                  <a:gd name="connsiteY36" fmla="*/ 14189 h 330201"/>
                  <a:gd name="connsiteX37" fmla="*/ 148161 w 258763"/>
                  <a:gd name="connsiteY37" fmla="*/ 14189 h 330201"/>
                  <a:gd name="connsiteX38" fmla="*/ 149458 w 258763"/>
                  <a:gd name="connsiteY38" fmla="*/ 14189 h 330201"/>
                  <a:gd name="connsiteX39" fmla="*/ 152052 w 258763"/>
                  <a:gd name="connsiteY39" fmla="*/ 14189 h 330201"/>
                  <a:gd name="connsiteX40" fmla="*/ 154646 w 258763"/>
                  <a:gd name="connsiteY40" fmla="*/ 15478 h 330201"/>
                  <a:gd name="connsiteX41" fmla="*/ 155943 w 258763"/>
                  <a:gd name="connsiteY41" fmla="*/ 15478 h 330201"/>
                  <a:gd name="connsiteX42" fmla="*/ 157240 w 258763"/>
                  <a:gd name="connsiteY42" fmla="*/ 15478 h 330201"/>
                  <a:gd name="connsiteX43" fmla="*/ 158537 w 258763"/>
                  <a:gd name="connsiteY43" fmla="*/ 16768 h 330201"/>
                  <a:gd name="connsiteX44" fmla="*/ 159835 w 258763"/>
                  <a:gd name="connsiteY44" fmla="*/ 16768 h 330201"/>
                  <a:gd name="connsiteX45" fmla="*/ 162429 w 258763"/>
                  <a:gd name="connsiteY45" fmla="*/ 16768 h 330201"/>
                  <a:gd name="connsiteX46" fmla="*/ 165023 w 258763"/>
                  <a:gd name="connsiteY46" fmla="*/ 18058 h 330201"/>
                  <a:gd name="connsiteX47" fmla="*/ 166320 w 258763"/>
                  <a:gd name="connsiteY47" fmla="*/ 18058 h 330201"/>
                  <a:gd name="connsiteX48" fmla="*/ 167617 w 258763"/>
                  <a:gd name="connsiteY48" fmla="*/ 18058 h 330201"/>
                  <a:gd name="connsiteX49" fmla="*/ 168914 w 258763"/>
                  <a:gd name="connsiteY49" fmla="*/ 18058 h 330201"/>
                  <a:gd name="connsiteX50" fmla="*/ 170211 w 258763"/>
                  <a:gd name="connsiteY50" fmla="*/ 18058 h 330201"/>
                  <a:gd name="connsiteX51" fmla="*/ 176697 w 258763"/>
                  <a:gd name="connsiteY51" fmla="*/ 20638 h 330201"/>
                  <a:gd name="connsiteX52" fmla="*/ 188371 w 258763"/>
                  <a:gd name="connsiteY52" fmla="*/ 24507 h 330201"/>
                  <a:gd name="connsiteX53" fmla="*/ 193559 w 258763"/>
                  <a:gd name="connsiteY53" fmla="*/ 27087 h 330201"/>
                  <a:gd name="connsiteX54" fmla="*/ 194856 w 258763"/>
                  <a:gd name="connsiteY54" fmla="*/ 28377 h 330201"/>
                  <a:gd name="connsiteX55" fmla="*/ 196154 w 258763"/>
                  <a:gd name="connsiteY55" fmla="*/ 29667 h 330201"/>
                  <a:gd name="connsiteX56" fmla="*/ 197451 w 258763"/>
                  <a:gd name="connsiteY56" fmla="*/ 29667 h 330201"/>
                  <a:gd name="connsiteX57" fmla="*/ 198748 w 258763"/>
                  <a:gd name="connsiteY57" fmla="*/ 30957 h 330201"/>
                  <a:gd name="connsiteX58" fmla="*/ 207828 w 258763"/>
                  <a:gd name="connsiteY58" fmla="*/ 38696 h 330201"/>
                  <a:gd name="connsiteX59" fmla="*/ 213016 w 258763"/>
                  <a:gd name="connsiteY59" fmla="*/ 47725 h 330201"/>
                  <a:gd name="connsiteX60" fmla="*/ 214313 w 258763"/>
                  <a:gd name="connsiteY60" fmla="*/ 55464 h 330201"/>
                  <a:gd name="connsiteX61" fmla="*/ 214313 w 258763"/>
                  <a:gd name="connsiteY61" fmla="*/ 58044 h 330201"/>
                  <a:gd name="connsiteX62" fmla="*/ 213016 w 258763"/>
                  <a:gd name="connsiteY62" fmla="*/ 59334 h 330201"/>
                  <a:gd name="connsiteX63" fmla="*/ 213016 w 258763"/>
                  <a:gd name="connsiteY63" fmla="*/ 60623 h 330201"/>
                  <a:gd name="connsiteX64" fmla="*/ 213016 w 258763"/>
                  <a:gd name="connsiteY64" fmla="*/ 61913 h 330201"/>
                  <a:gd name="connsiteX65" fmla="*/ 211719 w 258763"/>
                  <a:gd name="connsiteY65" fmla="*/ 60623 h 330201"/>
                  <a:gd name="connsiteX66" fmla="*/ 210422 w 258763"/>
                  <a:gd name="connsiteY66" fmla="*/ 59334 h 330201"/>
                  <a:gd name="connsiteX67" fmla="*/ 209125 w 258763"/>
                  <a:gd name="connsiteY67" fmla="*/ 58044 h 330201"/>
                  <a:gd name="connsiteX68" fmla="*/ 203936 w 258763"/>
                  <a:gd name="connsiteY68" fmla="*/ 54174 h 330201"/>
                  <a:gd name="connsiteX69" fmla="*/ 197451 w 258763"/>
                  <a:gd name="connsiteY69" fmla="*/ 51594 h 330201"/>
                  <a:gd name="connsiteX70" fmla="*/ 189668 w 258763"/>
                  <a:gd name="connsiteY70" fmla="*/ 50305 h 330201"/>
                  <a:gd name="connsiteX71" fmla="*/ 187074 w 258763"/>
                  <a:gd name="connsiteY71" fmla="*/ 50305 h 330201"/>
                  <a:gd name="connsiteX72" fmla="*/ 184480 w 258763"/>
                  <a:gd name="connsiteY72" fmla="*/ 49015 h 330201"/>
                  <a:gd name="connsiteX73" fmla="*/ 180588 w 258763"/>
                  <a:gd name="connsiteY73" fmla="*/ 47725 h 330201"/>
                  <a:gd name="connsiteX74" fmla="*/ 170211 w 258763"/>
                  <a:gd name="connsiteY74" fmla="*/ 46435 h 330201"/>
                  <a:gd name="connsiteX75" fmla="*/ 165023 w 258763"/>
                  <a:gd name="connsiteY75" fmla="*/ 45145 h 330201"/>
                  <a:gd name="connsiteX76" fmla="*/ 163726 w 258763"/>
                  <a:gd name="connsiteY76" fmla="*/ 45145 h 330201"/>
                  <a:gd name="connsiteX77" fmla="*/ 162429 w 258763"/>
                  <a:gd name="connsiteY77" fmla="*/ 45145 h 330201"/>
                  <a:gd name="connsiteX78" fmla="*/ 159835 w 258763"/>
                  <a:gd name="connsiteY78" fmla="*/ 43855 h 330201"/>
                  <a:gd name="connsiteX79" fmla="*/ 158537 w 258763"/>
                  <a:gd name="connsiteY79" fmla="*/ 43855 h 330201"/>
                  <a:gd name="connsiteX80" fmla="*/ 155943 w 258763"/>
                  <a:gd name="connsiteY80" fmla="*/ 42565 h 330201"/>
                  <a:gd name="connsiteX81" fmla="*/ 152052 w 258763"/>
                  <a:gd name="connsiteY81" fmla="*/ 42565 h 330201"/>
                  <a:gd name="connsiteX82" fmla="*/ 149458 w 258763"/>
                  <a:gd name="connsiteY82" fmla="*/ 41276 h 330201"/>
                  <a:gd name="connsiteX83" fmla="*/ 146863 w 258763"/>
                  <a:gd name="connsiteY83" fmla="*/ 39986 h 330201"/>
                  <a:gd name="connsiteX84" fmla="*/ 135189 w 258763"/>
                  <a:gd name="connsiteY84" fmla="*/ 34826 h 330201"/>
                  <a:gd name="connsiteX85" fmla="*/ 124813 w 258763"/>
                  <a:gd name="connsiteY85" fmla="*/ 27087 h 330201"/>
                  <a:gd name="connsiteX86" fmla="*/ 117030 w 258763"/>
                  <a:gd name="connsiteY86" fmla="*/ 19348 h 330201"/>
                  <a:gd name="connsiteX87" fmla="*/ 111841 w 258763"/>
                  <a:gd name="connsiteY87" fmla="*/ 12899 h 330201"/>
                  <a:gd name="connsiteX88" fmla="*/ 109247 w 258763"/>
                  <a:gd name="connsiteY88" fmla="*/ 6450 h 330201"/>
                  <a:gd name="connsiteX89" fmla="*/ 107950 w 258763"/>
                  <a:gd name="connsiteY89" fmla="*/ 1290 h 330201"/>
                  <a:gd name="connsiteX90" fmla="*/ 107950 w 258763"/>
                  <a:gd name="connsiteY90" fmla="*/ 0 h 330201"/>
                  <a:gd name="connsiteX91" fmla="*/ 9525 w 258763"/>
                  <a:gd name="connsiteY91" fmla="*/ 0 h 330201"/>
                  <a:gd name="connsiteX92" fmla="*/ 10822 w 258763"/>
                  <a:gd name="connsiteY92" fmla="*/ 1290 h 330201"/>
                  <a:gd name="connsiteX93" fmla="*/ 14713 w 258763"/>
                  <a:gd name="connsiteY93" fmla="*/ 2580 h 330201"/>
                  <a:gd name="connsiteX94" fmla="*/ 19902 w 258763"/>
                  <a:gd name="connsiteY94" fmla="*/ 5160 h 330201"/>
                  <a:gd name="connsiteX95" fmla="*/ 27684 w 258763"/>
                  <a:gd name="connsiteY95" fmla="*/ 7739 h 330201"/>
                  <a:gd name="connsiteX96" fmla="*/ 45844 w 258763"/>
                  <a:gd name="connsiteY96" fmla="*/ 12899 h 330201"/>
                  <a:gd name="connsiteX97" fmla="*/ 47141 w 258763"/>
                  <a:gd name="connsiteY97" fmla="*/ 12899 h 330201"/>
                  <a:gd name="connsiteX98" fmla="*/ 48438 w 258763"/>
                  <a:gd name="connsiteY98" fmla="*/ 12899 h 330201"/>
                  <a:gd name="connsiteX99" fmla="*/ 48438 w 258763"/>
                  <a:gd name="connsiteY99" fmla="*/ 14189 h 330201"/>
                  <a:gd name="connsiteX100" fmla="*/ 49735 w 258763"/>
                  <a:gd name="connsiteY100" fmla="*/ 14189 h 330201"/>
                  <a:gd name="connsiteX101" fmla="*/ 52329 w 258763"/>
                  <a:gd name="connsiteY101" fmla="*/ 14189 h 330201"/>
                  <a:gd name="connsiteX102" fmla="*/ 54924 w 258763"/>
                  <a:gd name="connsiteY102" fmla="*/ 15478 h 330201"/>
                  <a:gd name="connsiteX103" fmla="*/ 56221 w 258763"/>
                  <a:gd name="connsiteY103" fmla="*/ 15478 h 330201"/>
                  <a:gd name="connsiteX104" fmla="*/ 57518 w 258763"/>
                  <a:gd name="connsiteY104" fmla="*/ 15478 h 330201"/>
                  <a:gd name="connsiteX105" fmla="*/ 58815 w 258763"/>
                  <a:gd name="connsiteY105" fmla="*/ 15478 h 330201"/>
                  <a:gd name="connsiteX106" fmla="*/ 60112 w 258763"/>
                  <a:gd name="connsiteY106" fmla="*/ 16768 h 330201"/>
                  <a:gd name="connsiteX107" fmla="*/ 62706 w 258763"/>
                  <a:gd name="connsiteY107" fmla="*/ 16768 h 330201"/>
                  <a:gd name="connsiteX108" fmla="*/ 65301 w 258763"/>
                  <a:gd name="connsiteY108" fmla="*/ 18058 h 330201"/>
                  <a:gd name="connsiteX109" fmla="*/ 66598 w 258763"/>
                  <a:gd name="connsiteY109" fmla="*/ 18058 h 330201"/>
                  <a:gd name="connsiteX110" fmla="*/ 69192 w 258763"/>
                  <a:gd name="connsiteY110" fmla="*/ 18058 h 330201"/>
                  <a:gd name="connsiteX111" fmla="*/ 70489 w 258763"/>
                  <a:gd name="connsiteY111" fmla="*/ 18058 h 330201"/>
                  <a:gd name="connsiteX112" fmla="*/ 71786 w 258763"/>
                  <a:gd name="connsiteY112" fmla="*/ 18058 h 330201"/>
                  <a:gd name="connsiteX113" fmla="*/ 76975 w 258763"/>
                  <a:gd name="connsiteY113" fmla="*/ 20638 h 330201"/>
                  <a:gd name="connsiteX114" fmla="*/ 89946 w 258763"/>
                  <a:gd name="connsiteY114" fmla="*/ 24507 h 330201"/>
                  <a:gd name="connsiteX115" fmla="*/ 95134 w 258763"/>
                  <a:gd name="connsiteY115" fmla="*/ 27087 h 330201"/>
                  <a:gd name="connsiteX116" fmla="*/ 96431 w 258763"/>
                  <a:gd name="connsiteY116" fmla="*/ 28377 h 330201"/>
                  <a:gd name="connsiteX117" fmla="*/ 97728 w 258763"/>
                  <a:gd name="connsiteY117" fmla="*/ 28377 h 330201"/>
                  <a:gd name="connsiteX118" fmla="*/ 99025 w 258763"/>
                  <a:gd name="connsiteY118" fmla="*/ 29667 h 330201"/>
                  <a:gd name="connsiteX119" fmla="*/ 100323 w 258763"/>
                  <a:gd name="connsiteY119" fmla="*/ 30957 h 330201"/>
                  <a:gd name="connsiteX120" fmla="*/ 108105 w 258763"/>
                  <a:gd name="connsiteY120" fmla="*/ 38696 h 330201"/>
                  <a:gd name="connsiteX121" fmla="*/ 113294 w 258763"/>
                  <a:gd name="connsiteY121" fmla="*/ 47725 h 330201"/>
                  <a:gd name="connsiteX122" fmla="*/ 114591 w 258763"/>
                  <a:gd name="connsiteY122" fmla="*/ 55464 h 330201"/>
                  <a:gd name="connsiteX123" fmla="*/ 114591 w 258763"/>
                  <a:gd name="connsiteY123" fmla="*/ 58044 h 330201"/>
                  <a:gd name="connsiteX124" fmla="*/ 114591 w 258763"/>
                  <a:gd name="connsiteY124" fmla="*/ 59334 h 330201"/>
                  <a:gd name="connsiteX125" fmla="*/ 114591 w 258763"/>
                  <a:gd name="connsiteY125" fmla="*/ 60623 h 330201"/>
                  <a:gd name="connsiteX126" fmla="*/ 113294 w 258763"/>
                  <a:gd name="connsiteY126" fmla="*/ 61913 h 330201"/>
                  <a:gd name="connsiteX127" fmla="*/ 111997 w 258763"/>
                  <a:gd name="connsiteY127" fmla="*/ 60623 h 330201"/>
                  <a:gd name="connsiteX128" fmla="*/ 111997 w 258763"/>
                  <a:gd name="connsiteY128" fmla="*/ 59334 h 330201"/>
                  <a:gd name="connsiteX129" fmla="*/ 110700 w 258763"/>
                  <a:gd name="connsiteY129" fmla="*/ 58044 h 330201"/>
                  <a:gd name="connsiteX130" fmla="*/ 109403 w 258763"/>
                  <a:gd name="connsiteY130" fmla="*/ 58044 h 330201"/>
                  <a:gd name="connsiteX131" fmla="*/ 104214 w 258763"/>
                  <a:gd name="connsiteY131" fmla="*/ 54174 h 330201"/>
                  <a:gd name="connsiteX132" fmla="*/ 97728 w 258763"/>
                  <a:gd name="connsiteY132" fmla="*/ 51594 h 330201"/>
                  <a:gd name="connsiteX133" fmla="*/ 89946 w 258763"/>
                  <a:gd name="connsiteY133" fmla="*/ 50305 h 330201"/>
                  <a:gd name="connsiteX134" fmla="*/ 88649 w 258763"/>
                  <a:gd name="connsiteY134" fmla="*/ 50305 h 330201"/>
                  <a:gd name="connsiteX135" fmla="*/ 86054 w 258763"/>
                  <a:gd name="connsiteY135" fmla="*/ 49015 h 330201"/>
                  <a:gd name="connsiteX136" fmla="*/ 80866 w 258763"/>
                  <a:gd name="connsiteY136" fmla="*/ 47725 h 330201"/>
                  <a:gd name="connsiteX137" fmla="*/ 71786 w 258763"/>
                  <a:gd name="connsiteY137" fmla="*/ 46435 h 330201"/>
                  <a:gd name="connsiteX138" fmla="*/ 66598 w 258763"/>
                  <a:gd name="connsiteY138" fmla="*/ 45145 h 330201"/>
                  <a:gd name="connsiteX139" fmla="*/ 65301 w 258763"/>
                  <a:gd name="connsiteY139" fmla="*/ 45145 h 330201"/>
                  <a:gd name="connsiteX140" fmla="*/ 64003 w 258763"/>
                  <a:gd name="connsiteY140" fmla="*/ 45145 h 330201"/>
                  <a:gd name="connsiteX141" fmla="*/ 62706 w 258763"/>
                  <a:gd name="connsiteY141" fmla="*/ 45145 h 330201"/>
                  <a:gd name="connsiteX142" fmla="*/ 61409 w 258763"/>
                  <a:gd name="connsiteY142" fmla="*/ 43855 h 330201"/>
                  <a:gd name="connsiteX143" fmla="*/ 60112 w 258763"/>
                  <a:gd name="connsiteY143" fmla="*/ 43855 h 330201"/>
                  <a:gd name="connsiteX144" fmla="*/ 56221 w 258763"/>
                  <a:gd name="connsiteY144" fmla="*/ 42565 h 330201"/>
                  <a:gd name="connsiteX145" fmla="*/ 53627 w 258763"/>
                  <a:gd name="connsiteY145" fmla="*/ 42565 h 330201"/>
                  <a:gd name="connsiteX146" fmla="*/ 51032 w 258763"/>
                  <a:gd name="connsiteY146" fmla="*/ 41276 h 330201"/>
                  <a:gd name="connsiteX147" fmla="*/ 47141 w 258763"/>
                  <a:gd name="connsiteY147" fmla="*/ 39986 h 330201"/>
                  <a:gd name="connsiteX148" fmla="*/ 36764 w 258763"/>
                  <a:gd name="connsiteY148" fmla="*/ 34826 h 330201"/>
                  <a:gd name="connsiteX149" fmla="*/ 26387 w 258763"/>
                  <a:gd name="connsiteY149" fmla="*/ 27087 h 330201"/>
                  <a:gd name="connsiteX150" fmla="*/ 18605 w 258763"/>
                  <a:gd name="connsiteY150" fmla="*/ 19348 h 330201"/>
                  <a:gd name="connsiteX151" fmla="*/ 13416 w 258763"/>
                  <a:gd name="connsiteY151" fmla="*/ 12899 h 330201"/>
                  <a:gd name="connsiteX152" fmla="*/ 10822 w 258763"/>
                  <a:gd name="connsiteY152" fmla="*/ 6450 h 330201"/>
                  <a:gd name="connsiteX153" fmla="*/ 9525 w 258763"/>
                  <a:gd name="connsiteY153" fmla="*/ 1290 h 330201"/>
                  <a:gd name="connsiteX154" fmla="*/ 9525 w 258763"/>
                  <a:gd name="connsiteY154" fmla="*/ 0 h 3302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Lst>
                <a:rect l="l" t="t" r="r" b="b"/>
                <a:pathLst>
                  <a:path w="258763" h="330201">
                    <a:moveTo>
                      <a:pt x="43815" y="130175"/>
                    </a:moveTo>
                    <a:cubicBezTo>
                      <a:pt x="34925" y="130175"/>
                      <a:pt x="28575" y="137968"/>
                      <a:pt x="28575" y="147060"/>
                    </a:cubicBezTo>
                    <a:cubicBezTo>
                      <a:pt x="28575" y="147060"/>
                      <a:pt x="28575" y="147060"/>
                      <a:pt x="28575" y="227590"/>
                    </a:cubicBezTo>
                    <a:cubicBezTo>
                      <a:pt x="28575" y="236682"/>
                      <a:pt x="34925" y="244475"/>
                      <a:pt x="43815" y="244475"/>
                    </a:cubicBezTo>
                    <a:cubicBezTo>
                      <a:pt x="52705" y="244475"/>
                      <a:pt x="60325" y="236682"/>
                      <a:pt x="60325" y="227590"/>
                    </a:cubicBezTo>
                    <a:cubicBezTo>
                      <a:pt x="60325" y="227590"/>
                      <a:pt x="60325" y="227590"/>
                      <a:pt x="60325" y="147060"/>
                    </a:cubicBezTo>
                    <a:cubicBezTo>
                      <a:pt x="60325" y="137968"/>
                      <a:pt x="52705" y="130175"/>
                      <a:pt x="43815" y="130175"/>
                    </a:cubicBezTo>
                    <a:close/>
                    <a:moveTo>
                      <a:pt x="221457" y="98425"/>
                    </a:moveTo>
                    <a:cubicBezTo>
                      <a:pt x="215008" y="98425"/>
                      <a:pt x="211138" y="103579"/>
                      <a:pt x="211138" y="110021"/>
                    </a:cubicBezTo>
                    <a:lnTo>
                      <a:pt x="211138" y="265918"/>
                    </a:lnTo>
                    <a:cubicBezTo>
                      <a:pt x="211138" y="271072"/>
                      <a:pt x="215008" y="276225"/>
                      <a:pt x="221457" y="276225"/>
                    </a:cubicBezTo>
                    <a:cubicBezTo>
                      <a:pt x="227907" y="276225"/>
                      <a:pt x="231776" y="271072"/>
                      <a:pt x="231776" y="265918"/>
                    </a:cubicBezTo>
                    <a:cubicBezTo>
                      <a:pt x="231776" y="265918"/>
                      <a:pt x="231776" y="265918"/>
                      <a:pt x="231776" y="110021"/>
                    </a:cubicBezTo>
                    <a:cubicBezTo>
                      <a:pt x="231776" y="103579"/>
                      <a:pt x="227907" y="98425"/>
                      <a:pt x="221457" y="98425"/>
                    </a:cubicBezTo>
                    <a:close/>
                    <a:moveTo>
                      <a:pt x="80216" y="71438"/>
                    </a:moveTo>
                    <a:cubicBezTo>
                      <a:pt x="80216" y="71438"/>
                      <a:pt x="80216" y="71438"/>
                      <a:pt x="236768" y="71438"/>
                    </a:cubicBezTo>
                    <a:cubicBezTo>
                      <a:pt x="258763" y="71438"/>
                      <a:pt x="258763" y="71438"/>
                      <a:pt x="258763" y="93324"/>
                    </a:cubicBezTo>
                    <a:cubicBezTo>
                      <a:pt x="258763" y="93324"/>
                      <a:pt x="258763" y="93324"/>
                      <a:pt x="258763" y="274844"/>
                    </a:cubicBezTo>
                    <a:cubicBezTo>
                      <a:pt x="258763" y="330201"/>
                      <a:pt x="258763" y="330201"/>
                      <a:pt x="204423" y="330201"/>
                    </a:cubicBezTo>
                    <a:cubicBezTo>
                      <a:pt x="204423" y="330201"/>
                      <a:pt x="204423" y="330201"/>
                      <a:pt x="113856" y="330201"/>
                    </a:cubicBezTo>
                    <a:cubicBezTo>
                      <a:pt x="59515" y="330201"/>
                      <a:pt x="59515" y="330201"/>
                      <a:pt x="59515" y="274844"/>
                    </a:cubicBezTo>
                    <a:cubicBezTo>
                      <a:pt x="59515" y="274844"/>
                      <a:pt x="59515" y="274844"/>
                      <a:pt x="59515" y="267120"/>
                    </a:cubicBezTo>
                    <a:cubicBezTo>
                      <a:pt x="54340" y="269694"/>
                      <a:pt x="49165" y="270982"/>
                      <a:pt x="42696" y="270982"/>
                    </a:cubicBezTo>
                    <a:cubicBezTo>
                      <a:pt x="19407" y="270982"/>
                      <a:pt x="0" y="251671"/>
                      <a:pt x="0" y="227211"/>
                    </a:cubicBezTo>
                    <a:cubicBezTo>
                      <a:pt x="0" y="227211"/>
                      <a:pt x="0" y="227211"/>
                      <a:pt x="0" y="147394"/>
                    </a:cubicBezTo>
                    <a:cubicBezTo>
                      <a:pt x="0" y="122933"/>
                      <a:pt x="19407" y="103623"/>
                      <a:pt x="42696" y="103623"/>
                    </a:cubicBezTo>
                    <a:cubicBezTo>
                      <a:pt x="49165" y="103623"/>
                      <a:pt x="54340" y="104910"/>
                      <a:pt x="59515" y="107485"/>
                    </a:cubicBezTo>
                    <a:cubicBezTo>
                      <a:pt x="59515" y="107485"/>
                      <a:pt x="59515" y="107485"/>
                      <a:pt x="59515" y="93324"/>
                    </a:cubicBezTo>
                    <a:cubicBezTo>
                      <a:pt x="59515" y="71438"/>
                      <a:pt x="59515" y="71438"/>
                      <a:pt x="80216" y="71438"/>
                    </a:cubicBezTo>
                    <a:close/>
                    <a:moveTo>
                      <a:pt x="107950" y="0"/>
                    </a:moveTo>
                    <a:cubicBezTo>
                      <a:pt x="107950" y="0"/>
                      <a:pt x="107950" y="0"/>
                      <a:pt x="109247" y="1290"/>
                    </a:cubicBezTo>
                    <a:cubicBezTo>
                      <a:pt x="110544" y="1290"/>
                      <a:pt x="111841" y="2580"/>
                      <a:pt x="113139" y="2580"/>
                    </a:cubicBezTo>
                    <a:cubicBezTo>
                      <a:pt x="114436" y="3870"/>
                      <a:pt x="117030" y="3870"/>
                      <a:pt x="119624" y="5160"/>
                    </a:cubicBezTo>
                    <a:cubicBezTo>
                      <a:pt x="120921" y="6450"/>
                      <a:pt x="123515" y="6450"/>
                      <a:pt x="126110" y="7739"/>
                    </a:cubicBezTo>
                    <a:cubicBezTo>
                      <a:pt x="131298" y="10319"/>
                      <a:pt x="137784" y="11609"/>
                      <a:pt x="144269" y="12899"/>
                    </a:cubicBezTo>
                    <a:cubicBezTo>
                      <a:pt x="144269" y="12899"/>
                      <a:pt x="144269" y="12899"/>
                      <a:pt x="145566" y="12899"/>
                    </a:cubicBezTo>
                    <a:cubicBezTo>
                      <a:pt x="145566" y="12899"/>
                      <a:pt x="146863" y="12899"/>
                      <a:pt x="146863" y="14189"/>
                    </a:cubicBezTo>
                    <a:cubicBezTo>
                      <a:pt x="146863" y="14189"/>
                      <a:pt x="146863" y="14189"/>
                      <a:pt x="148161" y="14189"/>
                    </a:cubicBezTo>
                    <a:cubicBezTo>
                      <a:pt x="148161" y="14189"/>
                      <a:pt x="149458" y="14189"/>
                      <a:pt x="149458" y="14189"/>
                    </a:cubicBezTo>
                    <a:cubicBezTo>
                      <a:pt x="149458" y="14189"/>
                      <a:pt x="150755" y="14189"/>
                      <a:pt x="152052" y="14189"/>
                    </a:cubicBezTo>
                    <a:cubicBezTo>
                      <a:pt x="152052" y="15478"/>
                      <a:pt x="153349" y="15478"/>
                      <a:pt x="154646" y="15478"/>
                    </a:cubicBezTo>
                    <a:cubicBezTo>
                      <a:pt x="154646" y="15478"/>
                      <a:pt x="154646" y="15478"/>
                      <a:pt x="155943" y="15478"/>
                    </a:cubicBezTo>
                    <a:cubicBezTo>
                      <a:pt x="155943" y="15478"/>
                      <a:pt x="155943" y="15478"/>
                      <a:pt x="157240" y="15478"/>
                    </a:cubicBezTo>
                    <a:cubicBezTo>
                      <a:pt x="157240" y="15478"/>
                      <a:pt x="157240" y="15478"/>
                      <a:pt x="158537" y="16768"/>
                    </a:cubicBezTo>
                    <a:cubicBezTo>
                      <a:pt x="158537" y="16768"/>
                      <a:pt x="158537" y="16768"/>
                      <a:pt x="159835" y="16768"/>
                    </a:cubicBezTo>
                    <a:cubicBezTo>
                      <a:pt x="161132" y="16768"/>
                      <a:pt x="161132" y="16768"/>
                      <a:pt x="162429" y="16768"/>
                    </a:cubicBezTo>
                    <a:cubicBezTo>
                      <a:pt x="163726" y="16768"/>
                      <a:pt x="163726" y="16768"/>
                      <a:pt x="165023" y="18058"/>
                    </a:cubicBezTo>
                    <a:cubicBezTo>
                      <a:pt x="165023" y="18058"/>
                      <a:pt x="165023" y="18058"/>
                      <a:pt x="166320" y="18058"/>
                    </a:cubicBezTo>
                    <a:cubicBezTo>
                      <a:pt x="166320" y="18058"/>
                      <a:pt x="166320" y="18058"/>
                      <a:pt x="167617" y="18058"/>
                    </a:cubicBezTo>
                    <a:cubicBezTo>
                      <a:pt x="167617" y="18058"/>
                      <a:pt x="167617" y="18058"/>
                      <a:pt x="168914" y="18058"/>
                    </a:cubicBezTo>
                    <a:cubicBezTo>
                      <a:pt x="168914" y="18058"/>
                      <a:pt x="168914" y="18058"/>
                      <a:pt x="170211" y="18058"/>
                    </a:cubicBezTo>
                    <a:cubicBezTo>
                      <a:pt x="172806" y="19348"/>
                      <a:pt x="174103" y="19348"/>
                      <a:pt x="176697" y="20638"/>
                    </a:cubicBezTo>
                    <a:cubicBezTo>
                      <a:pt x="180588" y="21928"/>
                      <a:pt x="184480" y="23218"/>
                      <a:pt x="188371" y="24507"/>
                    </a:cubicBezTo>
                    <a:cubicBezTo>
                      <a:pt x="190965" y="25797"/>
                      <a:pt x="192262" y="25797"/>
                      <a:pt x="193559" y="27087"/>
                    </a:cubicBezTo>
                    <a:cubicBezTo>
                      <a:pt x="194856" y="28377"/>
                      <a:pt x="194856" y="28377"/>
                      <a:pt x="194856" y="28377"/>
                    </a:cubicBezTo>
                    <a:cubicBezTo>
                      <a:pt x="196154" y="28377"/>
                      <a:pt x="196154" y="28377"/>
                      <a:pt x="196154" y="29667"/>
                    </a:cubicBezTo>
                    <a:cubicBezTo>
                      <a:pt x="197451" y="29667"/>
                      <a:pt x="197451" y="29667"/>
                      <a:pt x="197451" y="29667"/>
                    </a:cubicBezTo>
                    <a:cubicBezTo>
                      <a:pt x="198748" y="29667"/>
                      <a:pt x="198748" y="30957"/>
                      <a:pt x="198748" y="30957"/>
                    </a:cubicBezTo>
                    <a:cubicBezTo>
                      <a:pt x="202639" y="33536"/>
                      <a:pt x="205233" y="36116"/>
                      <a:pt x="207828" y="38696"/>
                    </a:cubicBezTo>
                    <a:cubicBezTo>
                      <a:pt x="210422" y="41276"/>
                      <a:pt x="211719" y="45145"/>
                      <a:pt x="213016" y="47725"/>
                    </a:cubicBezTo>
                    <a:cubicBezTo>
                      <a:pt x="214313" y="50305"/>
                      <a:pt x="214313" y="52884"/>
                      <a:pt x="214313" y="55464"/>
                    </a:cubicBezTo>
                    <a:cubicBezTo>
                      <a:pt x="214313" y="56754"/>
                      <a:pt x="214313" y="56754"/>
                      <a:pt x="214313" y="58044"/>
                    </a:cubicBezTo>
                    <a:cubicBezTo>
                      <a:pt x="214313" y="58044"/>
                      <a:pt x="214313" y="59334"/>
                      <a:pt x="213016" y="59334"/>
                    </a:cubicBezTo>
                    <a:cubicBezTo>
                      <a:pt x="213016" y="59334"/>
                      <a:pt x="213016" y="59334"/>
                      <a:pt x="213016" y="60623"/>
                    </a:cubicBezTo>
                    <a:cubicBezTo>
                      <a:pt x="213016" y="61913"/>
                      <a:pt x="213016" y="61913"/>
                      <a:pt x="213016" y="61913"/>
                    </a:cubicBezTo>
                    <a:cubicBezTo>
                      <a:pt x="213016" y="61913"/>
                      <a:pt x="213016" y="61913"/>
                      <a:pt x="211719" y="60623"/>
                    </a:cubicBezTo>
                    <a:cubicBezTo>
                      <a:pt x="211719" y="60623"/>
                      <a:pt x="211719" y="59334"/>
                      <a:pt x="210422" y="59334"/>
                    </a:cubicBezTo>
                    <a:cubicBezTo>
                      <a:pt x="210422" y="59334"/>
                      <a:pt x="210422" y="58044"/>
                      <a:pt x="209125" y="58044"/>
                    </a:cubicBezTo>
                    <a:cubicBezTo>
                      <a:pt x="207828" y="56754"/>
                      <a:pt x="205233" y="55464"/>
                      <a:pt x="203936" y="54174"/>
                    </a:cubicBezTo>
                    <a:cubicBezTo>
                      <a:pt x="201342" y="54174"/>
                      <a:pt x="200045" y="52884"/>
                      <a:pt x="197451" y="51594"/>
                    </a:cubicBezTo>
                    <a:cubicBezTo>
                      <a:pt x="194856" y="51594"/>
                      <a:pt x="192262" y="50305"/>
                      <a:pt x="189668" y="50305"/>
                    </a:cubicBezTo>
                    <a:cubicBezTo>
                      <a:pt x="188371" y="50305"/>
                      <a:pt x="188371" y="50305"/>
                      <a:pt x="187074" y="50305"/>
                    </a:cubicBezTo>
                    <a:cubicBezTo>
                      <a:pt x="187074" y="49015"/>
                      <a:pt x="185777" y="49015"/>
                      <a:pt x="184480" y="49015"/>
                    </a:cubicBezTo>
                    <a:cubicBezTo>
                      <a:pt x="183182" y="49015"/>
                      <a:pt x="181885" y="49015"/>
                      <a:pt x="180588" y="47725"/>
                    </a:cubicBezTo>
                    <a:cubicBezTo>
                      <a:pt x="176697" y="47725"/>
                      <a:pt x="174103" y="47725"/>
                      <a:pt x="170211" y="46435"/>
                    </a:cubicBezTo>
                    <a:cubicBezTo>
                      <a:pt x="168914" y="46435"/>
                      <a:pt x="166320" y="45145"/>
                      <a:pt x="165023" y="45145"/>
                    </a:cubicBezTo>
                    <a:cubicBezTo>
                      <a:pt x="165023" y="45145"/>
                      <a:pt x="165023" y="45145"/>
                      <a:pt x="163726" y="45145"/>
                    </a:cubicBezTo>
                    <a:cubicBezTo>
                      <a:pt x="163726" y="45145"/>
                      <a:pt x="163726" y="45145"/>
                      <a:pt x="162429" y="45145"/>
                    </a:cubicBezTo>
                    <a:cubicBezTo>
                      <a:pt x="162429" y="45145"/>
                      <a:pt x="162429" y="45145"/>
                      <a:pt x="159835" y="43855"/>
                    </a:cubicBezTo>
                    <a:cubicBezTo>
                      <a:pt x="159835" y="43855"/>
                      <a:pt x="159835" y="43855"/>
                      <a:pt x="158537" y="43855"/>
                    </a:cubicBezTo>
                    <a:cubicBezTo>
                      <a:pt x="157240" y="43855"/>
                      <a:pt x="157240" y="43855"/>
                      <a:pt x="155943" y="42565"/>
                    </a:cubicBezTo>
                    <a:cubicBezTo>
                      <a:pt x="154646" y="42565"/>
                      <a:pt x="153349" y="42565"/>
                      <a:pt x="152052" y="42565"/>
                    </a:cubicBezTo>
                    <a:cubicBezTo>
                      <a:pt x="152052" y="41276"/>
                      <a:pt x="150755" y="41276"/>
                      <a:pt x="149458" y="41276"/>
                    </a:cubicBezTo>
                    <a:cubicBezTo>
                      <a:pt x="148161" y="41276"/>
                      <a:pt x="146863" y="39986"/>
                      <a:pt x="146863" y="39986"/>
                    </a:cubicBezTo>
                    <a:cubicBezTo>
                      <a:pt x="142972" y="38696"/>
                      <a:pt x="139081" y="36116"/>
                      <a:pt x="135189" y="34826"/>
                    </a:cubicBezTo>
                    <a:cubicBezTo>
                      <a:pt x="131298" y="32247"/>
                      <a:pt x="128704" y="29667"/>
                      <a:pt x="124813" y="27087"/>
                    </a:cubicBezTo>
                    <a:cubicBezTo>
                      <a:pt x="122218" y="24507"/>
                      <a:pt x="119624" y="21928"/>
                      <a:pt x="117030" y="19348"/>
                    </a:cubicBezTo>
                    <a:cubicBezTo>
                      <a:pt x="115733" y="16768"/>
                      <a:pt x="113139" y="15478"/>
                      <a:pt x="111841" y="12899"/>
                    </a:cubicBezTo>
                    <a:cubicBezTo>
                      <a:pt x="110544" y="10319"/>
                      <a:pt x="110544" y="7739"/>
                      <a:pt x="109247" y="6450"/>
                    </a:cubicBezTo>
                    <a:cubicBezTo>
                      <a:pt x="109247" y="3870"/>
                      <a:pt x="107950" y="2580"/>
                      <a:pt x="107950" y="1290"/>
                    </a:cubicBezTo>
                    <a:cubicBezTo>
                      <a:pt x="107950" y="1290"/>
                      <a:pt x="107950" y="0"/>
                      <a:pt x="107950" y="0"/>
                    </a:cubicBezTo>
                    <a:close/>
                    <a:moveTo>
                      <a:pt x="9525" y="0"/>
                    </a:moveTo>
                    <a:cubicBezTo>
                      <a:pt x="9525" y="0"/>
                      <a:pt x="9525" y="0"/>
                      <a:pt x="10822" y="1290"/>
                    </a:cubicBezTo>
                    <a:cubicBezTo>
                      <a:pt x="12119" y="1290"/>
                      <a:pt x="12119" y="2580"/>
                      <a:pt x="14713" y="2580"/>
                    </a:cubicBezTo>
                    <a:cubicBezTo>
                      <a:pt x="16010" y="3870"/>
                      <a:pt x="17308" y="3870"/>
                      <a:pt x="19902" y="5160"/>
                    </a:cubicBezTo>
                    <a:cubicBezTo>
                      <a:pt x="22496" y="6450"/>
                      <a:pt x="25090" y="6450"/>
                      <a:pt x="27684" y="7739"/>
                    </a:cubicBezTo>
                    <a:cubicBezTo>
                      <a:pt x="32873" y="9029"/>
                      <a:pt x="39358" y="11609"/>
                      <a:pt x="45844" y="12899"/>
                    </a:cubicBezTo>
                    <a:cubicBezTo>
                      <a:pt x="45844" y="12899"/>
                      <a:pt x="45844" y="12899"/>
                      <a:pt x="47141" y="12899"/>
                    </a:cubicBezTo>
                    <a:cubicBezTo>
                      <a:pt x="47141" y="12899"/>
                      <a:pt x="47141" y="12899"/>
                      <a:pt x="48438" y="12899"/>
                    </a:cubicBezTo>
                    <a:cubicBezTo>
                      <a:pt x="48438" y="12899"/>
                      <a:pt x="48438" y="12899"/>
                      <a:pt x="48438" y="14189"/>
                    </a:cubicBezTo>
                    <a:cubicBezTo>
                      <a:pt x="49735" y="14189"/>
                      <a:pt x="49735" y="14189"/>
                      <a:pt x="49735" y="14189"/>
                    </a:cubicBezTo>
                    <a:cubicBezTo>
                      <a:pt x="51032" y="14189"/>
                      <a:pt x="52329" y="14189"/>
                      <a:pt x="52329" y="14189"/>
                    </a:cubicBezTo>
                    <a:cubicBezTo>
                      <a:pt x="53627" y="15478"/>
                      <a:pt x="54924" y="15478"/>
                      <a:pt x="54924" y="15478"/>
                    </a:cubicBezTo>
                    <a:cubicBezTo>
                      <a:pt x="56221" y="15478"/>
                      <a:pt x="56221" y="15478"/>
                      <a:pt x="56221" y="15478"/>
                    </a:cubicBezTo>
                    <a:cubicBezTo>
                      <a:pt x="57518" y="15478"/>
                      <a:pt x="57518" y="15478"/>
                      <a:pt x="57518" y="15478"/>
                    </a:cubicBezTo>
                    <a:cubicBezTo>
                      <a:pt x="58815" y="15478"/>
                      <a:pt x="58815" y="15478"/>
                      <a:pt x="58815" y="15478"/>
                    </a:cubicBezTo>
                    <a:cubicBezTo>
                      <a:pt x="60112" y="16768"/>
                      <a:pt x="60112" y="16768"/>
                      <a:pt x="60112" y="16768"/>
                    </a:cubicBezTo>
                    <a:cubicBezTo>
                      <a:pt x="61409" y="16768"/>
                      <a:pt x="62706" y="16768"/>
                      <a:pt x="62706" y="16768"/>
                    </a:cubicBezTo>
                    <a:cubicBezTo>
                      <a:pt x="64003" y="16768"/>
                      <a:pt x="65301" y="16768"/>
                      <a:pt x="65301" y="18058"/>
                    </a:cubicBezTo>
                    <a:cubicBezTo>
                      <a:pt x="65301" y="18058"/>
                      <a:pt x="65301" y="18058"/>
                      <a:pt x="66598" y="18058"/>
                    </a:cubicBezTo>
                    <a:cubicBezTo>
                      <a:pt x="66598" y="18058"/>
                      <a:pt x="66598" y="18058"/>
                      <a:pt x="69192" y="18058"/>
                    </a:cubicBezTo>
                    <a:cubicBezTo>
                      <a:pt x="69192" y="18058"/>
                      <a:pt x="69192" y="18058"/>
                      <a:pt x="70489" y="18058"/>
                    </a:cubicBezTo>
                    <a:cubicBezTo>
                      <a:pt x="70489" y="18058"/>
                      <a:pt x="70489" y="18058"/>
                      <a:pt x="71786" y="18058"/>
                    </a:cubicBezTo>
                    <a:cubicBezTo>
                      <a:pt x="73083" y="19348"/>
                      <a:pt x="75677" y="19348"/>
                      <a:pt x="76975" y="20638"/>
                    </a:cubicBezTo>
                    <a:cubicBezTo>
                      <a:pt x="82163" y="20638"/>
                      <a:pt x="86054" y="23218"/>
                      <a:pt x="89946" y="24507"/>
                    </a:cubicBezTo>
                    <a:cubicBezTo>
                      <a:pt x="91243" y="25797"/>
                      <a:pt x="93837" y="25797"/>
                      <a:pt x="95134" y="27087"/>
                    </a:cubicBezTo>
                    <a:cubicBezTo>
                      <a:pt x="95134" y="27087"/>
                      <a:pt x="96431" y="28377"/>
                      <a:pt x="96431" y="28377"/>
                    </a:cubicBezTo>
                    <a:cubicBezTo>
                      <a:pt x="96431" y="28377"/>
                      <a:pt x="97728" y="28377"/>
                      <a:pt x="97728" y="28377"/>
                    </a:cubicBezTo>
                    <a:cubicBezTo>
                      <a:pt x="97728" y="29667"/>
                      <a:pt x="99025" y="29667"/>
                      <a:pt x="99025" y="29667"/>
                    </a:cubicBezTo>
                    <a:cubicBezTo>
                      <a:pt x="99025" y="29667"/>
                      <a:pt x="100323" y="30957"/>
                      <a:pt x="100323" y="30957"/>
                    </a:cubicBezTo>
                    <a:cubicBezTo>
                      <a:pt x="102917" y="33536"/>
                      <a:pt x="106808" y="36116"/>
                      <a:pt x="108105" y="38696"/>
                    </a:cubicBezTo>
                    <a:cubicBezTo>
                      <a:pt x="110700" y="41276"/>
                      <a:pt x="111997" y="45145"/>
                      <a:pt x="113294" y="47725"/>
                    </a:cubicBezTo>
                    <a:cubicBezTo>
                      <a:pt x="114591" y="50305"/>
                      <a:pt x="115888" y="52884"/>
                      <a:pt x="114591" y="55464"/>
                    </a:cubicBezTo>
                    <a:cubicBezTo>
                      <a:pt x="114591" y="56754"/>
                      <a:pt x="114591" y="56754"/>
                      <a:pt x="114591" y="58044"/>
                    </a:cubicBezTo>
                    <a:cubicBezTo>
                      <a:pt x="114591" y="58044"/>
                      <a:pt x="114591" y="59334"/>
                      <a:pt x="114591" y="59334"/>
                    </a:cubicBezTo>
                    <a:cubicBezTo>
                      <a:pt x="114591" y="59334"/>
                      <a:pt x="114591" y="59334"/>
                      <a:pt x="114591" y="60623"/>
                    </a:cubicBezTo>
                    <a:cubicBezTo>
                      <a:pt x="114591" y="60623"/>
                      <a:pt x="113294" y="60623"/>
                      <a:pt x="113294" y="61913"/>
                    </a:cubicBezTo>
                    <a:cubicBezTo>
                      <a:pt x="113294" y="60623"/>
                      <a:pt x="113294" y="60623"/>
                      <a:pt x="111997" y="60623"/>
                    </a:cubicBezTo>
                    <a:cubicBezTo>
                      <a:pt x="111997" y="60623"/>
                      <a:pt x="111997" y="59334"/>
                      <a:pt x="111997" y="59334"/>
                    </a:cubicBezTo>
                    <a:cubicBezTo>
                      <a:pt x="110700" y="59334"/>
                      <a:pt x="110700" y="58044"/>
                      <a:pt x="110700" y="58044"/>
                    </a:cubicBezTo>
                    <a:cubicBezTo>
                      <a:pt x="110700" y="58044"/>
                      <a:pt x="110700" y="58044"/>
                      <a:pt x="109403" y="58044"/>
                    </a:cubicBezTo>
                    <a:cubicBezTo>
                      <a:pt x="108105" y="56754"/>
                      <a:pt x="106808" y="55464"/>
                      <a:pt x="104214" y="54174"/>
                    </a:cubicBezTo>
                    <a:cubicBezTo>
                      <a:pt x="102917" y="54174"/>
                      <a:pt x="100323" y="52884"/>
                      <a:pt x="97728" y="51594"/>
                    </a:cubicBezTo>
                    <a:cubicBezTo>
                      <a:pt x="96431" y="51594"/>
                      <a:pt x="93837" y="50305"/>
                      <a:pt x="89946" y="50305"/>
                    </a:cubicBezTo>
                    <a:cubicBezTo>
                      <a:pt x="89946" y="50305"/>
                      <a:pt x="88649" y="50305"/>
                      <a:pt x="88649" y="50305"/>
                    </a:cubicBezTo>
                    <a:cubicBezTo>
                      <a:pt x="87351" y="49015"/>
                      <a:pt x="87351" y="49015"/>
                      <a:pt x="86054" y="49015"/>
                    </a:cubicBezTo>
                    <a:cubicBezTo>
                      <a:pt x="84757" y="49015"/>
                      <a:pt x="83460" y="49015"/>
                      <a:pt x="80866" y="47725"/>
                    </a:cubicBezTo>
                    <a:cubicBezTo>
                      <a:pt x="78272" y="47725"/>
                      <a:pt x="74380" y="47725"/>
                      <a:pt x="71786" y="46435"/>
                    </a:cubicBezTo>
                    <a:cubicBezTo>
                      <a:pt x="69192" y="46435"/>
                      <a:pt x="67895" y="45145"/>
                      <a:pt x="66598" y="45145"/>
                    </a:cubicBezTo>
                    <a:cubicBezTo>
                      <a:pt x="66598" y="45145"/>
                      <a:pt x="66598" y="45145"/>
                      <a:pt x="65301" y="45145"/>
                    </a:cubicBezTo>
                    <a:cubicBezTo>
                      <a:pt x="65301" y="45145"/>
                      <a:pt x="65301" y="45145"/>
                      <a:pt x="64003" y="45145"/>
                    </a:cubicBezTo>
                    <a:cubicBezTo>
                      <a:pt x="64003" y="45145"/>
                      <a:pt x="64003" y="45145"/>
                      <a:pt x="62706" y="45145"/>
                    </a:cubicBezTo>
                    <a:cubicBezTo>
                      <a:pt x="62706" y="45145"/>
                      <a:pt x="62706" y="45145"/>
                      <a:pt x="61409" y="43855"/>
                    </a:cubicBezTo>
                    <a:cubicBezTo>
                      <a:pt x="61409" y="43855"/>
                      <a:pt x="61409" y="43855"/>
                      <a:pt x="60112" y="43855"/>
                    </a:cubicBezTo>
                    <a:cubicBezTo>
                      <a:pt x="58815" y="43855"/>
                      <a:pt x="57518" y="43855"/>
                      <a:pt x="56221" y="42565"/>
                    </a:cubicBezTo>
                    <a:cubicBezTo>
                      <a:pt x="56221" y="42565"/>
                      <a:pt x="54924" y="42565"/>
                      <a:pt x="53627" y="42565"/>
                    </a:cubicBezTo>
                    <a:cubicBezTo>
                      <a:pt x="52329" y="41276"/>
                      <a:pt x="51032" y="41276"/>
                      <a:pt x="51032" y="41276"/>
                    </a:cubicBezTo>
                    <a:cubicBezTo>
                      <a:pt x="49735" y="41276"/>
                      <a:pt x="48438" y="39986"/>
                      <a:pt x="47141" y="39986"/>
                    </a:cubicBezTo>
                    <a:cubicBezTo>
                      <a:pt x="43250" y="38696"/>
                      <a:pt x="39358" y="36116"/>
                      <a:pt x="36764" y="34826"/>
                    </a:cubicBezTo>
                    <a:cubicBezTo>
                      <a:pt x="32873" y="32247"/>
                      <a:pt x="28982" y="29667"/>
                      <a:pt x="26387" y="27087"/>
                    </a:cubicBezTo>
                    <a:cubicBezTo>
                      <a:pt x="23793" y="24507"/>
                      <a:pt x="21199" y="21928"/>
                      <a:pt x="18605" y="19348"/>
                    </a:cubicBezTo>
                    <a:cubicBezTo>
                      <a:pt x="16010" y="18058"/>
                      <a:pt x="14713" y="15478"/>
                      <a:pt x="13416" y="12899"/>
                    </a:cubicBezTo>
                    <a:cubicBezTo>
                      <a:pt x="12119" y="10319"/>
                      <a:pt x="10822" y="7739"/>
                      <a:pt x="10822" y="6450"/>
                    </a:cubicBezTo>
                    <a:cubicBezTo>
                      <a:pt x="9525" y="3870"/>
                      <a:pt x="9525" y="2580"/>
                      <a:pt x="9525" y="1290"/>
                    </a:cubicBezTo>
                    <a:cubicBezTo>
                      <a:pt x="9525" y="0"/>
                      <a:pt x="9525" y="0"/>
                      <a:pt x="9525" y="0"/>
                    </a:cubicBezTo>
                    <a:close/>
                  </a:path>
                </a:pathLst>
              </a:custGeom>
              <a:solidFill>
                <a:schemeClr val="bg1"/>
              </a:solidFill>
              <a:ln>
                <a:noFill/>
              </a:ln>
              <a:extLst/>
            </p:spPr>
            <p:txBody>
              <a:bodyPr wrap="square" lIns="91440" tIns="45720" rIns="91440" bIns="45720" anchor="ctr">
                <a:normAutofit fontScale="925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grpSp>
        <p:grpSp>
          <p:nvGrpSpPr>
            <p:cNvPr id="60" name="íṩḻíďé">
              <a:extLst>
                <a:ext uri="{FF2B5EF4-FFF2-40B4-BE49-F238E27FC236}">
                  <a16:creationId xmlns:a16="http://schemas.microsoft.com/office/drawing/2014/main" id="{7E116B91-D61A-411C-9C1F-CA1774B6A73A}"/>
                </a:ext>
              </a:extLst>
            </p:cNvPr>
            <p:cNvGrpSpPr/>
            <p:nvPr/>
          </p:nvGrpSpPr>
          <p:grpSpPr>
            <a:xfrm>
              <a:off x="8022670" y="1870176"/>
              <a:ext cx="9087627" cy="2033721"/>
              <a:chOff x="8170814" y="1912116"/>
              <a:chExt cx="7144011" cy="2033721"/>
            </a:xfrm>
          </p:grpSpPr>
          <p:grpSp>
            <p:nvGrpSpPr>
              <p:cNvPr id="61" name="isļîďê">
                <a:extLst>
                  <a:ext uri="{FF2B5EF4-FFF2-40B4-BE49-F238E27FC236}">
                    <a16:creationId xmlns:a16="http://schemas.microsoft.com/office/drawing/2014/main" id="{37E29001-3F4E-4711-AF43-0373D2427CA6}"/>
                  </a:ext>
                </a:extLst>
              </p:cNvPr>
              <p:cNvGrpSpPr/>
              <p:nvPr/>
            </p:nvGrpSpPr>
            <p:grpSpPr>
              <a:xfrm>
                <a:off x="8170814" y="1912116"/>
                <a:ext cx="3840674" cy="1958483"/>
                <a:chOff x="1193500" y="1491637"/>
                <a:chExt cx="5532186" cy="1958483"/>
              </a:xfrm>
            </p:grpSpPr>
            <p:grpSp>
              <p:nvGrpSpPr>
                <p:cNvPr id="64" name="ïṥļîdê">
                  <a:extLst>
                    <a:ext uri="{FF2B5EF4-FFF2-40B4-BE49-F238E27FC236}">
                      <a16:creationId xmlns:a16="http://schemas.microsoft.com/office/drawing/2014/main" id="{45B3B41F-6F41-44B6-9F3B-C93C5D8AE2CE}"/>
                    </a:ext>
                  </a:extLst>
                </p:cNvPr>
                <p:cNvGrpSpPr/>
                <p:nvPr/>
              </p:nvGrpSpPr>
              <p:grpSpPr>
                <a:xfrm>
                  <a:off x="1193500" y="1491637"/>
                  <a:ext cx="3761195" cy="763895"/>
                  <a:chOff x="1317257" y="1824875"/>
                  <a:chExt cx="3761195" cy="763895"/>
                </a:xfrm>
              </p:grpSpPr>
              <p:sp>
                <p:nvSpPr>
                  <p:cNvPr id="66" name="íṩḷîďé">
                    <a:extLst>
                      <a:ext uri="{FF2B5EF4-FFF2-40B4-BE49-F238E27FC236}">
                        <a16:creationId xmlns:a16="http://schemas.microsoft.com/office/drawing/2014/main" id="{9192D368-6F04-484E-BE3D-A0B449BDC112}"/>
                      </a:ext>
                    </a:extLst>
                  </p:cNvPr>
                  <p:cNvSpPr txBox="1"/>
                  <p:nvPr/>
                </p:nvSpPr>
                <p:spPr>
                  <a:xfrm>
                    <a:off x="1455221" y="2080939"/>
                    <a:ext cx="1366057" cy="507831"/>
                  </a:xfrm>
                  <a:prstGeom prst="rect">
                    <a:avLst/>
                  </a:prstGeom>
                  <a:noFill/>
                </p:spPr>
                <p:txBody>
                  <a:bodyPr wrap="square" lIns="91440" tIns="45720" rIns="91440" bIns="45720">
                    <a:no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lnSpc>
                        <a:spcPct val="120000"/>
                      </a:lnSpc>
                    </a:pPr>
                    <a:r>
                      <a:rPr lang="zh-CN" altLang="en-US" sz="1400" dirty="0"/>
                      <a:t>成功</a:t>
                    </a:r>
                    <a:endParaRPr lang="en-US" altLang="zh-CN" sz="1400" dirty="0"/>
                  </a:p>
                </p:txBody>
              </p:sp>
              <p:sp>
                <p:nvSpPr>
                  <p:cNvPr id="67" name="íśḻïḑè">
                    <a:extLst>
                      <a:ext uri="{FF2B5EF4-FFF2-40B4-BE49-F238E27FC236}">
                        <a16:creationId xmlns:a16="http://schemas.microsoft.com/office/drawing/2014/main" id="{DE0BD1E4-6717-4DB0-9309-C89F964C7C95}"/>
                      </a:ext>
                    </a:extLst>
                  </p:cNvPr>
                  <p:cNvSpPr/>
                  <p:nvPr/>
                </p:nvSpPr>
                <p:spPr>
                  <a:xfrm>
                    <a:off x="1317257" y="1824875"/>
                    <a:ext cx="3761195" cy="307777"/>
                  </a:xfrm>
                  <a:prstGeom prst="rect">
                    <a:avLst/>
                  </a:prstGeom>
                </p:spPr>
                <p:txBody>
                  <a:bodyPr wrap="square" lIns="91440" tIns="45720" rIns="91440" bIns="45720">
                    <a:normAutofit fontScale="475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altLang="zh-CN" sz="1600" b="1" dirty="0">
                        <a:solidFill>
                          <a:schemeClr val="accent1"/>
                        </a:solidFill>
                      </a:rPr>
                      <a:t>Text here</a:t>
                    </a:r>
                    <a:endParaRPr lang="zh-CN" altLang="en-US" sz="1600" b="1" dirty="0">
                      <a:solidFill>
                        <a:schemeClr val="accent1"/>
                      </a:solidFill>
                    </a:endParaRPr>
                  </a:p>
                </p:txBody>
              </p:sp>
            </p:grpSp>
            <p:sp>
              <p:nvSpPr>
                <p:cNvPr id="65" name="îṥľïḍè">
                  <a:extLst>
                    <a:ext uri="{FF2B5EF4-FFF2-40B4-BE49-F238E27FC236}">
                      <a16:creationId xmlns:a16="http://schemas.microsoft.com/office/drawing/2014/main" id="{C78FD76E-347D-4E51-8ADC-065FB688E7A2}"/>
                    </a:ext>
                  </a:extLst>
                </p:cNvPr>
                <p:cNvSpPr/>
                <p:nvPr/>
              </p:nvSpPr>
              <p:spPr>
                <a:xfrm>
                  <a:off x="4954695" y="3033689"/>
                  <a:ext cx="1770991" cy="416431"/>
                </a:xfrm>
                <a:prstGeom prst="rect">
                  <a:avLst/>
                </a:prstGeom>
              </p:spPr>
              <p:txBody>
                <a:bodyPr wrap="square" lIns="91440" tIns="45720" rIns="91440" bIns="45720">
                  <a:no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zh-CN" altLang="en-US" sz="1400" dirty="0" smtClean="0"/>
                    <a:t>失败报警</a:t>
                  </a:r>
                  <a:endParaRPr lang="zh-CN" altLang="en-US" sz="1400" dirty="0"/>
                </a:p>
              </p:txBody>
            </p:sp>
          </p:grpSp>
          <p:cxnSp>
            <p:nvCxnSpPr>
              <p:cNvPr id="62" name="直接连接符 61">
                <a:extLst>
                  <a:ext uri="{FF2B5EF4-FFF2-40B4-BE49-F238E27FC236}">
                    <a16:creationId xmlns:a16="http://schemas.microsoft.com/office/drawing/2014/main" id="{F3E881F0-7521-4A93-96C2-C4C6C647564C}"/>
                  </a:ext>
                </a:extLst>
              </p:cNvPr>
              <p:cNvCxnSpPr>
                <a:cxnSpLocks/>
              </p:cNvCxnSpPr>
              <p:nvPr/>
            </p:nvCxnSpPr>
            <p:spPr>
              <a:xfrm flipV="1">
                <a:off x="8170814" y="2676011"/>
                <a:ext cx="4170019" cy="6978"/>
              </a:xfrm>
              <a:prstGeom prst="line">
                <a:avLst/>
              </a:prstGeom>
              <a:ln>
                <a:solidFill>
                  <a:schemeClr val="tx1">
                    <a:lumMod val="20000"/>
                    <a:lumOff val="80000"/>
                  </a:schemeClr>
                </a:solidFill>
              </a:ln>
            </p:spPr>
            <p:style>
              <a:lnRef idx="1">
                <a:schemeClr val="accent1"/>
              </a:lnRef>
              <a:fillRef idx="0">
                <a:schemeClr val="accent1"/>
              </a:fillRef>
              <a:effectRef idx="0">
                <a:schemeClr val="accent1"/>
              </a:effectRef>
              <a:fontRef idx="minor">
                <a:schemeClr val="tx1"/>
              </a:fontRef>
            </p:style>
          </p:cxnSp>
          <p:cxnSp>
            <p:nvCxnSpPr>
              <p:cNvPr id="63" name="直接连接符 62">
                <a:extLst>
                  <a:ext uri="{FF2B5EF4-FFF2-40B4-BE49-F238E27FC236}">
                    <a16:creationId xmlns:a16="http://schemas.microsoft.com/office/drawing/2014/main" id="{F0E99E5E-8C69-47B4-98BA-C1C5B7186224}"/>
                  </a:ext>
                </a:extLst>
              </p:cNvPr>
              <p:cNvCxnSpPr>
                <a:cxnSpLocks/>
              </p:cNvCxnSpPr>
              <p:nvPr/>
            </p:nvCxnSpPr>
            <p:spPr>
              <a:xfrm>
                <a:off x="8170814" y="3932582"/>
                <a:ext cx="7144011" cy="13255"/>
              </a:xfrm>
              <a:prstGeom prst="line">
                <a:avLst/>
              </a:prstGeom>
              <a:ln>
                <a:solidFill>
                  <a:schemeClr val="tx1">
                    <a:lumMod val="20000"/>
                    <a:lumOff val="80000"/>
                  </a:schemeClr>
                </a:solidFill>
              </a:ln>
            </p:spPr>
            <p:style>
              <a:lnRef idx="1">
                <a:schemeClr val="accent1"/>
              </a:lnRef>
              <a:fillRef idx="0">
                <a:schemeClr val="accent1"/>
              </a:fillRef>
              <a:effectRef idx="0">
                <a:schemeClr val="accent1"/>
              </a:effectRef>
              <a:fontRef idx="minor">
                <a:schemeClr val="tx1"/>
              </a:fontRef>
            </p:style>
          </p:cxnSp>
        </p:grpSp>
      </p:grpSp>
      <p:pic>
        <p:nvPicPr>
          <p:cNvPr id="33" name="图片 32"/>
          <p:cNvPicPr/>
          <p:nvPr/>
        </p:nvPicPr>
        <p:blipFill>
          <a:blip r:embed="rId2"/>
          <a:stretch>
            <a:fillRect/>
          </a:stretch>
        </p:blipFill>
        <p:spPr>
          <a:xfrm>
            <a:off x="3952207" y="1560531"/>
            <a:ext cx="2199974" cy="3111538"/>
          </a:xfrm>
          <a:prstGeom prst="rect">
            <a:avLst/>
          </a:prstGeom>
        </p:spPr>
      </p:pic>
      <p:pic>
        <p:nvPicPr>
          <p:cNvPr id="35" name="图片 34"/>
          <p:cNvPicPr/>
          <p:nvPr/>
        </p:nvPicPr>
        <p:blipFill>
          <a:blip r:embed="rId3"/>
          <a:stretch>
            <a:fillRect/>
          </a:stretch>
        </p:blipFill>
        <p:spPr>
          <a:xfrm>
            <a:off x="6399514" y="2377481"/>
            <a:ext cx="2199974" cy="3111538"/>
          </a:xfrm>
          <a:prstGeom prst="rect">
            <a:avLst/>
          </a:prstGeom>
        </p:spPr>
      </p:pic>
      <p:cxnSp>
        <p:nvCxnSpPr>
          <p:cNvPr id="38" name="直接连接符 37">
            <a:extLst>
              <a:ext uri="{FF2B5EF4-FFF2-40B4-BE49-F238E27FC236}">
                <a16:creationId xmlns:a16="http://schemas.microsoft.com/office/drawing/2014/main" id="{F0E99E5E-8C69-47B4-98BA-C1C5B7186224}"/>
              </a:ext>
            </a:extLst>
          </p:cNvPr>
          <p:cNvCxnSpPr>
            <a:cxnSpLocks/>
          </p:cNvCxnSpPr>
          <p:nvPr/>
        </p:nvCxnSpPr>
        <p:spPr>
          <a:xfrm flipV="1">
            <a:off x="2720662" y="6331512"/>
            <a:ext cx="8326133" cy="1024"/>
          </a:xfrm>
          <a:prstGeom prst="line">
            <a:avLst/>
          </a:prstGeom>
          <a:ln>
            <a:solidFill>
              <a:schemeClr val="tx1">
                <a:lumMod val="20000"/>
                <a:lumOff val="80000"/>
              </a:schemeClr>
            </a:solidFill>
          </a:ln>
        </p:spPr>
        <p:style>
          <a:lnRef idx="1">
            <a:schemeClr val="accent1"/>
          </a:lnRef>
          <a:fillRef idx="0">
            <a:schemeClr val="accent1"/>
          </a:fillRef>
          <a:effectRef idx="0">
            <a:schemeClr val="accent1"/>
          </a:effectRef>
          <a:fontRef idx="minor">
            <a:schemeClr val="tx1"/>
          </a:fontRef>
        </p:style>
      </p:cxnSp>
      <p:sp>
        <p:nvSpPr>
          <p:cNvPr id="41" name="îṥľïḍè">
            <a:extLst>
              <a:ext uri="{FF2B5EF4-FFF2-40B4-BE49-F238E27FC236}">
                <a16:creationId xmlns:a16="http://schemas.microsoft.com/office/drawing/2014/main" id="{C78FD76E-347D-4E51-8ADC-065FB688E7A2}"/>
              </a:ext>
            </a:extLst>
          </p:cNvPr>
          <p:cNvSpPr/>
          <p:nvPr/>
        </p:nvSpPr>
        <p:spPr>
          <a:xfrm>
            <a:off x="6853881" y="6035000"/>
            <a:ext cx="1415865" cy="269391"/>
          </a:xfrm>
          <a:prstGeom prst="rect">
            <a:avLst/>
          </a:prstGeom>
        </p:spPr>
        <p:txBody>
          <a:bodyPr wrap="square" lIns="91440" tIns="45720" rIns="91440" bIns="45720">
            <a:noAutofit/>
          </a:bodyPr>
          <a:lstStyle/>
          <a:p>
            <a:pPr algn="r"/>
            <a:r>
              <a:rPr lang="zh-CN" altLang="en-US" sz="1400" dirty="0" smtClean="0"/>
              <a:t>流程错误提示</a:t>
            </a:r>
            <a:endParaRPr lang="zh-CN" altLang="en-US" sz="1400" dirty="0"/>
          </a:p>
        </p:txBody>
      </p:sp>
      <p:sp>
        <p:nvSpPr>
          <p:cNvPr id="42" name="loading-process_64725"/>
          <p:cNvSpPr>
            <a:spLocks noChangeAspect="1"/>
          </p:cNvSpPr>
          <p:nvPr/>
        </p:nvSpPr>
        <p:spPr bwMode="auto">
          <a:xfrm>
            <a:off x="2277326" y="5923615"/>
            <a:ext cx="304205" cy="303746"/>
          </a:xfrm>
          <a:custGeom>
            <a:avLst/>
            <a:gdLst>
              <a:gd name="T0" fmla="*/ 4545 w 5325"/>
              <a:gd name="T1" fmla="*/ 780 h 5325"/>
              <a:gd name="T2" fmla="*/ 2663 w 5325"/>
              <a:gd name="T3" fmla="*/ 0 h 5325"/>
              <a:gd name="T4" fmla="*/ 780 w 5325"/>
              <a:gd name="T5" fmla="*/ 780 h 5325"/>
              <a:gd name="T6" fmla="*/ 0 w 5325"/>
              <a:gd name="T7" fmla="*/ 2663 h 5325"/>
              <a:gd name="T8" fmla="*/ 780 w 5325"/>
              <a:gd name="T9" fmla="*/ 4545 h 5325"/>
              <a:gd name="T10" fmla="*/ 2663 w 5325"/>
              <a:gd name="T11" fmla="*/ 5325 h 5325"/>
              <a:gd name="T12" fmla="*/ 4545 w 5325"/>
              <a:gd name="T13" fmla="*/ 4545 h 5325"/>
              <a:gd name="T14" fmla="*/ 5325 w 5325"/>
              <a:gd name="T15" fmla="*/ 2663 h 5325"/>
              <a:gd name="T16" fmla="*/ 4545 w 5325"/>
              <a:gd name="T17" fmla="*/ 780 h 5325"/>
              <a:gd name="T18" fmla="*/ 4292 w 5325"/>
              <a:gd name="T19" fmla="*/ 2663 h 5325"/>
              <a:gd name="T20" fmla="*/ 2663 w 5325"/>
              <a:gd name="T21" fmla="*/ 4292 h 5325"/>
              <a:gd name="T22" fmla="*/ 1033 w 5325"/>
              <a:gd name="T23" fmla="*/ 2663 h 5325"/>
              <a:gd name="T24" fmla="*/ 2663 w 5325"/>
              <a:gd name="T25" fmla="*/ 1033 h 5325"/>
              <a:gd name="T26" fmla="*/ 4292 w 5325"/>
              <a:gd name="T27" fmla="*/ 2663 h 5325"/>
              <a:gd name="T28" fmla="*/ 4374 w 5325"/>
              <a:gd name="T29" fmla="*/ 951 h 5325"/>
              <a:gd name="T30" fmla="*/ 4502 w 5325"/>
              <a:gd name="T31" fmla="*/ 1089 h 5325"/>
              <a:gd name="T32" fmla="*/ 4112 w 5325"/>
              <a:gd name="T33" fmla="*/ 1480 h 5325"/>
              <a:gd name="T34" fmla="*/ 2663 w 5325"/>
              <a:gd name="T35" fmla="*/ 791 h 5325"/>
              <a:gd name="T36" fmla="*/ 2481 w 5325"/>
              <a:gd name="T37" fmla="*/ 800 h 5325"/>
              <a:gd name="T38" fmla="*/ 2481 w 5325"/>
              <a:gd name="T39" fmla="*/ 249 h 5325"/>
              <a:gd name="T40" fmla="*/ 2663 w 5325"/>
              <a:gd name="T41" fmla="*/ 242 h 5325"/>
              <a:gd name="T42" fmla="*/ 4374 w 5325"/>
              <a:gd name="T43" fmla="*/ 951 h 53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325" h="5325">
                <a:moveTo>
                  <a:pt x="4545" y="780"/>
                </a:moveTo>
                <a:cubicBezTo>
                  <a:pt x="4042" y="277"/>
                  <a:pt x="3374" y="0"/>
                  <a:pt x="2663" y="0"/>
                </a:cubicBezTo>
                <a:cubicBezTo>
                  <a:pt x="1951" y="0"/>
                  <a:pt x="1283" y="277"/>
                  <a:pt x="780" y="780"/>
                </a:cubicBezTo>
                <a:cubicBezTo>
                  <a:pt x="277" y="1283"/>
                  <a:pt x="0" y="1951"/>
                  <a:pt x="0" y="2663"/>
                </a:cubicBezTo>
                <a:cubicBezTo>
                  <a:pt x="0" y="3374"/>
                  <a:pt x="277" y="4042"/>
                  <a:pt x="780" y="4545"/>
                </a:cubicBezTo>
                <a:cubicBezTo>
                  <a:pt x="1283" y="5048"/>
                  <a:pt x="1951" y="5325"/>
                  <a:pt x="2663" y="5325"/>
                </a:cubicBezTo>
                <a:cubicBezTo>
                  <a:pt x="3374" y="5325"/>
                  <a:pt x="4042" y="5048"/>
                  <a:pt x="4545" y="4545"/>
                </a:cubicBezTo>
                <a:cubicBezTo>
                  <a:pt x="5048" y="4042"/>
                  <a:pt x="5325" y="3374"/>
                  <a:pt x="5325" y="2663"/>
                </a:cubicBezTo>
                <a:cubicBezTo>
                  <a:pt x="5325" y="1951"/>
                  <a:pt x="5048" y="1283"/>
                  <a:pt x="4545" y="780"/>
                </a:cubicBezTo>
                <a:close/>
                <a:moveTo>
                  <a:pt x="4292" y="2663"/>
                </a:moveTo>
                <a:cubicBezTo>
                  <a:pt x="4292" y="3561"/>
                  <a:pt x="3561" y="4292"/>
                  <a:pt x="2663" y="4292"/>
                </a:cubicBezTo>
                <a:cubicBezTo>
                  <a:pt x="1764" y="4292"/>
                  <a:pt x="1033" y="3561"/>
                  <a:pt x="1033" y="2663"/>
                </a:cubicBezTo>
                <a:cubicBezTo>
                  <a:pt x="1033" y="1764"/>
                  <a:pt x="1764" y="1033"/>
                  <a:pt x="2663" y="1033"/>
                </a:cubicBezTo>
                <a:cubicBezTo>
                  <a:pt x="3561" y="1033"/>
                  <a:pt x="4292" y="1764"/>
                  <a:pt x="4292" y="2663"/>
                </a:cubicBezTo>
                <a:close/>
                <a:moveTo>
                  <a:pt x="4374" y="951"/>
                </a:moveTo>
                <a:cubicBezTo>
                  <a:pt x="4419" y="996"/>
                  <a:pt x="4462" y="1042"/>
                  <a:pt x="4502" y="1089"/>
                </a:cubicBezTo>
                <a:lnTo>
                  <a:pt x="4112" y="1480"/>
                </a:lnTo>
                <a:cubicBezTo>
                  <a:pt x="3769" y="1059"/>
                  <a:pt x="3246" y="791"/>
                  <a:pt x="2663" y="791"/>
                </a:cubicBezTo>
                <a:cubicBezTo>
                  <a:pt x="2601" y="791"/>
                  <a:pt x="2541" y="794"/>
                  <a:pt x="2481" y="800"/>
                </a:cubicBezTo>
                <a:lnTo>
                  <a:pt x="2481" y="249"/>
                </a:lnTo>
                <a:cubicBezTo>
                  <a:pt x="2541" y="244"/>
                  <a:pt x="2602" y="242"/>
                  <a:pt x="2663" y="242"/>
                </a:cubicBezTo>
                <a:cubicBezTo>
                  <a:pt x="3309" y="242"/>
                  <a:pt x="3917" y="494"/>
                  <a:pt x="4374" y="951"/>
                </a:cubicBezTo>
                <a:close/>
              </a:path>
            </a:pathLst>
          </a:custGeom>
          <a:solidFill>
            <a:srgbClr val="EAECEF"/>
          </a:solidFill>
          <a:ln>
            <a:solidFill>
              <a:schemeClr val="bg1"/>
            </a:solidFill>
          </a:ln>
        </p:spPr>
      </p:sp>
      <p:sp>
        <p:nvSpPr>
          <p:cNvPr id="74" name="íSḷiḑè">
            <a:extLst>
              <a:ext uri="{FF2B5EF4-FFF2-40B4-BE49-F238E27FC236}">
                <a16:creationId xmlns:a16="http://schemas.microsoft.com/office/drawing/2014/main" id="{33B1BCF3-144C-466F-A52F-9853EA28DABA}"/>
              </a:ext>
            </a:extLst>
          </p:cNvPr>
          <p:cNvSpPr/>
          <p:nvPr/>
        </p:nvSpPr>
        <p:spPr bwMode="auto">
          <a:xfrm>
            <a:off x="1059002" y="2850560"/>
            <a:ext cx="624238" cy="112071"/>
          </a:xfrm>
          <a:custGeom>
            <a:avLst/>
            <a:gdLst>
              <a:gd name="T0" fmla="+- 0 10800 961"/>
              <a:gd name="T1" fmla="*/ T0 w 19679"/>
              <a:gd name="T2" fmla="+- 0 10800 961"/>
              <a:gd name="T3" fmla="*/ 10800 h 19679"/>
              <a:gd name="T4" fmla="+- 0 10800 961"/>
              <a:gd name="T5" fmla="*/ T4 w 19679"/>
              <a:gd name="T6" fmla="+- 0 10800 961"/>
              <a:gd name="T7" fmla="*/ 10800 h 19679"/>
              <a:gd name="T8" fmla="+- 0 10800 961"/>
              <a:gd name="T9" fmla="*/ T8 w 19679"/>
              <a:gd name="T10" fmla="+- 0 10800 961"/>
              <a:gd name="T11" fmla="*/ 10800 h 19679"/>
              <a:gd name="T12" fmla="+- 0 10800 961"/>
              <a:gd name="T13" fmla="*/ T12 w 19679"/>
              <a:gd name="T14" fmla="+- 0 10800 961"/>
              <a:gd name="T15" fmla="*/ 10800 h 19679"/>
            </a:gdLst>
            <a:ahLst/>
            <a:cxnLst>
              <a:cxn ang="0">
                <a:pos x="T1" y="T3"/>
              </a:cxn>
              <a:cxn ang="0">
                <a:pos x="T5" y="T7"/>
              </a:cxn>
              <a:cxn ang="0">
                <a:pos x="T9" y="T11"/>
              </a:cxn>
              <a:cxn ang="0">
                <a:pos x="T13" y="T15"/>
              </a:cxn>
            </a:cxnLst>
            <a:rect l="0" t="0" r="r" b="b"/>
            <a:pathLst>
              <a:path w="19679" h="19679">
                <a:moveTo>
                  <a:pt x="16796" y="2881"/>
                </a:moveTo>
                <a:cubicBezTo>
                  <a:pt x="20639" y="6724"/>
                  <a:pt x="20639" y="12953"/>
                  <a:pt x="16796" y="16796"/>
                </a:cubicBezTo>
                <a:cubicBezTo>
                  <a:pt x="12953" y="20638"/>
                  <a:pt x="6724" y="20638"/>
                  <a:pt x="2881" y="16796"/>
                </a:cubicBezTo>
                <a:cubicBezTo>
                  <a:pt x="-961" y="12953"/>
                  <a:pt x="-961" y="6724"/>
                  <a:pt x="2881" y="2881"/>
                </a:cubicBezTo>
                <a:cubicBezTo>
                  <a:pt x="6724" y="-961"/>
                  <a:pt x="12953" y="-961"/>
                  <a:pt x="16796" y="2881"/>
                </a:cubicBezTo>
                <a:close/>
              </a:path>
            </a:pathLst>
          </a:custGeom>
          <a:solidFill>
            <a:srgbClr val="53585F">
              <a:alpha val="26889"/>
            </a:srgbClr>
          </a:solidFill>
          <a:ln>
            <a:noFill/>
          </a:ln>
          <a:effectLst/>
          <a:extLst>
            <a:ext uri="{91240B29-F687-4F45-9708-019B960494DF}">
              <a14:hiddenLine xmlns:a14="http://schemas.microsoft.com/office/drawing/2010/main" w="12700" cap="flat" cmpd="sng">
                <a:solidFill>
                  <a:srgbClr val="000000"/>
                </a:solidFill>
                <a:prstDash val="solid"/>
                <a:miter lim="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nchor="ctr"/>
          <a:lstStyle/>
          <a:p>
            <a:pPr algn="ctr"/>
            <a:endParaRPr/>
          </a:p>
        </p:txBody>
      </p:sp>
      <p:sp>
        <p:nvSpPr>
          <p:cNvPr id="75" name="işḷïḑè">
            <a:extLst>
              <a:ext uri="{FF2B5EF4-FFF2-40B4-BE49-F238E27FC236}">
                <a16:creationId xmlns:a16="http://schemas.microsoft.com/office/drawing/2014/main" id="{F9A34034-F514-4134-9D9B-7589A1FD2EEA}"/>
              </a:ext>
            </a:extLst>
          </p:cNvPr>
          <p:cNvSpPr/>
          <p:nvPr/>
        </p:nvSpPr>
        <p:spPr bwMode="auto">
          <a:xfrm>
            <a:off x="669191" y="1796231"/>
            <a:ext cx="1152621" cy="1166400"/>
          </a:xfrm>
          <a:prstGeom prst="ellipse">
            <a:avLst/>
          </a:prstGeom>
          <a:blipFill>
            <a:blip r:embed="rId4" cstate="email">
              <a:extLst>
                <a:ext uri="{28A0092B-C50C-407E-A947-70E740481C1C}">
                  <a14:useLocalDpi xmlns:a14="http://schemas.microsoft.com/office/drawing/2010/main"/>
                </a:ext>
              </a:extLst>
            </a:blip>
            <a:srcRect/>
            <a:stretch>
              <a:fillRect t="4669"/>
            </a:stretch>
          </a:blipFill>
          <a:ln w="12700" cap="flat" cmpd="sng" algn="ctr">
            <a:noFill/>
            <a:prstDash val="solid"/>
            <a:miter lim="800000"/>
          </a:ln>
          <a:effectLst/>
          <a:extLst>
            <a:ext uri="{91240B29-F687-4F45-9708-019B960494DF}">
              <a14:hiddenLine xmlns:a14="http://schemas.microsoft.com/office/drawing/2010/main"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zh-CN" altLang="en-US" dirty="0">
              <a:solidFill>
                <a:schemeClr val="lt1"/>
              </a:solidFill>
            </a:endParaRPr>
          </a:p>
        </p:txBody>
      </p:sp>
      <p:sp>
        <p:nvSpPr>
          <p:cNvPr id="76" name="íṧ1íďe">
            <a:extLst>
              <a:ext uri="{FF2B5EF4-FFF2-40B4-BE49-F238E27FC236}">
                <a16:creationId xmlns:a16="http://schemas.microsoft.com/office/drawing/2014/main" id="{962ACCDD-4312-4143-BA47-C27618DD3C55}"/>
              </a:ext>
            </a:extLst>
          </p:cNvPr>
          <p:cNvSpPr/>
          <p:nvPr/>
        </p:nvSpPr>
        <p:spPr>
          <a:xfrm>
            <a:off x="1516939" y="1709300"/>
            <a:ext cx="533620" cy="540000"/>
          </a:xfrm>
          <a:prstGeom prst="ellipse">
            <a:avLst/>
          </a:prstGeom>
          <a:solidFill>
            <a:schemeClr val="accent3"/>
          </a:solidFill>
          <a:ln w="3810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zh-CN"/>
            </a:defPPr>
            <a:lvl1pPr marL="0" algn="l" defTabSz="914377" rtl="0" eaLnBrk="1" latinLnBrk="0" hangingPunct="1">
              <a:defRPr sz="1800" kern="1200">
                <a:solidFill>
                  <a:schemeClr val="lt1"/>
                </a:solidFill>
              </a:defRPr>
            </a:lvl1pPr>
            <a:lvl2pPr marL="457189" algn="l" defTabSz="914377" rtl="0" eaLnBrk="1" latinLnBrk="0" hangingPunct="1">
              <a:defRPr sz="1800" kern="1200">
                <a:solidFill>
                  <a:schemeClr val="lt1"/>
                </a:solidFill>
              </a:defRPr>
            </a:lvl2pPr>
            <a:lvl3pPr marL="914377" algn="l" defTabSz="914377" rtl="0" eaLnBrk="1" latinLnBrk="0" hangingPunct="1">
              <a:defRPr sz="1800" kern="1200">
                <a:solidFill>
                  <a:schemeClr val="lt1"/>
                </a:solidFill>
              </a:defRPr>
            </a:lvl3pPr>
            <a:lvl4pPr marL="1371566" algn="l" defTabSz="914377" rtl="0" eaLnBrk="1" latinLnBrk="0" hangingPunct="1">
              <a:defRPr sz="1800" kern="1200">
                <a:solidFill>
                  <a:schemeClr val="lt1"/>
                </a:solidFill>
              </a:defRPr>
            </a:lvl4pPr>
            <a:lvl5pPr marL="1828754" algn="l" defTabSz="914377" rtl="0" eaLnBrk="1" latinLnBrk="0" hangingPunct="1">
              <a:defRPr sz="1800" kern="1200">
                <a:solidFill>
                  <a:schemeClr val="lt1"/>
                </a:solidFill>
              </a:defRPr>
            </a:lvl5pPr>
            <a:lvl6pPr marL="2285943" algn="l" defTabSz="914377" rtl="0" eaLnBrk="1" latinLnBrk="0" hangingPunct="1">
              <a:defRPr sz="1800" kern="1200">
                <a:solidFill>
                  <a:schemeClr val="lt1"/>
                </a:solidFill>
              </a:defRPr>
            </a:lvl6pPr>
            <a:lvl7pPr marL="2743131" algn="l" defTabSz="914377" rtl="0" eaLnBrk="1" latinLnBrk="0" hangingPunct="1">
              <a:defRPr sz="1800" kern="1200">
                <a:solidFill>
                  <a:schemeClr val="lt1"/>
                </a:solidFill>
              </a:defRPr>
            </a:lvl7pPr>
            <a:lvl8pPr marL="3200320" algn="l" defTabSz="914377" rtl="0" eaLnBrk="1" latinLnBrk="0" hangingPunct="1">
              <a:defRPr sz="1800" kern="1200">
                <a:solidFill>
                  <a:schemeClr val="lt1"/>
                </a:solidFill>
              </a:defRPr>
            </a:lvl8pPr>
            <a:lvl9pPr marL="3657509" algn="l" defTabSz="914377" rtl="0" eaLnBrk="1" latinLnBrk="0" hangingPunct="1">
              <a:defRPr sz="1800" kern="1200">
                <a:solidFill>
                  <a:schemeClr val="lt1"/>
                </a:solidFill>
              </a:defRPr>
            </a:lvl9pPr>
          </a:lstStyle>
          <a:p>
            <a:pPr algn="ctr"/>
            <a:endParaRPr dirty="0"/>
          </a:p>
        </p:txBody>
      </p:sp>
      <p:sp>
        <p:nvSpPr>
          <p:cNvPr id="77" name="íṣḷiḍê">
            <a:extLst>
              <a:ext uri="{FF2B5EF4-FFF2-40B4-BE49-F238E27FC236}">
                <a16:creationId xmlns:a16="http://schemas.microsoft.com/office/drawing/2014/main" id="{2E1F4F3B-058B-468A-BCD0-C8B676AC5371}"/>
              </a:ext>
            </a:extLst>
          </p:cNvPr>
          <p:cNvSpPr/>
          <p:nvPr/>
        </p:nvSpPr>
        <p:spPr>
          <a:xfrm>
            <a:off x="1652815" y="1851384"/>
            <a:ext cx="215910" cy="255828"/>
          </a:xfrm>
          <a:custGeom>
            <a:avLst/>
            <a:gdLst>
              <a:gd name="connsiteX0" fmla="*/ 315778 w 607639"/>
              <a:gd name="connsiteY0" fmla="*/ 173080 h 579502"/>
              <a:gd name="connsiteX1" fmla="*/ 315778 w 607639"/>
              <a:gd name="connsiteY1" fmla="*/ 266058 h 579502"/>
              <a:gd name="connsiteX2" fmla="*/ 303493 w 607639"/>
              <a:gd name="connsiteY2" fmla="*/ 278325 h 579502"/>
              <a:gd name="connsiteX3" fmla="*/ 210375 w 607639"/>
              <a:gd name="connsiteY3" fmla="*/ 278325 h 579502"/>
              <a:gd name="connsiteX4" fmla="*/ 303493 w 607639"/>
              <a:gd name="connsiteY4" fmla="*/ 359925 h 579502"/>
              <a:gd name="connsiteX5" fmla="*/ 397500 w 607639"/>
              <a:gd name="connsiteY5" fmla="*/ 266058 h 579502"/>
              <a:gd name="connsiteX6" fmla="*/ 315778 w 607639"/>
              <a:gd name="connsiteY6" fmla="*/ 173080 h 579502"/>
              <a:gd name="connsiteX7" fmla="*/ 249814 w 607639"/>
              <a:gd name="connsiteY7" fmla="*/ 160816 h 579502"/>
              <a:gd name="connsiteX8" fmla="*/ 198110 w 607639"/>
              <a:gd name="connsiteY8" fmla="*/ 212449 h 579502"/>
              <a:gd name="connsiteX9" fmla="*/ 249814 w 607639"/>
              <a:gd name="connsiteY9" fmla="*/ 212449 h 579502"/>
              <a:gd name="connsiteX10" fmla="*/ 303493 w 607639"/>
              <a:gd name="connsiteY10" fmla="*/ 147835 h 579502"/>
              <a:gd name="connsiteX11" fmla="*/ 421981 w 607639"/>
              <a:gd name="connsiteY11" fmla="*/ 266058 h 579502"/>
              <a:gd name="connsiteX12" fmla="*/ 303493 w 607639"/>
              <a:gd name="connsiteY12" fmla="*/ 384370 h 579502"/>
              <a:gd name="connsiteX13" fmla="*/ 185093 w 607639"/>
              <a:gd name="connsiteY13" fmla="*/ 266058 h 579502"/>
              <a:gd name="connsiteX14" fmla="*/ 197289 w 607639"/>
              <a:gd name="connsiteY14" fmla="*/ 253880 h 579502"/>
              <a:gd name="connsiteX15" fmla="*/ 291297 w 607639"/>
              <a:gd name="connsiteY15" fmla="*/ 253880 h 579502"/>
              <a:gd name="connsiteX16" fmla="*/ 291297 w 607639"/>
              <a:gd name="connsiteY16" fmla="*/ 160013 h 579502"/>
              <a:gd name="connsiteX17" fmla="*/ 303493 w 607639"/>
              <a:gd name="connsiteY17" fmla="*/ 147835 h 579502"/>
              <a:gd name="connsiteX18" fmla="*/ 262095 w 607639"/>
              <a:gd name="connsiteY18" fmla="*/ 135133 h 579502"/>
              <a:gd name="connsiteX19" fmla="*/ 274287 w 607639"/>
              <a:gd name="connsiteY19" fmla="*/ 147397 h 579502"/>
              <a:gd name="connsiteX20" fmla="*/ 274287 w 607639"/>
              <a:gd name="connsiteY20" fmla="*/ 224713 h 579502"/>
              <a:gd name="connsiteX21" fmla="*/ 262095 w 607639"/>
              <a:gd name="connsiteY21" fmla="*/ 236888 h 579502"/>
              <a:gd name="connsiteX22" fmla="*/ 184672 w 607639"/>
              <a:gd name="connsiteY22" fmla="*/ 236888 h 579502"/>
              <a:gd name="connsiteX23" fmla="*/ 172391 w 607639"/>
              <a:gd name="connsiteY23" fmla="*/ 224713 h 579502"/>
              <a:gd name="connsiteX24" fmla="*/ 262095 w 607639"/>
              <a:gd name="connsiteY24" fmla="*/ 135133 h 579502"/>
              <a:gd name="connsiteX25" fmla="*/ 58120 w 607639"/>
              <a:gd name="connsiteY25" fmla="*/ 108514 h 579502"/>
              <a:gd name="connsiteX26" fmla="*/ 58120 w 607639"/>
              <a:gd name="connsiteY26" fmla="*/ 413970 h 579502"/>
              <a:gd name="connsiteX27" fmla="*/ 549430 w 607639"/>
              <a:gd name="connsiteY27" fmla="*/ 413970 h 579502"/>
              <a:gd name="connsiteX28" fmla="*/ 549430 w 607639"/>
              <a:gd name="connsiteY28" fmla="*/ 108514 h 579502"/>
              <a:gd name="connsiteX29" fmla="*/ 27236 w 607639"/>
              <a:gd name="connsiteY29" fmla="*/ 56079 h 579502"/>
              <a:gd name="connsiteX30" fmla="*/ 27236 w 607639"/>
              <a:gd name="connsiteY30" fmla="*/ 81319 h 579502"/>
              <a:gd name="connsiteX31" fmla="*/ 580403 w 607639"/>
              <a:gd name="connsiteY31" fmla="*/ 81319 h 579502"/>
              <a:gd name="connsiteX32" fmla="*/ 580403 w 607639"/>
              <a:gd name="connsiteY32" fmla="*/ 56079 h 579502"/>
              <a:gd name="connsiteX33" fmla="*/ 303775 w 607639"/>
              <a:gd name="connsiteY33" fmla="*/ 0 h 579502"/>
              <a:gd name="connsiteX34" fmla="*/ 317393 w 607639"/>
              <a:gd name="connsiteY34" fmla="*/ 13597 h 579502"/>
              <a:gd name="connsiteX35" fmla="*/ 317393 w 607639"/>
              <a:gd name="connsiteY35" fmla="*/ 28884 h 579502"/>
              <a:gd name="connsiteX36" fmla="*/ 580403 w 607639"/>
              <a:gd name="connsiteY36" fmla="*/ 28884 h 579502"/>
              <a:gd name="connsiteX37" fmla="*/ 607639 w 607639"/>
              <a:gd name="connsiteY37" fmla="*/ 56079 h 579502"/>
              <a:gd name="connsiteX38" fmla="*/ 607639 w 607639"/>
              <a:gd name="connsiteY38" fmla="*/ 81319 h 579502"/>
              <a:gd name="connsiteX39" fmla="*/ 580403 w 607639"/>
              <a:gd name="connsiteY39" fmla="*/ 108514 h 579502"/>
              <a:gd name="connsiteX40" fmla="*/ 576665 w 607639"/>
              <a:gd name="connsiteY40" fmla="*/ 108514 h 579502"/>
              <a:gd name="connsiteX41" fmla="*/ 576665 w 607639"/>
              <a:gd name="connsiteY41" fmla="*/ 413970 h 579502"/>
              <a:gd name="connsiteX42" fmla="*/ 549430 w 607639"/>
              <a:gd name="connsiteY42" fmla="*/ 441165 h 579502"/>
              <a:gd name="connsiteX43" fmla="*/ 317393 w 607639"/>
              <a:gd name="connsiteY43" fmla="*/ 441165 h 579502"/>
              <a:gd name="connsiteX44" fmla="*/ 317393 w 607639"/>
              <a:gd name="connsiteY44" fmla="*/ 481069 h 579502"/>
              <a:gd name="connsiteX45" fmla="*/ 418236 w 607639"/>
              <a:gd name="connsiteY45" fmla="*/ 554923 h 579502"/>
              <a:gd name="connsiteX46" fmla="*/ 421173 w 607639"/>
              <a:gd name="connsiteY46" fmla="*/ 573942 h 579502"/>
              <a:gd name="connsiteX47" fmla="*/ 410225 w 607639"/>
              <a:gd name="connsiteY47" fmla="*/ 579452 h 579502"/>
              <a:gd name="connsiteX48" fmla="*/ 402215 w 607639"/>
              <a:gd name="connsiteY48" fmla="*/ 576874 h 579502"/>
              <a:gd name="connsiteX49" fmla="*/ 317393 w 607639"/>
              <a:gd name="connsiteY49" fmla="*/ 514752 h 579502"/>
              <a:gd name="connsiteX50" fmla="*/ 317393 w 607639"/>
              <a:gd name="connsiteY50" fmla="*/ 565854 h 579502"/>
              <a:gd name="connsiteX51" fmla="*/ 303775 w 607639"/>
              <a:gd name="connsiteY51" fmla="*/ 579452 h 579502"/>
              <a:gd name="connsiteX52" fmla="*/ 290157 w 607639"/>
              <a:gd name="connsiteY52" fmla="*/ 565854 h 579502"/>
              <a:gd name="connsiteX53" fmla="*/ 290157 w 607639"/>
              <a:gd name="connsiteY53" fmla="*/ 514752 h 579502"/>
              <a:gd name="connsiteX54" fmla="*/ 205424 w 607639"/>
              <a:gd name="connsiteY54" fmla="*/ 576874 h 579502"/>
              <a:gd name="connsiteX55" fmla="*/ 186377 w 607639"/>
              <a:gd name="connsiteY55" fmla="*/ 573942 h 579502"/>
              <a:gd name="connsiteX56" fmla="*/ 189314 w 607639"/>
              <a:gd name="connsiteY56" fmla="*/ 554923 h 579502"/>
              <a:gd name="connsiteX57" fmla="*/ 290157 w 607639"/>
              <a:gd name="connsiteY57" fmla="*/ 481069 h 579502"/>
              <a:gd name="connsiteX58" fmla="*/ 290157 w 607639"/>
              <a:gd name="connsiteY58" fmla="*/ 441165 h 579502"/>
              <a:gd name="connsiteX59" fmla="*/ 58120 w 607639"/>
              <a:gd name="connsiteY59" fmla="*/ 441165 h 579502"/>
              <a:gd name="connsiteX60" fmla="*/ 30885 w 607639"/>
              <a:gd name="connsiteY60" fmla="*/ 413970 h 579502"/>
              <a:gd name="connsiteX61" fmla="*/ 30885 w 607639"/>
              <a:gd name="connsiteY61" fmla="*/ 108514 h 579502"/>
              <a:gd name="connsiteX62" fmla="*/ 27236 w 607639"/>
              <a:gd name="connsiteY62" fmla="*/ 108514 h 579502"/>
              <a:gd name="connsiteX63" fmla="*/ 0 w 607639"/>
              <a:gd name="connsiteY63" fmla="*/ 81319 h 579502"/>
              <a:gd name="connsiteX64" fmla="*/ 0 w 607639"/>
              <a:gd name="connsiteY64" fmla="*/ 56079 h 579502"/>
              <a:gd name="connsiteX65" fmla="*/ 27236 w 607639"/>
              <a:gd name="connsiteY65" fmla="*/ 28884 h 579502"/>
              <a:gd name="connsiteX66" fmla="*/ 290157 w 607639"/>
              <a:gd name="connsiteY66" fmla="*/ 28884 h 579502"/>
              <a:gd name="connsiteX67" fmla="*/ 290157 w 607639"/>
              <a:gd name="connsiteY67" fmla="*/ 13597 h 579502"/>
              <a:gd name="connsiteX68" fmla="*/ 303775 w 607639"/>
              <a:gd name="connsiteY68" fmla="*/ 0 h 5795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07639" h="579502">
                <a:moveTo>
                  <a:pt x="315778" y="173080"/>
                </a:moveTo>
                <a:lnTo>
                  <a:pt x="315778" y="266058"/>
                </a:lnTo>
                <a:cubicBezTo>
                  <a:pt x="315778" y="272814"/>
                  <a:pt x="310258" y="278325"/>
                  <a:pt x="303493" y="278325"/>
                </a:cubicBezTo>
                <a:lnTo>
                  <a:pt x="210375" y="278325"/>
                </a:lnTo>
                <a:cubicBezTo>
                  <a:pt x="216429" y="324281"/>
                  <a:pt x="255866" y="359925"/>
                  <a:pt x="303493" y="359925"/>
                </a:cubicBezTo>
                <a:cubicBezTo>
                  <a:pt x="355303" y="359925"/>
                  <a:pt x="397500" y="317792"/>
                  <a:pt x="397500" y="266058"/>
                </a:cubicBezTo>
                <a:cubicBezTo>
                  <a:pt x="397500" y="218502"/>
                  <a:pt x="361802" y="179124"/>
                  <a:pt x="315778" y="173080"/>
                </a:cubicBezTo>
                <a:close/>
                <a:moveTo>
                  <a:pt x="249814" y="160816"/>
                </a:moveTo>
                <a:cubicBezTo>
                  <a:pt x="223740" y="165793"/>
                  <a:pt x="203093" y="186410"/>
                  <a:pt x="198110" y="212449"/>
                </a:cubicBezTo>
                <a:lnTo>
                  <a:pt x="249814" y="212449"/>
                </a:lnTo>
                <a:close/>
                <a:moveTo>
                  <a:pt x="303493" y="147835"/>
                </a:moveTo>
                <a:cubicBezTo>
                  <a:pt x="368835" y="147835"/>
                  <a:pt x="421981" y="200902"/>
                  <a:pt x="421981" y="266058"/>
                </a:cubicBezTo>
                <a:cubicBezTo>
                  <a:pt x="421981" y="331303"/>
                  <a:pt x="368835" y="384370"/>
                  <a:pt x="303493" y="384370"/>
                </a:cubicBezTo>
                <a:cubicBezTo>
                  <a:pt x="238239" y="384370"/>
                  <a:pt x="185093" y="331303"/>
                  <a:pt x="185093" y="266058"/>
                </a:cubicBezTo>
                <a:cubicBezTo>
                  <a:pt x="185093" y="259303"/>
                  <a:pt x="190523" y="253880"/>
                  <a:pt x="197289" y="253880"/>
                </a:cubicBezTo>
                <a:lnTo>
                  <a:pt x="291297" y="253880"/>
                </a:lnTo>
                <a:lnTo>
                  <a:pt x="291297" y="160013"/>
                </a:lnTo>
                <a:cubicBezTo>
                  <a:pt x="291297" y="153257"/>
                  <a:pt x="296727" y="147835"/>
                  <a:pt x="303493" y="147835"/>
                </a:cubicBezTo>
                <a:close/>
                <a:moveTo>
                  <a:pt x="262095" y="135133"/>
                </a:moveTo>
                <a:cubicBezTo>
                  <a:pt x="268859" y="135133"/>
                  <a:pt x="274287" y="140643"/>
                  <a:pt x="274287" y="147397"/>
                </a:cubicBezTo>
                <a:lnTo>
                  <a:pt x="274287" y="224713"/>
                </a:lnTo>
                <a:cubicBezTo>
                  <a:pt x="274287" y="231467"/>
                  <a:pt x="268859" y="236888"/>
                  <a:pt x="262095" y="236888"/>
                </a:cubicBezTo>
                <a:lnTo>
                  <a:pt x="184672" y="236888"/>
                </a:lnTo>
                <a:cubicBezTo>
                  <a:pt x="177909" y="236888"/>
                  <a:pt x="172391" y="231467"/>
                  <a:pt x="172391" y="224713"/>
                </a:cubicBezTo>
                <a:cubicBezTo>
                  <a:pt x="172391" y="175302"/>
                  <a:pt x="212616" y="135133"/>
                  <a:pt x="262095" y="135133"/>
                </a:cubicBezTo>
                <a:close/>
                <a:moveTo>
                  <a:pt x="58120" y="108514"/>
                </a:moveTo>
                <a:lnTo>
                  <a:pt x="58120" y="413970"/>
                </a:lnTo>
                <a:lnTo>
                  <a:pt x="549430" y="413970"/>
                </a:lnTo>
                <a:lnTo>
                  <a:pt x="549430" y="108514"/>
                </a:lnTo>
                <a:close/>
                <a:moveTo>
                  <a:pt x="27236" y="56079"/>
                </a:moveTo>
                <a:lnTo>
                  <a:pt x="27236" y="81319"/>
                </a:lnTo>
                <a:lnTo>
                  <a:pt x="580403" y="81319"/>
                </a:lnTo>
                <a:lnTo>
                  <a:pt x="580403" y="56079"/>
                </a:lnTo>
                <a:close/>
                <a:moveTo>
                  <a:pt x="303775" y="0"/>
                </a:moveTo>
                <a:cubicBezTo>
                  <a:pt x="311341" y="0"/>
                  <a:pt x="317393" y="6132"/>
                  <a:pt x="317393" y="13597"/>
                </a:cubicBezTo>
                <a:lnTo>
                  <a:pt x="317393" y="28884"/>
                </a:lnTo>
                <a:lnTo>
                  <a:pt x="580403" y="28884"/>
                </a:lnTo>
                <a:cubicBezTo>
                  <a:pt x="595356" y="28884"/>
                  <a:pt x="607639" y="41148"/>
                  <a:pt x="607639" y="56079"/>
                </a:cubicBezTo>
                <a:lnTo>
                  <a:pt x="607639" y="81319"/>
                </a:lnTo>
                <a:cubicBezTo>
                  <a:pt x="607639" y="96338"/>
                  <a:pt x="595356" y="108514"/>
                  <a:pt x="580403" y="108514"/>
                </a:cubicBezTo>
                <a:lnTo>
                  <a:pt x="576665" y="108514"/>
                </a:lnTo>
                <a:lnTo>
                  <a:pt x="576665" y="413970"/>
                </a:lnTo>
                <a:cubicBezTo>
                  <a:pt x="576665" y="428990"/>
                  <a:pt x="564472" y="441165"/>
                  <a:pt x="549430" y="441165"/>
                </a:cubicBezTo>
                <a:lnTo>
                  <a:pt x="317393" y="441165"/>
                </a:lnTo>
                <a:lnTo>
                  <a:pt x="317393" y="481069"/>
                </a:lnTo>
                <a:lnTo>
                  <a:pt x="418236" y="554923"/>
                </a:lnTo>
                <a:cubicBezTo>
                  <a:pt x="424377" y="559366"/>
                  <a:pt x="425623" y="567898"/>
                  <a:pt x="421173" y="573942"/>
                </a:cubicBezTo>
                <a:cubicBezTo>
                  <a:pt x="418503" y="577585"/>
                  <a:pt x="414409" y="579452"/>
                  <a:pt x="410225" y="579452"/>
                </a:cubicBezTo>
                <a:cubicBezTo>
                  <a:pt x="407466" y="579452"/>
                  <a:pt x="404618" y="578652"/>
                  <a:pt x="402215" y="576874"/>
                </a:cubicBezTo>
                <a:lnTo>
                  <a:pt x="317393" y="514752"/>
                </a:lnTo>
                <a:lnTo>
                  <a:pt x="317393" y="565854"/>
                </a:lnTo>
                <a:cubicBezTo>
                  <a:pt x="317393" y="573408"/>
                  <a:pt x="311341" y="579452"/>
                  <a:pt x="303775" y="579452"/>
                </a:cubicBezTo>
                <a:cubicBezTo>
                  <a:pt x="296299" y="579452"/>
                  <a:pt x="290157" y="573408"/>
                  <a:pt x="290157" y="565854"/>
                </a:cubicBezTo>
                <a:lnTo>
                  <a:pt x="290157" y="514752"/>
                </a:lnTo>
                <a:lnTo>
                  <a:pt x="205424" y="576874"/>
                </a:lnTo>
                <a:cubicBezTo>
                  <a:pt x="199372" y="581318"/>
                  <a:pt x="190827" y="579985"/>
                  <a:pt x="186377" y="573942"/>
                </a:cubicBezTo>
                <a:cubicBezTo>
                  <a:pt x="181927" y="567898"/>
                  <a:pt x="183262" y="559366"/>
                  <a:pt x="189314" y="554923"/>
                </a:cubicBezTo>
                <a:lnTo>
                  <a:pt x="290157" y="481069"/>
                </a:lnTo>
                <a:lnTo>
                  <a:pt x="290157" y="441165"/>
                </a:lnTo>
                <a:lnTo>
                  <a:pt x="58120" y="441165"/>
                </a:lnTo>
                <a:cubicBezTo>
                  <a:pt x="43167" y="441165"/>
                  <a:pt x="30885" y="428990"/>
                  <a:pt x="30885" y="413970"/>
                </a:cubicBezTo>
                <a:lnTo>
                  <a:pt x="30885" y="108514"/>
                </a:lnTo>
                <a:lnTo>
                  <a:pt x="27236" y="108514"/>
                </a:lnTo>
                <a:cubicBezTo>
                  <a:pt x="12194" y="108514"/>
                  <a:pt x="0" y="96338"/>
                  <a:pt x="0" y="81319"/>
                </a:cubicBezTo>
                <a:lnTo>
                  <a:pt x="0" y="56079"/>
                </a:lnTo>
                <a:cubicBezTo>
                  <a:pt x="0" y="41148"/>
                  <a:pt x="12194" y="28884"/>
                  <a:pt x="27236" y="28884"/>
                </a:cubicBezTo>
                <a:lnTo>
                  <a:pt x="290157" y="28884"/>
                </a:lnTo>
                <a:lnTo>
                  <a:pt x="290157" y="13597"/>
                </a:lnTo>
                <a:cubicBezTo>
                  <a:pt x="290157" y="6132"/>
                  <a:pt x="296299" y="0"/>
                  <a:pt x="303775" y="0"/>
                </a:cubicBezTo>
                <a:close/>
              </a:path>
            </a:pathLst>
          </a:custGeom>
          <a:solidFill>
            <a:schemeClr val="bg1"/>
          </a:solidFill>
          <a:ln>
            <a:noFill/>
          </a:ln>
          <a:effectLst/>
        </p:spPr>
        <p:txBody>
          <a:bodyPr anchor="ct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algn="ctr"/>
            <a:endParaRPr/>
          </a:p>
        </p:txBody>
      </p:sp>
      <p:sp>
        <p:nvSpPr>
          <p:cNvPr id="78" name="íśḻíďé">
            <a:extLst>
              <a:ext uri="{FF2B5EF4-FFF2-40B4-BE49-F238E27FC236}">
                <a16:creationId xmlns:a16="http://schemas.microsoft.com/office/drawing/2014/main" id="{E12042B5-55AB-40D8-9EA5-FB98EBB319F6}"/>
              </a:ext>
            </a:extLst>
          </p:cNvPr>
          <p:cNvSpPr txBox="1"/>
          <p:nvPr/>
        </p:nvSpPr>
        <p:spPr>
          <a:xfrm>
            <a:off x="1821812" y="2297943"/>
            <a:ext cx="1991823" cy="873430"/>
          </a:xfrm>
          <a:prstGeom prst="rect">
            <a:avLst/>
          </a:prstGeom>
          <a:noFill/>
        </p:spPr>
        <p:txBody>
          <a:bodyPr wrap="none" rtlCol="0" anchor="ctr">
            <a:normAutofit/>
          </a:bodyPr>
          <a:lstStyle/>
          <a:p>
            <a:pPr lvl="0" defTabSz="914378">
              <a:spcBef>
                <a:spcPct val="0"/>
              </a:spcBef>
              <a:defRPr/>
            </a:pPr>
            <a:r>
              <a:rPr lang="en-US" altLang="zh-CN" sz="1600" b="1" dirty="0" smtClean="0"/>
              <a:t>SMT</a:t>
            </a:r>
            <a:r>
              <a:rPr lang="zh-CN" altLang="en-US" sz="1600" b="1" dirty="0" smtClean="0"/>
              <a:t>移动客户端</a:t>
            </a:r>
            <a:endParaRPr lang="en-US" altLang="zh-CN" sz="1600" b="1" dirty="0" smtClean="0"/>
          </a:p>
          <a:p>
            <a:pPr lvl="1" defTabSz="914378">
              <a:spcBef>
                <a:spcPct val="0"/>
              </a:spcBef>
              <a:defRPr/>
            </a:pPr>
            <a:r>
              <a:rPr lang="en-US" altLang="zh-CN" sz="1200" b="1" dirty="0" smtClean="0">
                <a:latin typeface="+mn-ea"/>
              </a:rPr>
              <a:t>	—— </a:t>
            </a:r>
            <a:r>
              <a:rPr lang="zh-CN" altLang="en-US" sz="1200" b="1" dirty="0" smtClean="0">
                <a:latin typeface="+mn-ea"/>
              </a:rPr>
              <a:t>规范流程</a:t>
            </a:r>
            <a:endParaRPr lang="en-US" altLang="zh-CN" sz="1200" b="1" dirty="0" smtClean="0">
              <a:latin typeface="+mn-ea"/>
            </a:endParaRPr>
          </a:p>
          <a:p>
            <a:pPr lvl="1" defTabSz="914378">
              <a:spcBef>
                <a:spcPct val="0"/>
              </a:spcBef>
              <a:defRPr/>
            </a:pPr>
            <a:r>
              <a:rPr lang="en-US" altLang="zh-CN" sz="1200" b="1" dirty="0">
                <a:latin typeface="+mn-ea"/>
              </a:rPr>
              <a:t>	 </a:t>
            </a:r>
            <a:r>
              <a:rPr lang="en-US" altLang="zh-CN" sz="1200" b="1" dirty="0" smtClean="0">
                <a:latin typeface="+mn-ea"/>
              </a:rPr>
              <a:t>       </a:t>
            </a:r>
            <a:r>
              <a:rPr lang="zh-CN" altLang="en-US" sz="1200" b="1" dirty="0" smtClean="0">
                <a:latin typeface="+mn-ea"/>
              </a:rPr>
              <a:t>错误报警</a:t>
            </a:r>
            <a:endParaRPr lang="en-US" altLang="zh-CN" sz="1200" b="1" dirty="0">
              <a:latin typeface="+mn-ea"/>
            </a:endParaRPr>
          </a:p>
          <a:p>
            <a:pPr lvl="0" defTabSz="914378">
              <a:spcBef>
                <a:spcPct val="0"/>
              </a:spcBef>
              <a:defRPr/>
            </a:pPr>
            <a:endParaRPr lang="en-US" altLang="zh-CN" sz="1600" b="1" dirty="0" smtClean="0"/>
          </a:p>
        </p:txBody>
      </p:sp>
      <p:pic>
        <p:nvPicPr>
          <p:cNvPr id="4" name="图片 3"/>
          <p:cNvPicPr>
            <a:picLocks noChangeAspect="1"/>
          </p:cNvPicPr>
          <p:nvPr/>
        </p:nvPicPr>
        <p:blipFill>
          <a:blip r:embed="rId5"/>
          <a:stretch>
            <a:fillRect/>
          </a:stretch>
        </p:blipFill>
        <p:spPr>
          <a:xfrm>
            <a:off x="8971793" y="2954770"/>
            <a:ext cx="2066926" cy="3349621"/>
          </a:xfrm>
          <a:prstGeom prst="rect">
            <a:avLst/>
          </a:prstGeom>
        </p:spPr>
      </p:pic>
    </p:spTree>
    <p:extLst>
      <p:ext uri="{BB962C8B-B14F-4D97-AF65-F5344CB8AC3E}">
        <p14:creationId xmlns:p14="http://schemas.microsoft.com/office/powerpoint/2010/main" val="4246065155"/>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7AA50EAF-6644-4E7D-A487-3F69CAB0815C}"/>
              </a:ext>
            </a:extLst>
          </p:cNvPr>
          <p:cNvSpPr>
            <a:spLocks noGrp="1"/>
          </p:cNvSpPr>
          <p:nvPr>
            <p:ph type="title"/>
          </p:nvPr>
        </p:nvSpPr>
        <p:spPr/>
        <p:txBody>
          <a:bodyPr/>
          <a:lstStyle/>
          <a:p>
            <a:r>
              <a:rPr lang="zh-CN" altLang="en-US" dirty="0" smtClean="0"/>
              <a:t>车间产线实时监控</a:t>
            </a:r>
            <a:endParaRPr lang="zh-CN" altLang="en-US" dirty="0"/>
          </a:p>
        </p:txBody>
      </p:sp>
      <p:sp>
        <p:nvSpPr>
          <p:cNvPr id="6" name="ï$liďè">
            <a:extLst>
              <a:ext uri="{FF2B5EF4-FFF2-40B4-BE49-F238E27FC236}">
                <a16:creationId xmlns:a16="http://schemas.microsoft.com/office/drawing/2014/main" id="{6B81033E-FD1E-421C-92A8-44DB6D74877F}"/>
              </a:ext>
            </a:extLst>
          </p:cNvPr>
          <p:cNvSpPr/>
          <p:nvPr/>
        </p:nvSpPr>
        <p:spPr bwMode="auto">
          <a:xfrm>
            <a:off x="2058657" y="3871334"/>
            <a:ext cx="279260" cy="241179"/>
          </a:xfrm>
          <a:custGeom>
            <a:avLst/>
            <a:gdLst>
              <a:gd name="T0" fmla="*/ 25 w 65"/>
              <a:gd name="T1" fmla="*/ 0 h 56"/>
              <a:gd name="T2" fmla="*/ 41 w 65"/>
              <a:gd name="T3" fmla="*/ 0 h 56"/>
              <a:gd name="T4" fmla="*/ 59 w 65"/>
              <a:gd name="T5" fmla="*/ 0 h 56"/>
              <a:gd name="T6" fmla="*/ 63 w 65"/>
              <a:gd name="T7" fmla="*/ 6 h 56"/>
              <a:gd name="T8" fmla="*/ 54 w 65"/>
              <a:gd name="T9" fmla="*/ 22 h 56"/>
              <a:gd name="T10" fmla="*/ 46 w 65"/>
              <a:gd name="T11" fmla="*/ 36 h 56"/>
              <a:gd name="T12" fmla="*/ 37 w 65"/>
              <a:gd name="T13" fmla="*/ 52 h 56"/>
              <a:gd name="T14" fmla="*/ 29 w 65"/>
              <a:gd name="T15" fmla="*/ 52 h 56"/>
              <a:gd name="T16" fmla="*/ 20 w 65"/>
              <a:gd name="T17" fmla="*/ 36 h 56"/>
              <a:gd name="T18" fmla="*/ 12 w 65"/>
              <a:gd name="T19" fmla="*/ 22 h 56"/>
              <a:gd name="T20" fmla="*/ 2 w 65"/>
              <a:gd name="T21" fmla="*/ 6 h 56"/>
              <a:gd name="T22" fmla="*/ 6 w 65"/>
              <a:gd name="T23" fmla="*/ 0 h 56"/>
              <a:gd name="T24" fmla="*/ 25 w 65"/>
              <a:gd name="T25" fmla="*/ 0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5" h="56">
                <a:moveTo>
                  <a:pt x="25" y="0"/>
                </a:moveTo>
                <a:cubicBezTo>
                  <a:pt x="29" y="0"/>
                  <a:pt x="36" y="0"/>
                  <a:pt x="41" y="0"/>
                </a:cubicBezTo>
                <a:cubicBezTo>
                  <a:pt x="59" y="0"/>
                  <a:pt x="59" y="0"/>
                  <a:pt x="59" y="0"/>
                </a:cubicBezTo>
                <a:cubicBezTo>
                  <a:pt x="64" y="0"/>
                  <a:pt x="65" y="3"/>
                  <a:pt x="63" y="6"/>
                </a:cubicBezTo>
                <a:cubicBezTo>
                  <a:pt x="54" y="22"/>
                  <a:pt x="54" y="22"/>
                  <a:pt x="54" y="22"/>
                </a:cubicBezTo>
                <a:cubicBezTo>
                  <a:pt x="52" y="26"/>
                  <a:pt x="48" y="32"/>
                  <a:pt x="46" y="36"/>
                </a:cubicBezTo>
                <a:cubicBezTo>
                  <a:pt x="37" y="52"/>
                  <a:pt x="37" y="52"/>
                  <a:pt x="37" y="52"/>
                </a:cubicBezTo>
                <a:cubicBezTo>
                  <a:pt x="35" y="56"/>
                  <a:pt x="31" y="56"/>
                  <a:pt x="29" y="52"/>
                </a:cubicBezTo>
                <a:cubicBezTo>
                  <a:pt x="20" y="36"/>
                  <a:pt x="20" y="36"/>
                  <a:pt x="20" y="36"/>
                </a:cubicBezTo>
                <a:cubicBezTo>
                  <a:pt x="17" y="32"/>
                  <a:pt x="14" y="26"/>
                  <a:pt x="12" y="22"/>
                </a:cubicBezTo>
                <a:cubicBezTo>
                  <a:pt x="2" y="6"/>
                  <a:pt x="2" y="6"/>
                  <a:pt x="2" y="6"/>
                </a:cubicBezTo>
                <a:cubicBezTo>
                  <a:pt x="0" y="3"/>
                  <a:pt x="2" y="0"/>
                  <a:pt x="6" y="0"/>
                </a:cubicBezTo>
                <a:lnTo>
                  <a:pt x="25" y="0"/>
                </a:lnTo>
                <a:close/>
              </a:path>
            </a:pathLst>
          </a:custGeom>
          <a:solidFill>
            <a:schemeClr val="tx2">
              <a:lumMod val="40000"/>
              <a:lumOff val="60000"/>
            </a:schemeClr>
          </a:solidFill>
          <a:ln>
            <a:noFill/>
          </a:ln>
          <a:effectLst/>
        </p:spPr>
        <p:txBody>
          <a:bodyPr vert="horz" wrap="square" lIns="91440" tIns="45720" rIns="91440" bIns="45720" numCol="1" anchor="t" anchorCtr="0" compatLnSpc="1">
            <a:prstTxWarp prst="textNoShape">
              <a:avLst/>
            </a:prstTxWarp>
          </a:bodyPr>
          <a:lstStyle/>
          <a:p>
            <a:endParaRPr lang="zh-CN" altLang="en-US"/>
          </a:p>
        </p:txBody>
      </p:sp>
      <p:sp>
        <p:nvSpPr>
          <p:cNvPr id="7" name="íšlïḑè">
            <a:extLst>
              <a:ext uri="{FF2B5EF4-FFF2-40B4-BE49-F238E27FC236}">
                <a16:creationId xmlns:a16="http://schemas.microsoft.com/office/drawing/2014/main" id="{3E0DA0BE-9487-4D8C-8B09-5CD7DB0C5CFC}"/>
              </a:ext>
            </a:extLst>
          </p:cNvPr>
          <p:cNvSpPr/>
          <p:nvPr/>
        </p:nvSpPr>
        <p:spPr bwMode="auto">
          <a:xfrm>
            <a:off x="4678983" y="3871334"/>
            <a:ext cx="279260" cy="241179"/>
          </a:xfrm>
          <a:custGeom>
            <a:avLst/>
            <a:gdLst>
              <a:gd name="T0" fmla="*/ 24 w 65"/>
              <a:gd name="T1" fmla="*/ 0 h 56"/>
              <a:gd name="T2" fmla="*/ 40 w 65"/>
              <a:gd name="T3" fmla="*/ 0 h 56"/>
              <a:gd name="T4" fmla="*/ 59 w 65"/>
              <a:gd name="T5" fmla="*/ 0 h 56"/>
              <a:gd name="T6" fmla="*/ 63 w 65"/>
              <a:gd name="T7" fmla="*/ 6 h 56"/>
              <a:gd name="T8" fmla="*/ 53 w 65"/>
              <a:gd name="T9" fmla="*/ 22 h 56"/>
              <a:gd name="T10" fmla="*/ 45 w 65"/>
              <a:gd name="T11" fmla="*/ 36 h 56"/>
              <a:gd name="T12" fmla="*/ 36 w 65"/>
              <a:gd name="T13" fmla="*/ 52 h 56"/>
              <a:gd name="T14" fmla="*/ 28 w 65"/>
              <a:gd name="T15" fmla="*/ 52 h 56"/>
              <a:gd name="T16" fmla="*/ 19 w 65"/>
              <a:gd name="T17" fmla="*/ 36 h 56"/>
              <a:gd name="T18" fmla="*/ 11 w 65"/>
              <a:gd name="T19" fmla="*/ 22 h 56"/>
              <a:gd name="T20" fmla="*/ 2 w 65"/>
              <a:gd name="T21" fmla="*/ 6 h 56"/>
              <a:gd name="T22" fmla="*/ 6 w 65"/>
              <a:gd name="T23" fmla="*/ 0 h 56"/>
              <a:gd name="T24" fmla="*/ 24 w 65"/>
              <a:gd name="T25" fmla="*/ 0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5" h="56">
                <a:moveTo>
                  <a:pt x="24" y="0"/>
                </a:moveTo>
                <a:cubicBezTo>
                  <a:pt x="29" y="0"/>
                  <a:pt x="36" y="0"/>
                  <a:pt x="40" y="0"/>
                </a:cubicBezTo>
                <a:cubicBezTo>
                  <a:pt x="59" y="0"/>
                  <a:pt x="59" y="0"/>
                  <a:pt x="59" y="0"/>
                </a:cubicBezTo>
                <a:cubicBezTo>
                  <a:pt x="63" y="0"/>
                  <a:pt x="65" y="3"/>
                  <a:pt x="63" y="6"/>
                </a:cubicBezTo>
                <a:cubicBezTo>
                  <a:pt x="53" y="22"/>
                  <a:pt x="53" y="22"/>
                  <a:pt x="53" y="22"/>
                </a:cubicBezTo>
                <a:cubicBezTo>
                  <a:pt x="51" y="26"/>
                  <a:pt x="48" y="32"/>
                  <a:pt x="45" y="36"/>
                </a:cubicBezTo>
                <a:cubicBezTo>
                  <a:pt x="36" y="52"/>
                  <a:pt x="36" y="52"/>
                  <a:pt x="36" y="52"/>
                </a:cubicBezTo>
                <a:cubicBezTo>
                  <a:pt x="34" y="56"/>
                  <a:pt x="30" y="56"/>
                  <a:pt x="28" y="52"/>
                </a:cubicBezTo>
                <a:cubicBezTo>
                  <a:pt x="19" y="36"/>
                  <a:pt x="19" y="36"/>
                  <a:pt x="19" y="36"/>
                </a:cubicBezTo>
                <a:cubicBezTo>
                  <a:pt x="17" y="32"/>
                  <a:pt x="13" y="26"/>
                  <a:pt x="11" y="22"/>
                </a:cubicBezTo>
                <a:cubicBezTo>
                  <a:pt x="2" y="6"/>
                  <a:pt x="2" y="6"/>
                  <a:pt x="2" y="6"/>
                </a:cubicBezTo>
                <a:cubicBezTo>
                  <a:pt x="0" y="3"/>
                  <a:pt x="1" y="0"/>
                  <a:pt x="6" y="0"/>
                </a:cubicBezTo>
                <a:lnTo>
                  <a:pt x="24" y="0"/>
                </a:lnTo>
                <a:close/>
              </a:path>
            </a:pathLst>
          </a:custGeom>
          <a:solidFill>
            <a:schemeClr val="tx2">
              <a:lumMod val="40000"/>
              <a:lumOff val="60000"/>
            </a:schemeClr>
          </a:solidFill>
          <a:ln>
            <a:noFill/>
          </a:ln>
          <a:effectLst/>
        </p:spPr>
        <p:txBody>
          <a:bodyPr vert="horz" wrap="square" lIns="91440" tIns="45720" rIns="91440" bIns="45720" numCol="1" anchor="t" anchorCtr="0" compatLnSpc="1">
            <a:prstTxWarp prst="textNoShape">
              <a:avLst/>
            </a:prstTxWarp>
          </a:bodyPr>
          <a:lstStyle/>
          <a:p>
            <a:endParaRPr lang="zh-CN" altLang="en-US"/>
          </a:p>
        </p:txBody>
      </p:sp>
      <p:sp>
        <p:nvSpPr>
          <p:cNvPr id="8" name="îŝḷíḑè">
            <a:extLst>
              <a:ext uri="{FF2B5EF4-FFF2-40B4-BE49-F238E27FC236}">
                <a16:creationId xmlns:a16="http://schemas.microsoft.com/office/drawing/2014/main" id="{B82C9738-7789-48A2-B532-D133B23EF4F6}"/>
              </a:ext>
            </a:extLst>
          </p:cNvPr>
          <p:cNvSpPr/>
          <p:nvPr/>
        </p:nvSpPr>
        <p:spPr bwMode="auto">
          <a:xfrm>
            <a:off x="7313817" y="3871334"/>
            <a:ext cx="282887" cy="241179"/>
          </a:xfrm>
          <a:custGeom>
            <a:avLst/>
            <a:gdLst>
              <a:gd name="T0" fmla="*/ 25 w 66"/>
              <a:gd name="T1" fmla="*/ 0 h 56"/>
              <a:gd name="T2" fmla="*/ 41 w 66"/>
              <a:gd name="T3" fmla="*/ 0 h 56"/>
              <a:gd name="T4" fmla="*/ 59 w 66"/>
              <a:gd name="T5" fmla="*/ 0 h 56"/>
              <a:gd name="T6" fmla="*/ 63 w 66"/>
              <a:gd name="T7" fmla="*/ 6 h 56"/>
              <a:gd name="T8" fmla="*/ 54 w 66"/>
              <a:gd name="T9" fmla="*/ 22 h 56"/>
              <a:gd name="T10" fmla="*/ 46 w 66"/>
              <a:gd name="T11" fmla="*/ 36 h 56"/>
              <a:gd name="T12" fmla="*/ 37 w 66"/>
              <a:gd name="T13" fmla="*/ 52 h 56"/>
              <a:gd name="T14" fmla="*/ 29 w 66"/>
              <a:gd name="T15" fmla="*/ 52 h 56"/>
              <a:gd name="T16" fmla="*/ 20 w 66"/>
              <a:gd name="T17" fmla="*/ 36 h 56"/>
              <a:gd name="T18" fmla="*/ 12 w 66"/>
              <a:gd name="T19" fmla="*/ 22 h 56"/>
              <a:gd name="T20" fmla="*/ 2 w 66"/>
              <a:gd name="T21" fmla="*/ 6 h 56"/>
              <a:gd name="T22" fmla="*/ 6 w 66"/>
              <a:gd name="T23" fmla="*/ 0 h 56"/>
              <a:gd name="T24" fmla="*/ 25 w 66"/>
              <a:gd name="T25" fmla="*/ 0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6" h="56">
                <a:moveTo>
                  <a:pt x="25" y="0"/>
                </a:moveTo>
                <a:cubicBezTo>
                  <a:pt x="29" y="0"/>
                  <a:pt x="37" y="0"/>
                  <a:pt x="41" y="0"/>
                </a:cubicBezTo>
                <a:cubicBezTo>
                  <a:pt x="59" y="0"/>
                  <a:pt x="59" y="0"/>
                  <a:pt x="59" y="0"/>
                </a:cubicBezTo>
                <a:cubicBezTo>
                  <a:pt x="64" y="0"/>
                  <a:pt x="66" y="3"/>
                  <a:pt x="63" y="6"/>
                </a:cubicBezTo>
                <a:cubicBezTo>
                  <a:pt x="54" y="22"/>
                  <a:pt x="54" y="22"/>
                  <a:pt x="54" y="22"/>
                </a:cubicBezTo>
                <a:cubicBezTo>
                  <a:pt x="52" y="26"/>
                  <a:pt x="48" y="32"/>
                  <a:pt x="46" y="36"/>
                </a:cubicBezTo>
                <a:cubicBezTo>
                  <a:pt x="37" y="52"/>
                  <a:pt x="37" y="52"/>
                  <a:pt x="37" y="52"/>
                </a:cubicBezTo>
                <a:cubicBezTo>
                  <a:pt x="35" y="56"/>
                  <a:pt x="31" y="56"/>
                  <a:pt x="29" y="52"/>
                </a:cubicBezTo>
                <a:cubicBezTo>
                  <a:pt x="20" y="36"/>
                  <a:pt x="20" y="36"/>
                  <a:pt x="20" y="36"/>
                </a:cubicBezTo>
                <a:cubicBezTo>
                  <a:pt x="18" y="32"/>
                  <a:pt x="14" y="26"/>
                  <a:pt x="12" y="22"/>
                </a:cubicBezTo>
                <a:cubicBezTo>
                  <a:pt x="2" y="6"/>
                  <a:pt x="2" y="6"/>
                  <a:pt x="2" y="6"/>
                </a:cubicBezTo>
                <a:cubicBezTo>
                  <a:pt x="0" y="3"/>
                  <a:pt x="2" y="0"/>
                  <a:pt x="6" y="0"/>
                </a:cubicBezTo>
                <a:lnTo>
                  <a:pt x="25" y="0"/>
                </a:lnTo>
                <a:close/>
              </a:path>
            </a:pathLst>
          </a:custGeom>
          <a:solidFill>
            <a:schemeClr val="tx2">
              <a:lumMod val="40000"/>
              <a:lumOff val="60000"/>
            </a:schemeClr>
          </a:solidFill>
          <a:ln>
            <a:noFill/>
          </a:ln>
          <a:effectLst/>
        </p:spPr>
        <p:txBody>
          <a:bodyPr vert="horz" wrap="square" lIns="91440" tIns="45720" rIns="91440" bIns="45720" numCol="1" anchor="t" anchorCtr="0" compatLnSpc="1">
            <a:prstTxWarp prst="textNoShape">
              <a:avLst/>
            </a:prstTxWarp>
          </a:bodyPr>
          <a:lstStyle/>
          <a:p>
            <a:endParaRPr lang="zh-CN" altLang="en-US"/>
          </a:p>
        </p:txBody>
      </p:sp>
      <p:sp>
        <p:nvSpPr>
          <p:cNvPr id="9" name="îš1ïďê">
            <a:extLst>
              <a:ext uri="{FF2B5EF4-FFF2-40B4-BE49-F238E27FC236}">
                <a16:creationId xmlns:a16="http://schemas.microsoft.com/office/drawing/2014/main" id="{4B251B51-D8A3-4F99-AA47-7591D22FD317}"/>
              </a:ext>
            </a:extLst>
          </p:cNvPr>
          <p:cNvSpPr/>
          <p:nvPr/>
        </p:nvSpPr>
        <p:spPr bwMode="auto">
          <a:xfrm>
            <a:off x="9907743" y="3871334"/>
            <a:ext cx="279260" cy="241179"/>
          </a:xfrm>
          <a:custGeom>
            <a:avLst/>
            <a:gdLst>
              <a:gd name="T0" fmla="*/ 25 w 65"/>
              <a:gd name="T1" fmla="*/ 0 h 56"/>
              <a:gd name="T2" fmla="*/ 41 w 65"/>
              <a:gd name="T3" fmla="*/ 0 h 56"/>
              <a:gd name="T4" fmla="*/ 59 w 65"/>
              <a:gd name="T5" fmla="*/ 0 h 56"/>
              <a:gd name="T6" fmla="*/ 63 w 65"/>
              <a:gd name="T7" fmla="*/ 6 h 56"/>
              <a:gd name="T8" fmla="*/ 54 w 65"/>
              <a:gd name="T9" fmla="*/ 22 h 56"/>
              <a:gd name="T10" fmla="*/ 46 w 65"/>
              <a:gd name="T11" fmla="*/ 36 h 56"/>
              <a:gd name="T12" fmla="*/ 37 w 65"/>
              <a:gd name="T13" fmla="*/ 52 h 56"/>
              <a:gd name="T14" fmla="*/ 29 w 65"/>
              <a:gd name="T15" fmla="*/ 52 h 56"/>
              <a:gd name="T16" fmla="*/ 20 w 65"/>
              <a:gd name="T17" fmla="*/ 36 h 56"/>
              <a:gd name="T18" fmla="*/ 12 w 65"/>
              <a:gd name="T19" fmla="*/ 22 h 56"/>
              <a:gd name="T20" fmla="*/ 2 w 65"/>
              <a:gd name="T21" fmla="*/ 6 h 56"/>
              <a:gd name="T22" fmla="*/ 6 w 65"/>
              <a:gd name="T23" fmla="*/ 0 h 56"/>
              <a:gd name="T24" fmla="*/ 25 w 65"/>
              <a:gd name="T25" fmla="*/ 0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5" h="56">
                <a:moveTo>
                  <a:pt x="25" y="0"/>
                </a:moveTo>
                <a:cubicBezTo>
                  <a:pt x="29" y="0"/>
                  <a:pt x="36" y="0"/>
                  <a:pt x="41" y="0"/>
                </a:cubicBezTo>
                <a:cubicBezTo>
                  <a:pt x="59" y="0"/>
                  <a:pt x="59" y="0"/>
                  <a:pt x="59" y="0"/>
                </a:cubicBezTo>
                <a:cubicBezTo>
                  <a:pt x="64" y="0"/>
                  <a:pt x="65" y="3"/>
                  <a:pt x="63" y="6"/>
                </a:cubicBezTo>
                <a:cubicBezTo>
                  <a:pt x="54" y="22"/>
                  <a:pt x="54" y="22"/>
                  <a:pt x="54" y="22"/>
                </a:cubicBezTo>
                <a:cubicBezTo>
                  <a:pt x="52" y="26"/>
                  <a:pt x="48" y="32"/>
                  <a:pt x="46" y="36"/>
                </a:cubicBezTo>
                <a:cubicBezTo>
                  <a:pt x="37" y="52"/>
                  <a:pt x="37" y="52"/>
                  <a:pt x="37" y="52"/>
                </a:cubicBezTo>
                <a:cubicBezTo>
                  <a:pt x="35" y="56"/>
                  <a:pt x="31" y="56"/>
                  <a:pt x="29" y="52"/>
                </a:cubicBezTo>
                <a:cubicBezTo>
                  <a:pt x="20" y="36"/>
                  <a:pt x="20" y="36"/>
                  <a:pt x="20" y="36"/>
                </a:cubicBezTo>
                <a:cubicBezTo>
                  <a:pt x="17" y="32"/>
                  <a:pt x="14" y="26"/>
                  <a:pt x="12" y="22"/>
                </a:cubicBezTo>
                <a:cubicBezTo>
                  <a:pt x="2" y="6"/>
                  <a:pt x="2" y="6"/>
                  <a:pt x="2" y="6"/>
                </a:cubicBezTo>
                <a:cubicBezTo>
                  <a:pt x="0" y="3"/>
                  <a:pt x="2" y="0"/>
                  <a:pt x="6" y="0"/>
                </a:cubicBezTo>
                <a:lnTo>
                  <a:pt x="25" y="0"/>
                </a:lnTo>
                <a:close/>
              </a:path>
            </a:pathLst>
          </a:custGeom>
          <a:solidFill>
            <a:schemeClr val="tx2">
              <a:lumMod val="40000"/>
              <a:lumOff val="60000"/>
            </a:schemeClr>
          </a:solidFill>
          <a:ln>
            <a:noFill/>
          </a:ln>
          <a:effectLst/>
        </p:spPr>
        <p:txBody>
          <a:bodyPr vert="horz" wrap="square" lIns="91440" tIns="45720" rIns="91440" bIns="45720" numCol="1" anchor="t" anchorCtr="0" compatLnSpc="1">
            <a:prstTxWarp prst="textNoShape">
              <a:avLst/>
            </a:prstTxWarp>
          </a:bodyPr>
          <a:lstStyle/>
          <a:p>
            <a:endParaRPr lang="zh-CN" altLang="en-US"/>
          </a:p>
        </p:txBody>
      </p:sp>
      <p:sp>
        <p:nvSpPr>
          <p:cNvPr id="10" name="îşļiḋè">
            <a:extLst>
              <a:ext uri="{FF2B5EF4-FFF2-40B4-BE49-F238E27FC236}">
                <a16:creationId xmlns:a16="http://schemas.microsoft.com/office/drawing/2014/main" id="{139B7562-DF51-47EA-83B8-6052F32AF234}"/>
              </a:ext>
            </a:extLst>
          </p:cNvPr>
          <p:cNvSpPr/>
          <p:nvPr/>
        </p:nvSpPr>
        <p:spPr bwMode="auto">
          <a:xfrm>
            <a:off x="8913212" y="1494000"/>
            <a:ext cx="2170611" cy="2179676"/>
          </a:xfrm>
          <a:prstGeom prst="ellipse">
            <a:avLst/>
          </a:prstGeom>
          <a:noFill/>
          <a:ln w="3175">
            <a:solidFill>
              <a:schemeClr val="bg1">
                <a:lumMod val="7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1" name="íSḻïḍe">
            <a:extLst>
              <a:ext uri="{FF2B5EF4-FFF2-40B4-BE49-F238E27FC236}">
                <a16:creationId xmlns:a16="http://schemas.microsoft.com/office/drawing/2014/main" id="{96615AB8-EE5D-47DD-94B3-6A96AEBB5E25}"/>
              </a:ext>
            </a:extLst>
          </p:cNvPr>
          <p:cNvSpPr/>
          <p:nvPr/>
        </p:nvSpPr>
        <p:spPr bwMode="auto">
          <a:xfrm>
            <a:off x="9223300" y="1813154"/>
            <a:ext cx="1564943" cy="1572196"/>
          </a:xfrm>
          <a:prstGeom prst="ellipse">
            <a:avLst/>
          </a:prstGeom>
          <a:solidFill>
            <a:schemeClr val="tx2">
              <a:lumMod val="20000"/>
              <a:lumOff val="80000"/>
            </a:schemeClr>
          </a:solidFill>
          <a:ln w="15875">
            <a:noFill/>
          </a:ln>
          <a:effectLst/>
        </p:spPr>
        <p:style>
          <a:lnRef idx="2">
            <a:schemeClr val="accent1">
              <a:shade val="50000"/>
            </a:schemeClr>
          </a:lnRef>
          <a:fillRef idx="1">
            <a:schemeClr val="accent1"/>
          </a:fillRef>
          <a:effectRef idx="0">
            <a:schemeClr val="accent1"/>
          </a:effectRef>
          <a:fontRef idx="minor">
            <a:schemeClr val="lt1"/>
          </a:fontRef>
        </p:style>
        <p:txBody>
          <a:bodyPr wrap="none" rtlCol="0" anchor="ctr">
            <a:normAutofit/>
          </a:bodyPr>
          <a:lstStyle/>
          <a:p>
            <a:pPr algn="ctr"/>
            <a:r>
              <a:rPr lang="zh-CN" altLang="en-US" sz="2400" b="1" dirty="0" smtClean="0">
                <a:solidFill>
                  <a:schemeClr val="tx1"/>
                </a:solidFill>
              </a:rPr>
              <a:t>全检</a:t>
            </a:r>
            <a:endParaRPr lang="zh-CN" altLang="en-US" sz="2400" b="1" dirty="0">
              <a:solidFill>
                <a:schemeClr val="tx1"/>
              </a:solidFill>
            </a:endParaRPr>
          </a:p>
        </p:txBody>
      </p:sp>
      <p:sp>
        <p:nvSpPr>
          <p:cNvPr id="12" name="iŝļíḓé">
            <a:extLst>
              <a:ext uri="{FF2B5EF4-FFF2-40B4-BE49-F238E27FC236}">
                <a16:creationId xmlns:a16="http://schemas.microsoft.com/office/drawing/2014/main" id="{5E7E9F3E-923C-41EB-B583-73609C14711C}"/>
              </a:ext>
            </a:extLst>
          </p:cNvPr>
          <p:cNvSpPr/>
          <p:nvPr/>
        </p:nvSpPr>
        <p:spPr bwMode="auto">
          <a:xfrm>
            <a:off x="3710640" y="1494000"/>
            <a:ext cx="2170611" cy="2179676"/>
          </a:xfrm>
          <a:prstGeom prst="ellipse">
            <a:avLst/>
          </a:prstGeom>
          <a:noFill/>
          <a:ln w="3175">
            <a:solidFill>
              <a:schemeClr val="bg1">
                <a:lumMod val="7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3" name="íślïḍé">
            <a:extLst>
              <a:ext uri="{FF2B5EF4-FFF2-40B4-BE49-F238E27FC236}">
                <a16:creationId xmlns:a16="http://schemas.microsoft.com/office/drawing/2014/main" id="{0E81924E-C3F9-4691-A815-931AF4EE2085}"/>
              </a:ext>
            </a:extLst>
          </p:cNvPr>
          <p:cNvSpPr/>
          <p:nvPr/>
        </p:nvSpPr>
        <p:spPr bwMode="auto">
          <a:xfrm>
            <a:off x="4015287" y="1813154"/>
            <a:ext cx="1564943" cy="1572196"/>
          </a:xfrm>
          <a:prstGeom prst="ellipse">
            <a:avLst/>
          </a:prstGeom>
          <a:solidFill>
            <a:schemeClr val="tx2">
              <a:lumMod val="20000"/>
              <a:lumOff val="80000"/>
            </a:schemeClr>
          </a:solidFill>
          <a:ln w="15875">
            <a:noFill/>
          </a:ln>
          <a:effectLst/>
        </p:spPr>
        <p:style>
          <a:lnRef idx="2">
            <a:schemeClr val="accent1">
              <a:shade val="50000"/>
            </a:schemeClr>
          </a:lnRef>
          <a:fillRef idx="1">
            <a:schemeClr val="accent1"/>
          </a:fillRef>
          <a:effectRef idx="0">
            <a:schemeClr val="accent1"/>
          </a:effectRef>
          <a:fontRef idx="minor">
            <a:schemeClr val="lt1"/>
          </a:fontRef>
        </p:style>
        <p:txBody>
          <a:bodyPr wrap="none" rtlCol="0" anchor="ctr">
            <a:normAutofit/>
          </a:bodyPr>
          <a:lstStyle/>
          <a:p>
            <a:pPr algn="ctr"/>
            <a:r>
              <a:rPr lang="zh-CN" altLang="en-US" sz="2400" b="1" dirty="0" smtClean="0">
                <a:solidFill>
                  <a:schemeClr val="tx1"/>
                </a:solidFill>
              </a:rPr>
              <a:t>换料</a:t>
            </a:r>
            <a:endParaRPr lang="zh-CN" altLang="en-US" sz="2400" b="1" dirty="0">
              <a:solidFill>
                <a:schemeClr val="tx1"/>
              </a:solidFill>
            </a:endParaRPr>
          </a:p>
        </p:txBody>
      </p:sp>
      <p:sp>
        <p:nvSpPr>
          <p:cNvPr id="14" name="îŝ1ïde">
            <a:extLst>
              <a:ext uri="{FF2B5EF4-FFF2-40B4-BE49-F238E27FC236}">
                <a16:creationId xmlns:a16="http://schemas.microsoft.com/office/drawing/2014/main" id="{CB61308A-5761-452F-9C75-448B5EBFF50C}"/>
              </a:ext>
            </a:extLst>
          </p:cNvPr>
          <p:cNvSpPr/>
          <p:nvPr/>
        </p:nvSpPr>
        <p:spPr bwMode="auto">
          <a:xfrm>
            <a:off x="6301953" y="1494000"/>
            <a:ext cx="2170611" cy="2179676"/>
          </a:xfrm>
          <a:prstGeom prst="ellipse">
            <a:avLst/>
          </a:prstGeom>
          <a:noFill/>
          <a:ln w="3175">
            <a:solidFill>
              <a:schemeClr val="bg1">
                <a:lumMod val="7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5" name="íšlîḍê">
            <a:extLst>
              <a:ext uri="{FF2B5EF4-FFF2-40B4-BE49-F238E27FC236}">
                <a16:creationId xmlns:a16="http://schemas.microsoft.com/office/drawing/2014/main" id="{94389538-DF47-4F0C-9D3A-F829DAC8737D}"/>
              </a:ext>
            </a:extLst>
          </p:cNvPr>
          <p:cNvSpPr/>
          <p:nvPr/>
        </p:nvSpPr>
        <p:spPr bwMode="auto">
          <a:xfrm>
            <a:off x="6606600" y="1813154"/>
            <a:ext cx="1561317" cy="1572196"/>
          </a:xfrm>
          <a:prstGeom prst="ellipse">
            <a:avLst/>
          </a:prstGeom>
          <a:solidFill>
            <a:schemeClr val="accent1"/>
          </a:solidFill>
          <a:ln w="1587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wrap="none" rtlCol="0" anchor="ctr">
            <a:normAutofit/>
          </a:bodyPr>
          <a:lstStyle/>
          <a:p>
            <a:pPr algn="ctr"/>
            <a:r>
              <a:rPr lang="zh-CN" altLang="en-US" sz="2400" b="1" dirty="0" smtClean="0"/>
              <a:t>核料</a:t>
            </a:r>
            <a:endParaRPr lang="zh-CN" altLang="en-US" sz="2400" b="1" dirty="0"/>
          </a:p>
        </p:txBody>
      </p:sp>
      <p:sp>
        <p:nvSpPr>
          <p:cNvPr id="16" name="ïṡļïḑé">
            <a:extLst>
              <a:ext uri="{FF2B5EF4-FFF2-40B4-BE49-F238E27FC236}">
                <a16:creationId xmlns:a16="http://schemas.microsoft.com/office/drawing/2014/main" id="{A8CB1BAC-CAD7-47A8-A58D-B908540B74CA}"/>
              </a:ext>
            </a:extLst>
          </p:cNvPr>
          <p:cNvSpPr/>
          <p:nvPr/>
        </p:nvSpPr>
        <p:spPr bwMode="auto">
          <a:xfrm>
            <a:off x="1110261" y="1494000"/>
            <a:ext cx="2170611" cy="2179676"/>
          </a:xfrm>
          <a:prstGeom prst="ellipse">
            <a:avLst/>
          </a:prstGeom>
          <a:noFill/>
          <a:ln w="3175">
            <a:solidFill>
              <a:schemeClr val="bg1">
                <a:lumMod val="7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7" name="íšlíḋê">
            <a:extLst>
              <a:ext uri="{FF2B5EF4-FFF2-40B4-BE49-F238E27FC236}">
                <a16:creationId xmlns:a16="http://schemas.microsoft.com/office/drawing/2014/main" id="{05F40C61-687E-4AE0-8CD1-B73D65FEF8E2}"/>
              </a:ext>
            </a:extLst>
          </p:cNvPr>
          <p:cNvSpPr/>
          <p:nvPr/>
        </p:nvSpPr>
        <p:spPr bwMode="auto">
          <a:xfrm>
            <a:off x="1426521" y="1813154"/>
            <a:ext cx="1564943" cy="1572196"/>
          </a:xfrm>
          <a:prstGeom prst="ellipse">
            <a:avLst/>
          </a:prstGeom>
          <a:solidFill>
            <a:schemeClr val="accent1"/>
          </a:solidFill>
          <a:ln w="1587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wrap="none" rtlCol="0" anchor="ctr">
            <a:normAutofit/>
          </a:bodyPr>
          <a:lstStyle/>
          <a:p>
            <a:pPr algn="ctr"/>
            <a:r>
              <a:rPr lang="zh-CN" altLang="en-US" sz="2400" b="1" dirty="0" smtClean="0"/>
              <a:t>上料</a:t>
            </a:r>
            <a:endParaRPr lang="zh-CN" altLang="en-US" sz="2400" b="1" dirty="0"/>
          </a:p>
        </p:txBody>
      </p:sp>
      <p:sp>
        <p:nvSpPr>
          <p:cNvPr id="18" name="î$1íḑé">
            <a:extLst>
              <a:ext uri="{FF2B5EF4-FFF2-40B4-BE49-F238E27FC236}">
                <a16:creationId xmlns:a16="http://schemas.microsoft.com/office/drawing/2014/main" id="{CFC1C96A-0602-4468-91C0-7CC0E17E568B}"/>
              </a:ext>
            </a:extLst>
          </p:cNvPr>
          <p:cNvSpPr/>
          <p:nvPr/>
        </p:nvSpPr>
        <p:spPr bwMode="auto">
          <a:xfrm>
            <a:off x="2105805" y="1494000"/>
            <a:ext cx="2749076" cy="2170609"/>
          </a:xfrm>
          <a:custGeom>
            <a:avLst/>
            <a:gdLst>
              <a:gd name="T0" fmla="*/ 627 w 641"/>
              <a:gd name="T1" fmla="*/ 504 h 504"/>
              <a:gd name="T2" fmla="*/ 322 w 641"/>
              <a:gd name="T3" fmla="*/ 266 h 504"/>
              <a:gd name="T4" fmla="*/ 14 w 641"/>
              <a:gd name="T5" fmla="*/ 28 h 504"/>
              <a:gd name="T6" fmla="*/ 0 w 641"/>
              <a:gd name="T7" fmla="*/ 14 h 504"/>
              <a:gd name="T8" fmla="*/ 14 w 641"/>
              <a:gd name="T9" fmla="*/ 0 h 504"/>
              <a:gd name="T10" fmla="*/ 347 w 641"/>
              <a:gd name="T11" fmla="*/ 252 h 504"/>
              <a:gd name="T12" fmla="*/ 627 w 641"/>
              <a:gd name="T13" fmla="*/ 476 h 504"/>
              <a:gd name="T14" fmla="*/ 641 w 641"/>
              <a:gd name="T15" fmla="*/ 490 h 504"/>
              <a:gd name="T16" fmla="*/ 627 w 641"/>
              <a:gd name="T17" fmla="*/ 504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41" h="504">
                <a:moveTo>
                  <a:pt x="627" y="504"/>
                </a:moveTo>
                <a:cubicBezTo>
                  <a:pt x="462" y="504"/>
                  <a:pt x="391" y="383"/>
                  <a:pt x="322" y="266"/>
                </a:cubicBezTo>
                <a:cubicBezTo>
                  <a:pt x="250" y="144"/>
                  <a:pt x="182" y="28"/>
                  <a:pt x="14" y="28"/>
                </a:cubicBezTo>
                <a:cubicBezTo>
                  <a:pt x="6" y="28"/>
                  <a:pt x="0" y="22"/>
                  <a:pt x="0" y="14"/>
                </a:cubicBezTo>
                <a:cubicBezTo>
                  <a:pt x="0" y="6"/>
                  <a:pt x="6" y="0"/>
                  <a:pt x="14" y="0"/>
                </a:cubicBezTo>
                <a:cubicBezTo>
                  <a:pt x="198" y="0"/>
                  <a:pt x="274" y="128"/>
                  <a:pt x="347" y="252"/>
                </a:cubicBezTo>
                <a:cubicBezTo>
                  <a:pt x="414" y="367"/>
                  <a:pt x="478" y="476"/>
                  <a:pt x="627" y="476"/>
                </a:cubicBezTo>
                <a:cubicBezTo>
                  <a:pt x="635" y="476"/>
                  <a:pt x="641" y="482"/>
                  <a:pt x="641" y="490"/>
                </a:cubicBezTo>
                <a:cubicBezTo>
                  <a:pt x="641" y="498"/>
                  <a:pt x="635" y="504"/>
                  <a:pt x="627" y="504"/>
                </a:cubicBezTo>
                <a:close/>
              </a:path>
            </a:pathLst>
          </a:custGeom>
          <a:solidFill>
            <a:schemeClr val="bg2"/>
          </a:solidFill>
          <a:ln w="158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9" name="îŝļiḑé">
            <a:extLst>
              <a:ext uri="{FF2B5EF4-FFF2-40B4-BE49-F238E27FC236}">
                <a16:creationId xmlns:a16="http://schemas.microsoft.com/office/drawing/2014/main" id="{B42A7318-5175-42EC-9F31-6159CDE1E16D}"/>
              </a:ext>
            </a:extLst>
          </p:cNvPr>
          <p:cNvSpPr/>
          <p:nvPr/>
        </p:nvSpPr>
        <p:spPr bwMode="auto">
          <a:xfrm>
            <a:off x="4697117" y="1494000"/>
            <a:ext cx="2749076" cy="2170609"/>
          </a:xfrm>
          <a:custGeom>
            <a:avLst/>
            <a:gdLst>
              <a:gd name="T0" fmla="*/ 627 w 641"/>
              <a:gd name="T1" fmla="*/ 504 h 504"/>
              <a:gd name="T2" fmla="*/ 322 w 641"/>
              <a:gd name="T3" fmla="*/ 266 h 504"/>
              <a:gd name="T4" fmla="*/ 14 w 641"/>
              <a:gd name="T5" fmla="*/ 28 h 504"/>
              <a:gd name="T6" fmla="*/ 0 w 641"/>
              <a:gd name="T7" fmla="*/ 14 h 504"/>
              <a:gd name="T8" fmla="*/ 14 w 641"/>
              <a:gd name="T9" fmla="*/ 0 h 504"/>
              <a:gd name="T10" fmla="*/ 346 w 641"/>
              <a:gd name="T11" fmla="*/ 252 h 504"/>
              <a:gd name="T12" fmla="*/ 627 w 641"/>
              <a:gd name="T13" fmla="*/ 476 h 504"/>
              <a:gd name="T14" fmla="*/ 641 w 641"/>
              <a:gd name="T15" fmla="*/ 490 h 504"/>
              <a:gd name="T16" fmla="*/ 627 w 641"/>
              <a:gd name="T17" fmla="*/ 504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41" h="504">
                <a:moveTo>
                  <a:pt x="627" y="504"/>
                </a:moveTo>
                <a:cubicBezTo>
                  <a:pt x="462" y="504"/>
                  <a:pt x="390" y="383"/>
                  <a:pt x="322" y="266"/>
                </a:cubicBezTo>
                <a:cubicBezTo>
                  <a:pt x="250" y="144"/>
                  <a:pt x="182" y="28"/>
                  <a:pt x="14" y="28"/>
                </a:cubicBezTo>
                <a:cubicBezTo>
                  <a:pt x="6" y="28"/>
                  <a:pt x="0" y="22"/>
                  <a:pt x="0" y="14"/>
                </a:cubicBezTo>
                <a:cubicBezTo>
                  <a:pt x="0" y="6"/>
                  <a:pt x="6" y="0"/>
                  <a:pt x="14" y="0"/>
                </a:cubicBezTo>
                <a:cubicBezTo>
                  <a:pt x="198" y="0"/>
                  <a:pt x="274" y="128"/>
                  <a:pt x="346" y="252"/>
                </a:cubicBezTo>
                <a:cubicBezTo>
                  <a:pt x="414" y="367"/>
                  <a:pt x="478" y="476"/>
                  <a:pt x="627" y="476"/>
                </a:cubicBezTo>
                <a:cubicBezTo>
                  <a:pt x="635" y="476"/>
                  <a:pt x="641" y="482"/>
                  <a:pt x="641" y="490"/>
                </a:cubicBezTo>
                <a:cubicBezTo>
                  <a:pt x="641" y="498"/>
                  <a:pt x="635" y="504"/>
                  <a:pt x="627" y="504"/>
                </a:cubicBezTo>
                <a:close/>
              </a:path>
            </a:pathLst>
          </a:custGeom>
          <a:solidFill>
            <a:schemeClr val="bg2"/>
          </a:solidFill>
          <a:ln w="158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0" name="iśḻïḍè">
            <a:extLst>
              <a:ext uri="{FF2B5EF4-FFF2-40B4-BE49-F238E27FC236}">
                <a16:creationId xmlns:a16="http://schemas.microsoft.com/office/drawing/2014/main" id="{C09BAE71-807E-410F-8A49-EFFC2FE262CA}"/>
              </a:ext>
            </a:extLst>
          </p:cNvPr>
          <p:cNvSpPr/>
          <p:nvPr/>
        </p:nvSpPr>
        <p:spPr bwMode="auto">
          <a:xfrm>
            <a:off x="7310190" y="1494000"/>
            <a:ext cx="2752703" cy="2170609"/>
          </a:xfrm>
          <a:custGeom>
            <a:avLst/>
            <a:gdLst>
              <a:gd name="T0" fmla="*/ 627 w 642"/>
              <a:gd name="T1" fmla="*/ 504 h 504"/>
              <a:gd name="T2" fmla="*/ 322 w 642"/>
              <a:gd name="T3" fmla="*/ 266 h 504"/>
              <a:gd name="T4" fmla="*/ 14 w 642"/>
              <a:gd name="T5" fmla="*/ 28 h 504"/>
              <a:gd name="T6" fmla="*/ 0 w 642"/>
              <a:gd name="T7" fmla="*/ 14 h 504"/>
              <a:gd name="T8" fmla="*/ 14 w 642"/>
              <a:gd name="T9" fmla="*/ 0 h 504"/>
              <a:gd name="T10" fmla="*/ 347 w 642"/>
              <a:gd name="T11" fmla="*/ 252 h 504"/>
              <a:gd name="T12" fmla="*/ 627 w 642"/>
              <a:gd name="T13" fmla="*/ 476 h 504"/>
              <a:gd name="T14" fmla="*/ 642 w 642"/>
              <a:gd name="T15" fmla="*/ 490 h 504"/>
              <a:gd name="T16" fmla="*/ 627 w 642"/>
              <a:gd name="T17" fmla="*/ 504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42" h="504">
                <a:moveTo>
                  <a:pt x="627" y="504"/>
                </a:moveTo>
                <a:cubicBezTo>
                  <a:pt x="462" y="504"/>
                  <a:pt x="391" y="383"/>
                  <a:pt x="322" y="266"/>
                </a:cubicBezTo>
                <a:cubicBezTo>
                  <a:pt x="250" y="144"/>
                  <a:pt x="182" y="28"/>
                  <a:pt x="14" y="28"/>
                </a:cubicBezTo>
                <a:cubicBezTo>
                  <a:pt x="6" y="28"/>
                  <a:pt x="0" y="22"/>
                  <a:pt x="0" y="14"/>
                </a:cubicBezTo>
                <a:cubicBezTo>
                  <a:pt x="0" y="6"/>
                  <a:pt x="6" y="0"/>
                  <a:pt x="14" y="0"/>
                </a:cubicBezTo>
                <a:cubicBezTo>
                  <a:pt x="199" y="0"/>
                  <a:pt x="274" y="128"/>
                  <a:pt x="347" y="252"/>
                </a:cubicBezTo>
                <a:cubicBezTo>
                  <a:pt x="415" y="367"/>
                  <a:pt x="479" y="476"/>
                  <a:pt x="627" y="476"/>
                </a:cubicBezTo>
                <a:cubicBezTo>
                  <a:pt x="635" y="476"/>
                  <a:pt x="642" y="482"/>
                  <a:pt x="642" y="490"/>
                </a:cubicBezTo>
                <a:cubicBezTo>
                  <a:pt x="642" y="498"/>
                  <a:pt x="635" y="504"/>
                  <a:pt x="627" y="504"/>
                </a:cubicBezTo>
                <a:close/>
              </a:path>
            </a:pathLst>
          </a:custGeom>
          <a:solidFill>
            <a:schemeClr val="bg2"/>
          </a:solidFill>
          <a:ln w="158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4" name="iṣlîḑè">
            <a:extLst>
              <a:ext uri="{FF2B5EF4-FFF2-40B4-BE49-F238E27FC236}">
                <a16:creationId xmlns:a16="http://schemas.microsoft.com/office/drawing/2014/main" id="{9E31CC3D-5D50-4B09-A42F-E1DA4976280D}"/>
              </a:ext>
            </a:extLst>
          </p:cNvPr>
          <p:cNvSpPr txBox="1"/>
          <p:nvPr/>
        </p:nvSpPr>
        <p:spPr bwMode="auto">
          <a:xfrm>
            <a:off x="1576998" y="4244776"/>
            <a:ext cx="1227653" cy="441805"/>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90000" tIns="46800" rIns="90000" bIns="46800" anchor="b">
            <a:norm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algn="ctr" eaLnBrk="1" hangingPunct="1">
              <a:lnSpc>
                <a:spcPct val="100000"/>
              </a:lnSpc>
              <a:spcBef>
                <a:spcPct val="0"/>
              </a:spcBef>
            </a:pPr>
            <a:r>
              <a:rPr lang="zh-CN" altLang="en-US" sz="2000" b="1" dirty="0" smtClean="0"/>
              <a:t>未上料</a:t>
            </a:r>
            <a:endParaRPr lang="en-US" altLang="zh-CN" sz="2000" b="1" dirty="0"/>
          </a:p>
        </p:txBody>
      </p:sp>
      <p:sp>
        <p:nvSpPr>
          <p:cNvPr id="32" name="iSľiḋê">
            <a:extLst>
              <a:ext uri="{FF2B5EF4-FFF2-40B4-BE49-F238E27FC236}">
                <a16:creationId xmlns:a16="http://schemas.microsoft.com/office/drawing/2014/main" id="{54596F92-3CF6-4B0D-BC02-F741D7767E59}"/>
              </a:ext>
            </a:extLst>
          </p:cNvPr>
          <p:cNvSpPr txBox="1"/>
          <p:nvPr/>
        </p:nvSpPr>
        <p:spPr bwMode="auto">
          <a:xfrm>
            <a:off x="4165008" y="4299354"/>
            <a:ext cx="1260786" cy="412559"/>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90000" tIns="46800" rIns="90000" bIns="46800" anchor="b">
            <a:norm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algn="ctr" eaLnBrk="1" hangingPunct="1">
              <a:lnSpc>
                <a:spcPct val="100000"/>
              </a:lnSpc>
              <a:spcBef>
                <a:spcPct val="0"/>
              </a:spcBef>
            </a:pPr>
            <a:r>
              <a:rPr lang="zh-CN" altLang="en-US" sz="2000" b="1" dirty="0" smtClean="0"/>
              <a:t>未首检</a:t>
            </a:r>
            <a:endParaRPr lang="en-US" altLang="zh-CN" sz="2000" b="1" dirty="0"/>
          </a:p>
        </p:txBody>
      </p:sp>
      <p:sp>
        <p:nvSpPr>
          <p:cNvPr id="30" name="íŝḻiḓè">
            <a:extLst>
              <a:ext uri="{FF2B5EF4-FFF2-40B4-BE49-F238E27FC236}">
                <a16:creationId xmlns:a16="http://schemas.microsoft.com/office/drawing/2014/main" id="{45BA305C-1027-4BA3-9D9E-7BE277312753}"/>
              </a:ext>
            </a:extLst>
          </p:cNvPr>
          <p:cNvSpPr txBox="1"/>
          <p:nvPr/>
        </p:nvSpPr>
        <p:spPr bwMode="auto">
          <a:xfrm>
            <a:off x="6923297" y="4107390"/>
            <a:ext cx="1123990" cy="777320"/>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90000" tIns="46800" rIns="90000" bIns="46800" anchor="b">
            <a:norm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algn="ctr" eaLnBrk="1" hangingPunct="1">
              <a:lnSpc>
                <a:spcPct val="100000"/>
              </a:lnSpc>
              <a:spcBef>
                <a:spcPct val="0"/>
              </a:spcBef>
            </a:pPr>
            <a:r>
              <a:rPr lang="zh-CN" altLang="en-US" sz="2000" b="1" dirty="0" smtClean="0"/>
              <a:t>规定时间</a:t>
            </a:r>
            <a:endParaRPr lang="en-US" altLang="zh-CN" sz="2000" b="1" dirty="0" smtClean="0"/>
          </a:p>
          <a:p>
            <a:pPr algn="ctr" eaLnBrk="1" hangingPunct="1">
              <a:lnSpc>
                <a:spcPct val="100000"/>
              </a:lnSpc>
              <a:spcBef>
                <a:spcPct val="0"/>
              </a:spcBef>
            </a:pPr>
            <a:r>
              <a:rPr lang="zh-CN" altLang="en-US" sz="2000" b="1" dirty="0" smtClean="0"/>
              <a:t>未核料</a:t>
            </a:r>
            <a:endParaRPr lang="en-US" altLang="zh-CN" sz="2000" b="1" dirty="0"/>
          </a:p>
        </p:txBody>
      </p:sp>
      <p:sp>
        <p:nvSpPr>
          <p:cNvPr id="28" name="îSḷîḋe">
            <a:extLst>
              <a:ext uri="{FF2B5EF4-FFF2-40B4-BE49-F238E27FC236}">
                <a16:creationId xmlns:a16="http://schemas.microsoft.com/office/drawing/2014/main" id="{36AB5F41-3C6A-4EEF-8917-4756EF39A85D}"/>
              </a:ext>
            </a:extLst>
          </p:cNvPr>
          <p:cNvSpPr txBox="1"/>
          <p:nvPr/>
        </p:nvSpPr>
        <p:spPr bwMode="auto">
          <a:xfrm>
            <a:off x="9395736" y="4240853"/>
            <a:ext cx="1471735" cy="441805"/>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90000" tIns="46800" rIns="90000" bIns="46800" anchor="b">
            <a:norm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algn="ctr" eaLnBrk="1" hangingPunct="1">
              <a:lnSpc>
                <a:spcPct val="100000"/>
              </a:lnSpc>
              <a:spcBef>
                <a:spcPct val="0"/>
              </a:spcBef>
            </a:pPr>
            <a:r>
              <a:rPr lang="zh-CN" altLang="en-US" sz="2000" b="1" dirty="0" smtClean="0"/>
              <a:t>未定时全检</a:t>
            </a:r>
            <a:endParaRPr lang="en-US" altLang="zh-CN" sz="2000" b="1" dirty="0"/>
          </a:p>
        </p:txBody>
      </p:sp>
      <p:cxnSp>
        <p:nvCxnSpPr>
          <p:cNvPr id="25" name="直接连接符 24">
            <a:extLst>
              <a:ext uri="{FF2B5EF4-FFF2-40B4-BE49-F238E27FC236}">
                <a16:creationId xmlns:a16="http://schemas.microsoft.com/office/drawing/2014/main" id="{9F7E7EC4-C6DC-4D2D-8417-E07C741ED4B9}"/>
              </a:ext>
            </a:extLst>
          </p:cNvPr>
          <p:cNvCxnSpPr/>
          <p:nvPr/>
        </p:nvCxnSpPr>
        <p:spPr>
          <a:xfrm flipH="1">
            <a:off x="3532094" y="4203031"/>
            <a:ext cx="1351" cy="2251560"/>
          </a:xfrm>
          <a:prstGeom prst="line">
            <a:avLst/>
          </a:prstGeom>
          <a:ln w="3175" cap="rnd">
            <a:solidFill>
              <a:schemeClr val="bg1">
                <a:lumMod val="75000"/>
              </a:schemeClr>
            </a:solidFill>
            <a:round/>
            <a:headEnd type="none"/>
            <a:tailEnd type="none" w="med" len="med"/>
          </a:ln>
        </p:spPr>
        <p:style>
          <a:lnRef idx="1">
            <a:schemeClr val="accent1"/>
          </a:lnRef>
          <a:fillRef idx="0">
            <a:schemeClr val="accent1"/>
          </a:fillRef>
          <a:effectRef idx="0">
            <a:schemeClr val="accent1"/>
          </a:effectRef>
          <a:fontRef idx="minor">
            <a:schemeClr val="tx1"/>
          </a:fontRef>
        </p:style>
      </p:cxnSp>
      <p:cxnSp>
        <p:nvCxnSpPr>
          <p:cNvPr id="26" name="直接连接符 25">
            <a:extLst>
              <a:ext uri="{FF2B5EF4-FFF2-40B4-BE49-F238E27FC236}">
                <a16:creationId xmlns:a16="http://schemas.microsoft.com/office/drawing/2014/main" id="{6A5B2D90-6E95-4216-BB6A-9C0743E4939A}"/>
              </a:ext>
            </a:extLst>
          </p:cNvPr>
          <p:cNvCxnSpPr/>
          <p:nvPr/>
        </p:nvCxnSpPr>
        <p:spPr>
          <a:xfrm>
            <a:off x="6088386" y="4208185"/>
            <a:ext cx="0" cy="2272291"/>
          </a:xfrm>
          <a:prstGeom prst="line">
            <a:avLst/>
          </a:prstGeom>
          <a:ln w="3175" cap="rnd">
            <a:solidFill>
              <a:schemeClr val="bg1">
                <a:lumMod val="75000"/>
              </a:schemeClr>
            </a:solidFill>
            <a:round/>
            <a:headEnd type="none"/>
            <a:tailEnd type="none" w="med" len="med"/>
          </a:ln>
        </p:spPr>
        <p:style>
          <a:lnRef idx="1">
            <a:schemeClr val="accent1"/>
          </a:lnRef>
          <a:fillRef idx="0">
            <a:schemeClr val="accent1"/>
          </a:fillRef>
          <a:effectRef idx="0">
            <a:schemeClr val="accent1"/>
          </a:effectRef>
          <a:fontRef idx="minor">
            <a:schemeClr val="tx1"/>
          </a:fontRef>
        </p:style>
      </p:cxnSp>
      <p:cxnSp>
        <p:nvCxnSpPr>
          <p:cNvPr id="27" name="直接连接符 26">
            <a:extLst>
              <a:ext uri="{FF2B5EF4-FFF2-40B4-BE49-F238E27FC236}">
                <a16:creationId xmlns:a16="http://schemas.microsoft.com/office/drawing/2014/main" id="{EDF546EC-FAE2-4CB1-9AB6-B92EB29BB264}"/>
              </a:ext>
            </a:extLst>
          </p:cNvPr>
          <p:cNvCxnSpPr/>
          <p:nvPr/>
        </p:nvCxnSpPr>
        <p:spPr>
          <a:xfrm>
            <a:off x="8715045" y="4194066"/>
            <a:ext cx="0" cy="2272291"/>
          </a:xfrm>
          <a:prstGeom prst="line">
            <a:avLst/>
          </a:prstGeom>
          <a:ln w="3175" cap="rnd">
            <a:solidFill>
              <a:schemeClr val="bg1">
                <a:lumMod val="75000"/>
              </a:schemeClr>
            </a:solidFill>
            <a:round/>
            <a:headEnd type="none"/>
            <a:tailEnd type="none" w="med" len="med"/>
          </a:ln>
        </p:spPr>
        <p:style>
          <a:lnRef idx="1">
            <a:schemeClr val="accent1"/>
          </a:lnRef>
          <a:fillRef idx="0">
            <a:schemeClr val="accent1"/>
          </a:fillRef>
          <a:effectRef idx="0">
            <a:schemeClr val="accent1"/>
          </a:effectRef>
          <a:fontRef idx="minor">
            <a:schemeClr val="tx1"/>
          </a:fontRef>
        </p:style>
      </p:cxnSp>
      <p:sp>
        <p:nvSpPr>
          <p:cNvPr id="40" name="iSľiḋê">
            <a:extLst>
              <a:ext uri="{FF2B5EF4-FFF2-40B4-BE49-F238E27FC236}">
                <a16:creationId xmlns:a16="http://schemas.microsoft.com/office/drawing/2014/main" id="{54596F92-3CF6-4B0D-BC02-F741D7767E59}"/>
              </a:ext>
            </a:extLst>
          </p:cNvPr>
          <p:cNvSpPr txBox="1"/>
          <p:nvPr/>
        </p:nvSpPr>
        <p:spPr bwMode="auto">
          <a:xfrm>
            <a:off x="1439428" y="4914865"/>
            <a:ext cx="1521876" cy="441805"/>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90000" tIns="46800" rIns="90000" bIns="46800" anchor="b">
            <a:norm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algn="ctr" eaLnBrk="1" hangingPunct="1">
              <a:lnSpc>
                <a:spcPct val="100000"/>
              </a:lnSpc>
              <a:spcBef>
                <a:spcPct val="0"/>
              </a:spcBef>
            </a:pPr>
            <a:r>
              <a:rPr lang="zh-CN" altLang="en-US" sz="2000" b="1" dirty="0" smtClean="0"/>
              <a:t>未首检</a:t>
            </a:r>
            <a:endParaRPr lang="en-US" altLang="zh-CN" sz="2000" b="1" dirty="0"/>
          </a:p>
        </p:txBody>
      </p:sp>
      <p:sp>
        <p:nvSpPr>
          <p:cNvPr id="41" name="iSľiḋê">
            <a:extLst>
              <a:ext uri="{FF2B5EF4-FFF2-40B4-BE49-F238E27FC236}">
                <a16:creationId xmlns:a16="http://schemas.microsoft.com/office/drawing/2014/main" id="{54596F92-3CF6-4B0D-BC02-F741D7767E59}"/>
              </a:ext>
            </a:extLst>
          </p:cNvPr>
          <p:cNvSpPr txBox="1"/>
          <p:nvPr/>
        </p:nvSpPr>
        <p:spPr bwMode="auto">
          <a:xfrm>
            <a:off x="4413959" y="4885610"/>
            <a:ext cx="757135" cy="427177"/>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90000" tIns="46800" rIns="90000" bIns="46800" anchor="b">
            <a:norm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algn="ctr" eaLnBrk="1" hangingPunct="1">
              <a:lnSpc>
                <a:spcPct val="100000"/>
              </a:lnSpc>
              <a:spcBef>
                <a:spcPct val="0"/>
              </a:spcBef>
            </a:pPr>
            <a:r>
              <a:rPr lang="zh-CN" altLang="en-US" sz="2000" b="1" dirty="0" smtClean="0"/>
              <a:t>错    料</a:t>
            </a:r>
            <a:endParaRPr lang="en-US" altLang="zh-CN" sz="2000" b="1" dirty="0"/>
          </a:p>
        </p:txBody>
      </p:sp>
      <p:sp>
        <p:nvSpPr>
          <p:cNvPr id="43" name="iSľiḋê">
            <a:extLst>
              <a:ext uri="{FF2B5EF4-FFF2-40B4-BE49-F238E27FC236}">
                <a16:creationId xmlns:a16="http://schemas.microsoft.com/office/drawing/2014/main" id="{54596F92-3CF6-4B0D-BC02-F741D7767E59}"/>
              </a:ext>
            </a:extLst>
          </p:cNvPr>
          <p:cNvSpPr txBox="1"/>
          <p:nvPr/>
        </p:nvSpPr>
        <p:spPr bwMode="auto">
          <a:xfrm>
            <a:off x="4354517" y="5548211"/>
            <a:ext cx="876017" cy="394332"/>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90000" tIns="46800" rIns="90000" bIns="46800" anchor="b">
            <a:normAutofit lnSpcReduction="10000"/>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algn="ctr" eaLnBrk="1" hangingPunct="1">
              <a:lnSpc>
                <a:spcPct val="100000"/>
              </a:lnSpc>
              <a:spcBef>
                <a:spcPct val="0"/>
              </a:spcBef>
            </a:pPr>
            <a:r>
              <a:rPr lang="zh-CN" altLang="en-US" sz="2000" b="1" dirty="0" smtClean="0"/>
              <a:t>未    核</a:t>
            </a:r>
            <a:endParaRPr lang="en-US" altLang="zh-CN" sz="2000" b="1" dirty="0"/>
          </a:p>
        </p:txBody>
      </p:sp>
      <p:sp>
        <p:nvSpPr>
          <p:cNvPr id="48" name="sad_2219"/>
          <p:cNvSpPr>
            <a:spLocks noChangeAspect="1"/>
          </p:cNvSpPr>
          <p:nvPr/>
        </p:nvSpPr>
        <p:spPr bwMode="auto">
          <a:xfrm>
            <a:off x="1039600" y="4266298"/>
            <a:ext cx="471640" cy="471060"/>
          </a:xfrm>
          <a:custGeom>
            <a:avLst/>
            <a:gdLst>
              <a:gd name="connsiteX0" fmla="*/ 280014 w 560027"/>
              <a:gd name="connsiteY0" fmla="*/ 326990 h 559338"/>
              <a:gd name="connsiteX1" fmla="*/ 357604 w 560027"/>
              <a:gd name="connsiteY1" fmla="*/ 357029 h 559338"/>
              <a:gd name="connsiteX2" fmla="*/ 392088 w 560027"/>
              <a:gd name="connsiteY2" fmla="*/ 421400 h 559338"/>
              <a:gd name="connsiteX3" fmla="*/ 333895 w 560027"/>
              <a:gd name="connsiteY3" fmla="*/ 389215 h 559338"/>
              <a:gd name="connsiteX4" fmla="*/ 282169 w 560027"/>
              <a:gd name="connsiteY4" fmla="*/ 376341 h 559338"/>
              <a:gd name="connsiteX5" fmla="*/ 228287 w 560027"/>
              <a:gd name="connsiteY5" fmla="*/ 391360 h 559338"/>
              <a:gd name="connsiteX6" fmla="*/ 167939 w 560027"/>
              <a:gd name="connsiteY6" fmla="*/ 421400 h 559338"/>
              <a:gd name="connsiteX7" fmla="*/ 206734 w 560027"/>
              <a:gd name="connsiteY7" fmla="*/ 359175 h 559338"/>
              <a:gd name="connsiteX8" fmla="*/ 280014 w 560027"/>
              <a:gd name="connsiteY8" fmla="*/ 326990 h 559338"/>
              <a:gd name="connsiteX9" fmla="*/ 376915 w 560027"/>
              <a:gd name="connsiteY9" fmla="*/ 150697 h 559338"/>
              <a:gd name="connsiteX10" fmla="*/ 422090 w 560027"/>
              <a:gd name="connsiteY10" fmla="*/ 195872 h 559338"/>
              <a:gd name="connsiteX11" fmla="*/ 376915 w 560027"/>
              <a:gd name="connsiteY11" fmla="*/ 241047 h 559338"/>
              <a:gd name="connsiteX12" fmla="*/ 331740 w 560027"/>
              <a:gd name="connsiteY12" fmla="*/ 195872 h 559338"/>
              <a:gd name="connsiteX13" fmla="*/ 376915 w 560027"/>
              <a:gd name="connsiteY13" fmla="*/ 150697 h 559338"/>
              <a:gd name="connsiteX14" fmla="*/ 186389 w 560027"/>
              <a:gd name="connsiteY14" fmla="*/ 150697 h 559338"/>
              <a:gd name="connsiteX15" fmla="*/ 232771 w 560027"/>
              <a:gd name="connsiteY15" fmla="*/ 195872 h 559338"/>
              <a:gd name="connsiteX16" fmla="*/ 186389 w 560027"/>
              <a:gd name="connsiteY16" fmla="*/ 241047 h 559338"/>
              <a:gd name="connsiteX17" fmla="*/ 140007 w 560027"/>
              <a:gd name="connsiteY17" fmla="*/ 195872 h 559338"/>
              <a:gd name="connsiteX18" fmla="*/ 186389 w 560027"/>
              <a:gd name="connsiteY18" fmla="*/ 150697 h 559338"/>
              <a:gd name="connsiteX19" fmla="*/ 280014 w 560027"/>
              <a:gd name="connsiteY19" fmla="*/ 32270 h 559338"/>
              <a:gd name="connsiteX20" fmla="*/ 32309 w 560027"/>
              <a:gd name="connsiteY20" fmla="*/ 279669 h 559338"/>
              <a:gd name="connsiteX21" fmla="*/ 280014 w 560027"/>
              <a:gd name="connsiteY21" fmla="*/ 527068 h 559338"/>
              <a:gd name="connsiteX22" fmla="*/ 527718 w 560027"/>
              <a:gd name="connsiteY22" fmla="*/ 279669 h 559338"/>
              <a:gd name="connsiteX23" fmla="*/ 280014 w 560027"/>
              <a:gd name="connsiteY23" fmla="*/ 32270 h 559338"/>
              <a:gd name="connsiteX24" fmla="*/ 280014 w 560027"/>
              <a:gd name="connsiteY24" fmla="*/ 0 h 559338"/>
              <a:gd name="connsiteX25" fmla="*/ 560027 w 560027"/>
              <a:gd name="connsiteY25" fmla="*/ 279669 h 559338"/>
              <a:gd name="connsiteX26" fmla="*/ 280014 w 560027"/>
              <a:gd name="connsiteY26" fmla="*/ 559338 h 559338"/>
              <a:gd name="connsiteX27" fmla="*/ 0 w 560027"/>
              <a:gd name="connsiteY27" fmla="*/ 279669 h 559338"/>
              <a:gd name="connsiteX28" fmla="*/ 280014 w 560027"/>
              <a:gd name="connsiteY28" fmla="*/ 0 h 5593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60027" h="559338">
                <a:moveTo>
                  <a:pt x="280014" y="326990"/>
                </a:moveTo>
                <a:cubicBezTo>
                  <a:pt x="310187" y="324844"/>
                  <a:pt x="338206" y="337718"/>
                  <a:pt x="357604" y="357029"/>
                </a:cubicBezTo>
                <a:cubicBezTo>
                  <a:pt x="374846" y="374195"/>
                  <a:pt x="387777" y="397797"/>
                  <a:pt x="392088" y="421400"/>
                </a:cubicBezTo>
                <a:cubicBezTo>
                  <a:pt x="370535" y="408526"/>
                  <a:pt x="353293" y="397797"/>
                  <a:pt x="333895" y="389215"/>
                </a:cubicBezTo>
                <a:cubicBezTo>
                  <a:pt x="316653" y="380632"/>
                  <a:pt x="299411" y="376341"/>
                  <a:pt x="282169" y="376341"/>
                </a:cubicBezTo>
                <a:cubicBezTo>
                  <a:pt x="264927" y="376341"/>
                  <a:pt x="247684" y="382778"/>
                  <a:pt x="228287" y="391360"/>
                </a:cubicBezTo>
                <a:cubicBezTo>
                  <a:pt x="208889" y="399943"/>
                  <a:pt x="189492" y="410672"/>
                  <a:pt x="167939" y="421400"/>
                </a:cubicBezTo>
                <a:cubicBezTo>
                  <a:pt x="174405" y="397797"/>
                  <a:pt x="187337" y="376341"/>
                  <a:pt x="206734" y="359175"/>
                </a:cubicBezTo>
                <a:cubicBezTo>
                  <a:pt x="226132" y="342010"/>
                  <a:pt x="251995" y="329135"/>
                  <a:pt x="280014" y="326990"/>
                </a:cubicBezTo>
                <a:close/>
                <a:moveTo>
                  <a:pt x="376915" y="150697"/>
                </a:moveTo>
                <a:cubicBezTo>
                  <a:pt x="401864" y="150697"/>
                  <a:pt x="422090" y="170923"/>
                  <a:pt x="422090" y="195872"/>
                </a:cubicBezTo>
                <a:cubicBezTo>
                  <a:pt x="422090" y="220821"/>
                  <a:pt x="401864" y="241047"/>
                  <a:pt x="376915" y="241047"/>
                </a:cubicBezTo>
                <a:cubicBezTo>
                  <a:pt x="351966" y="241047"/>
                  <a:pt x="331740" y="220821"/>
                  <a:pt x="331740" y="195872"/>
                </a:cubicBezTo>
                <a:cubicBezTo>
                  <a:pt x="331740" y="170923"/>
                  <a:pt x="351966" y="150697"/>
                  <a:pt x="376915" y="150697"/>
                </a:cubicBezTo>
                <a:close/>
                <a:moveTo>
                  <a:pt x="186389" y="150697"/>
                </a:moveTo>
                <a:cubicBezTo>
                  <a:pt x="212005" y="150697"/>
                  <a:pt x="232771" y="170923"/>
                  <a:pt x="232771" y="195872"/>
                </a:cubicBezTo>
                <a:cubicBezTo>
                  <a:pt x="232771" y="220821"/>
                  <a:pt x="212005" y="241047"/>
                  <a:pt x="186389" y="241047"/>
                </a:cubicBezTo>
                <a:cubicBezTo>
                  <a:pt x="160773" y="241047"/>
                  <a:pt x="140007" y="220821"/>
                  <a:pt x="140007" y="195872"/>
                </a:cubicBezTo>
                <a:cubicBezTo>
                  <a:pt x="140007" y="170923"/>
                  <a:pt x="160773" y="150697"/>
                  <a:pt x="186389" y="150697"/>
                </a:cubicBezTo>
                <a:close/>
                <a:moveTo>
                  <a:pt x="280014" y="32270"/>
                </a:moveTo>
                <a:cubicBezTo>
                  <a:pt x="144315" y="32270"/>
                  <a:pt x="32309" y="144137"/>
                  <a:pt x="32309" y="279669"/>
                </a:cubicBezTo>
                <a:cubicBezTo>
                  <a:pt x="32309" y="415201"/>
                  <a:pt x="144315" y="527068"/>
                  <a:pt x="280014" y="527068"/>
                </a:cubicBezTo>
                <a:cubicBezTo>
                  <a:pt x="415712" y="527068"/>
                  <a:pt x="527718" y="415201"/>
                  <a:pt x="527718" y="279669"/>
                </a:cubicBezTo>
                <a:cubicBezTo>
                  <a:pt x="527718" y="144137"/>
                  <a:pt x="415712" y="32270"/>
                  <a:pt x="280014" y="32270"/>
                </a:cubicBezTo>
                <a:close/>
                <a:moveTo>
                  <a:pt x="280014" y="0"/>
                </a:moveTo>
                <a:cubicBezTo>
                  <a:pt x="435098" y="0"/>
                  <a:pt x="560027" y="124775"/>
                  <a:pt x="560027" y="279669"/>
                </a:cubicBezTo>
                <a:cubicBezTo>
                  <a:pt x="560027" y="434563"/>
                  <a:pt x="435098" y="559338"/>
                  <a:pt x="280014" y="559338"/>
                </a:cubicBezTo>
                <a:cubicBezTo>
                  <a:pt x="124929" y="559338"/>
                  <a:pt x="0" y="434563"/>
                  <a:pt x="0" y="279669"/>
                </a:cubicBezTo>
                <a:cubicBezTo>
                  <a:pt x="0" y="124775"/>
                  <a:pt x="124929" y="0"/>
                  <a:pt x="280014" y="0"/>
                </a:cubicBezTo>
                <a:close/>
              </a:path>
            </a:pathLst>
          </a:custGeom>
          <a:solidFill>
            <a:srgbClr val="FFB535"/>
          </a:solidFill>
          <a:ln>
            <a:noFill/>
          </a:ln>
        </p:spPr>
      </p:sp>
      <p:sp>
        <p:nvSpPr>
          <p:cNvPr id="49" name="sad_2219"/>
          <p:cNvSpPr>
            <a:spLocks noChangeAspect="1"/>
          </p:cNvSpPr>
          <p:nvPr/>
        </p:nvSpPr>
        <p:spPr bwMode="auto">
          <a:xfrm>
            <a:off x="1039600" y="4900237"/>
            <a:ext cx="471640" cy="471060"/>
          </a:xfrm>
          <a:custGeom>
            <a:avLst/>
            <a:gdLst>
              <a:gd name="connsiteX0" fmla="*/ 280014 w 560027"/>
              <a:gd name="connsiteY0" fmla="*/ 326990 h 559338"/>
              <a:gd name="connsiteX1" fmla="*/ 357604 w 560027"/>
              <a:gd name="connsiteY1" fmla="*/ 357029 h 559338"/>
              <a:gd name="connsiteX2" fmla="*/ 392088 w 560027"/>
              <a:gd name="connsiteY2" fmla="*/ 421400 h 559338"/>
              <a:gd name="connsiteX3" fmla="*/ 333895 w 560027"/>
              <a:gd name="connsiteY3" fmla="*/ 389215 h 559338"/>
              <a:gd name="connsiteX4" fmla="*/ 282169 w 560027"/>
              <a:gd name="connsiteY4" fmla="*/ 376341 h 559338"/>
              <a:gd name="connsiteX5" fmla="*/ 228287 w 560027"/>
              <a:gd name="connsiteY5" fmla="*/ 391360 h 559338"/>
              <a:gd name="connsiteX6" fmla="*/ 167939 w 560027"/>
              <a:gd name="connsiteY6" fmla="*/ 421400 h 559338"/>
              <a:gd name="connsiteX7" fmla="*/ 206734 w 560027"/>
              <a:gd name="connsiteY7" fmla="*/ 359175 h 559338"/>
              <a:gd name="connsiteX8" fmla="*/ 280014 w 560027"/>
              <a:gd name="connsiteY8" fmla="*/ 326990 h 559338"/>
              <a:gd name="connsiteX9" fmla="*/ 376915 w 560027"/>
              <a:gd name="connsiteY9" fmla="*/ 150697 h 559338"/>
              <a:gd name="connsiteX10" fmla="*/ 422090 w 560027"/>
              <a:gd name="connsiteY10" fmla="*/ 195872 h 559338"/>
              <a:gd name="connsiteX11" fmla="*/ 376915 w 560027"/>
              <a:gd name="connsiteY11" fmla="*/ 241047 h 559338"/>
              <a:gd name="connsiteX12" fmla="*/ 331740 w 560027"/>
              <a:gd name="connsiteY12" fmla="*/ 195872 h 559338"/>
              <a:gd name="connsiteX13" fmla="*/ 376915 w 560027"/>
              <a:gd name="connsiteY13" fmla="*/ 150697 h 559338"/>
              <a:gd name="connsiteX14" fmla="*/ 186389 w 560027"/>
              <a:gd name="connsiteY14" fmla="*/ 150697 h 559338"/>
              <a:gd name="connsiteX15" fmla="*/ 232771 w 560027"/>
              <a:gd name="connsiteY15" fmla="*/ 195872 h 559338"/>
              <a:gd name="connsiteX16" fmla="*/ 186389 w 560027"/>
              <a:gd name="connsiteY16" fmla="*/ 241047 h 559338"/>
              <a:gd name="connsiteX17" fmla="*/ 140007 w 560027"/>
              <a:gd name="connsiteY17" fmla="*/ 195872 h 559338"/>
              <a:gd name="connsiteX18" fmla="*/ 186389 w 560027"/>
              <a:gd name="connsiteY18" fmla="*/ 150697 h 559338"/>
              <a:gd name="connsiteX19" fmla="*/ 280014 w 560027"/>
              <a:gd name="connsiteY19" fmla="*/ 32270 h 559338"/>
              <a:gd name="connsiteX20" fmla="*/ 32309 w 560027"/>
              <a:gd name="connsiteY20" fmla="*/ 279669 h 559338"/>
              <a:gd name="connsiteX21" fmla="*/ 280014 w 560027"/>
              <a:gd name="connsiteY21" fmla="*/ 527068 h 559338"/>
              <a:gd name="connsiteX22" fmla="*/ 527718 w 560027"/>
              <a:gd name="connsiteY22" fmla="*/ 279669 h 559338"/>
              <a:gd name="connsiteX23" fmla="*/ 280014 w 560027"/>
              <a:gd name="connsiteY23" fmla="*/ 32270 h 559338"/>
              <a:gd name="connsiteX24" fmla="*/ 280014 w 560027"/>
              <a:gd name="connsiteY24" fmla="*/ 0 h 559338"/>
              <a:gd name="connsiteX25" fmla="*/ 560027 w 560027"/>
              <a:gd name="connsiteY25" fmla="*/ 279669 h 559338"/>
              <a:gd name="connsiteX26" fmla="*/ 280014 w 560027"/>
              <a:gd name="connsiteY26" fmla="*/ 559338 h 559338"/>
              <a:gd name="connsiteX27" fmla="*/ 0 w 560027"/>
              <a:gd name="connsiteY27" fmla="*/ 279669 h 559338"/>
              <a:gd name="connsiteX28" fmla="*/ 280014 w 560027"/>
              <a:gd name="connsiteY28" fmla="*/ 0 h 5593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60027" h="559338">
                <a:moveTo>
                  <a:pt x="280014" y="326990"/>
                </a:moveTo>
                <a:cubicBezTo>
                  <a:pt x="310187" y="324844"/>
                  <a:pt x="338206" y="337718"/>
                  <a:pt x="357604" y="357029"/>
                </a:cubicBezTo>
                <a:cubicBezTo>
                  <a:pt x="374846" y="374195"/>
                  <a:pt x="387777" y="397797"/>
                  <a:pt x="392088" y="421400"/>
                </a:cubicBezTo>
                <a:cubicBezTo>
                  <a:pt x="370535" y="408526"/>
                  <a:pt x="353293" y="397797"/>
                  <a:pt x="333895" y="389215"/>
                </a:cubicBezTo>
                <a:cubicBezTo>
                  <a:pt x="316653" y="380632"/>
                  <a:pt x="299411" y="376341"/>
                  <a:pt x="282169" y="376341"/>
                </a:cubicBezTo>
                <a:cubicBezTo>
                  <a:pt x="264927" y="376341"/>
                  <a:pt x="247684" y="382778"/>
                  <a:pt x="228287" y="391360"/>
                </a:cubicBezTo>
                <a:cubicBezTo>
                  <a:pt x="208889" y="399943"/>
                  <a:pt x="189492" y="410672"/>
                  <a:pt x="167939" y="421400"/>
                </a:cubicBezTo>
                <a:cubicBezTo>
                  <a:pt x="174405" y="397797"/>
                  <a:pt x="187337" y="376341"/>
                  <a:pt x="206734" y="359175"/>
                </a:cubicBezTo>
                <a:cubicBezTo>
                  <a:pt x="226132" y="342010"/>
                  <a:pt x="251995" y="329135"/>
                  <a:pt x="280014" y="326990"/>
                </a:cubicBezTo>
                <a:close/>
                <a:moveTo>
                  <a:pt x="376915" y="150697"/>
                </a:moveTo>
                <a:cubicBezTo>
                  <a:pt x="401864" y="150697"/>
                  <a:pt x="422090" y="170923"/>
                  <a:pt x="422090" y="195872"/>
                </a:cubicBezTo>
                <a:cubicBezTo>
                  <a:pt x="422090" y="220821"/>
                  <a:pt x="401864" y="241047"/>
                  <a:pt x="376915" y="241047"/>
                </a:cubicBezTo>
                <a:cubicBezTo>
                  <a:pt x="351966" y="241047"/>
                  <a:pt x="331740" y="220821"/>
                  <a:pt x="331740" y="195872"/>
                </a:cubicBezTo>
                <a:cubicBezTo>
                  <a:pt x="331740" y="170923"/>
                  <a:pt x="351966" y="150697"/>
                  <a:pt x="376915" y="150697"/>
                </a:cubicBezTo>
                <a:close/>
                <a:moveTo>
                  <a:pt x="186389" y="150697"/>
                </a:moveTo>
                <a:cubicBezTo>
                  <a:pt x="212005" y="150697"/>
                  <a:pt x="232771" y="170923"/>
                  <a:pt x="232771" y="195872"/>
                </a:cubicBezTo>
                <a:cubicBezTo>
                  <a:pt x="232771" y="220821"/>
                  <a:pt x="212005" y="241047"/>
                  <a:pt x="186389" y="241047"/>
                </a:cubicBezTo>
                <a:cubicBezTo>
                  <a:pt x="160773" y="241047"/>
                  <a:pt x="140007" y="220821"/>
                  <a:pt x="140007" y="195872"/>
                </a:cubicBezTo>
                <a:cubicBezTo>
                  <a:pt x="140007" y="170923"/>
                  <a:pt x="160773" y="150697"/>
                  <a:pt x="186389" y="150697"/>
                </a:cubicBezTo>
                <a:close/>
                <a:moveTo>
                  <a:pt x="280014" y="32270"/>
                </a:moveTo>
                <a:cubicBezTo>
                  <a:pt x="144315" y="32270"/>
                  <a:pt x="32309" y="144137"/>
                  <a:pt x="32309" y="279669"/>
                </a:cubicBezTo>
                <a:cubicBezTo>
                  <a:pt x="32309" y="415201"/>
                  <a:pt x="144315" y="527068"/>
                  <a:pt x="280014" y="527068"/>
                </a:cubicBezTo>
                <a:cubicBezTo>
                  <a:pt x="415712" y="527068"/>
                  <a:pt x="527718" y="415201"/>
                  <a:pt x="527718" y="279669"/>
                </a:cubicBezTo>
                <a:cubicBezTo>
                  <a:pt x="527718" y="144137"/>
                  <a:pt x="415712" y="32270"/>
                  <a:pt x="280014" y="32270"/>
                </a:cubicBezTo>
                <a:close/>
                <a:moveTo>
                  <a:pt x="280014" y="0"/>
                </a:moveTo>
                <a:cubicBezTo>
                  <a:pt x="435098" y="0"/>
                  <a:pt x="560027" y="124775"/>
                  <a:pt x="560027" y="279669"/>
                </a:cubicBezTo>
                <a:cubicBezTo>
                  <a:pt x="560027" y="434563"/>
                  <a:pt x="435098" y="559338"/>
                  <a:pt x="280014" y="559338"/>
                </a:cubicBezTo>
                <a:cubicBezTo>
                  <a:pt x="124929" y="559338"/>
                  <a:pt x="0" y="434563"/>
                  <a:pt x="0" y="279669"/>
                </a:cubicBezTo>
                <a:cubicBezTo>
                  <a:pt x="0" y="124775"/>
                  <a:pt x="124929" y="0"/>
                  <a:pt x="280014" y="0"/>
                </a:cubicBezTo>
                <a:close/>
              </a:path>
            </a:pathLst>
          </a:custGeom>
          <a:solidFill>
            <a:srgbClr val="FFB535"/>
          </a:solidFill>
          <a:ln>
            <a:noFill/>
          </a:ln>
        </p:spPr>
      </p:sp>
      <p:sp>
        <p:nvSpPr>
          <p:cNvPr id="52" name="happy_135927"/>
          <p:cNvSpPr>
            <a:spLocks noChangeAspect="1"/>
          </p:cNvSpPr>
          <p:nvPr/>
        </p:nvSpPr>
        <p:spPr bwMode="auto">
          <a:xfrm>
            <a:off x="1055296" y="5509847"/>
            <a:ext cx="455944" cy="455320"/>
          </a:xfrm>
          <a:custGeom>
            <a:avLst/>
            <a:gdLst>
              <a:gd name="connsiteX0" fmla="*/ 160011 w 583087"/>
              <a:gd name="connsiteY0" fmla="*/ 344195 h 582290"/>
              <a:gd name="connsiteX1" fmla="*/ 291145 w 583087"/>
              <a:gd name="connsiteY1" fmla="*/ 463177 h 582290"/>
              <a:gd name="connsiteX2" fmla="*/ 423274 w 583087"/>
              <a:gd name="connsiteY2" fmla="*/ 344195 h 582290"/>
              <a:gd name="connsiteX3" fmla="*/ 146102 w 583087"/>
              <a:gd name="connsiteY3" fmla="*/ 317424 h 582290"/>
              <a:gd name="connsiteX4" fmla="*/ 437182 w 583087"/>
              <a:gd name="connsiteY4" fmla="*/ 317424 h 582290"/>
              <a:gd name="connsiteX5" fmla="*/ 450097 w 583087"/>
              <a:gd name="connsiteY5" fmla="*/ 330314 h 582290"/>
              <a:gd name="connsiteX6" fmla="*/ 291145 w 583087"/>
              <a:gd name="connsiteY6" fmla="*/ 488957 h 582290"/>
              <a:gd name="connsiteX7" fmla="*/ 132194 w 583087"/>
              <a:gd name="connsiteY7" fmla="*/ 330314 h 582290"/>
              <a:gd name="connsiteX8" fmla="*/ 146102 w 583087"/>
              <a:gd name="connsiteY8" fmla="*/ 317424 h 582290"/>
              <a:gd name="connsiteX9" fmla="*/ 192239 w 583087"/>
              <a:gd name="connsiteY9" fmla="*/ 145891 h 582290"/>
              <a:gd name="connsiteX10" fmla="*/ 238428 w 583087"/>
              <a:gd name="connsiteY10" fmla="*/ 192000 h 582290"/>
              <a:gd name="connsiteX11" fmla="*/ 192239 w 583087"/>
              <a:gd name="connsiteY11" fmla="*/ 238109 h 582290"/>
              <a:gd name="connsiteX12" fmla="*/ 146050 w 583087"/>
              <a:gd name="connsiteY12" fmla="*/ 192000 h 582290"/>
              <a:gd name="connsiteX13" fmla="*/ 192239 w 583087"/>
              <a:gd name="connsiteY13" fmla="*/ 145891 h 582290"/>
              <a:gd name="connsiteX14" fmla="*/ 403829 w 583087"/>
              <a:gd name="connsiteY14" fmla="*/ 145732 h 582290"/>
              <a:gd name="connsiteX15" fmla="*/ 450097 w 583087"/>
              <a:gd name="connsiteY15" fmla="*/ 191920 h 582290"/>
              <a:gd name="connsiteX16" fmla="*/ 403829 w 583087"/>
              <a:gd name="connsiteY16" fmla="*/ 238108 h 582290"/>
              <a:gd name="connsiteX17" fmla="*/ 357561 w 583087"/>
              <a:gd name="connsiteY17" fmla="*/ 191920 h 582290"/>
              <a:gd name="connsiteX18" fmla="*/ 403829 w 583087"/>
              <a:gd name="connsiteY18" fmla="*/ 145732 h 582290"/>
              <a:gd name="connsiteX19" fmla="*/ 291047 w 583087"/>
              <a:gd name="connsiteY19" fmla="*/ 26783 h 582290"/>
              <a:gd name="connsiteX20" fmla="*/ 26820 w 583087"/>
              <a:gd name="connsiteY20" fmla="*/ 290649 h 582290"/>
              <a:gd name="connsiteX21" fmla="*/ 291047 w 583087"/>
              <a:gd name="connsiteY21" fmla="*/ 555507 h 582290"/>
              <a:gd name="connsiteX22" fmla="*/ 556267 w 583087"/>
              <a:gd name="connsiteY22" fmla="*/ 290649 h 582290"/>
              <a:gd name="connsiteX23" fmla="*/ 291047 w 583087"/>
              <a:gd name="connsiteY23" fmla="*/ 26783 h 582290"/>
              <a:gd name="connsiteX24" fmla="*/ 291047 w 583087"/>
              <a:gd name="connsiteY24" fmla="*/ 0 h 582290"/>
              <a:gd name="connsiteX25" fmla="*/ 583087 w 583087"/>
              <a:gd name="connsiteY25" fmla="*/ 290649 h 582290"/>
              <a:gd name="connsiteX26" fmla="*/ 291047 w 583087"/>
              <a:gd name="connsiteY26" fmla="*/ 582290 h 582290"/>
              <a:gd name="connsiteX27" fmla="*/ 0 w 583087"/>
              <a:gd name="connsiteY27" fmla="*/ 290649 h 582290"/>
              <a:gd name="connsiteX28" fmla="*/ 291047 w 583087"/>
              <a:gd name="connsiteY28" fmla="*/ 0 h 5822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3087" h="582290">
                <a:moveTo>
                  <a:pt x="160011" y="344195"/>
                </a:moveTo>
                <a:cubicBezTo>
                  <a:pt x="165971" y="410627"/>
                  <a:pt x="222598" y="463177"/>
                  <a:pt x="291145" y="463177"/>
                </a:cubicBezTo>
                <a:cubicBezTo>
                  <a:pt x="359693" y="463177"/>
                  <a:pt x="416320" y="410627"/>
                  <a:pt x="423274" y="344195"/>
                </a:cubicBezTo>
                <a:close/>
                <a:moveTo>
                  <a:pt x="146102" y="317424"/>
                </a:moveTo>
                <a:lnTo>
                  <a:pt x="437182" y="317424"/>
                </a:lnTo>
                <a:cubicBezTo>
                  <a:pt x="444136" y="317424"/>
                  <a:pt x="450097" y="323373"/>
                  <a:pt x="450097" y="330314"/>
                </a:cubicBezTo>
                <a:cubicBezTo>
                  <a:pt x="450097" y="418559"/>
                  <a:pt x="379562" y="488957"/>
                  <a:pt x="291145" y="488957"/>
                </a:cubicBezTo>
                <a:cubicBezTo>
                  <a:pt x="203722" y="488957"/>
                  <a:pt x="132194" y="418559"/>
                  <a:pt x="132194" y="330314"/>
                </a:cubicBezTo>
                <a:cubicBezTo>
                  <a:pt x="132194" y="323373"/>
                  <a:pt x="138155" y="317424"/>
                  <a:pt x="146102" y="317424"/>
                </a:cubicBezTo>
                <a:close/>
                <a:moveTo>
                  <a:pt x="192239" y="145891"/>
                </a:moveTo>
                <a:cubicBezTo>
                  <a:pt x="217748" y="145891"/>
                  <a:pt x="238428" y="166535"/>
                  <a:pt x="238428" y="192000"/>
                </a:cubicBezTo>
                <a:cubicBezTo>
                  <a:pt x="238428" y="217465"/>
                  <a:pt x="217748" y="238109"/>
                  <a:pt x="192239" y="238109"/>
                </a:cubicBezTo>
                <a:cubicBezTo>
                  <a:pt x="166730" y="238109"/>
                  <a:pt x="146050" y="217465"/>
                  <a:pt x="146050" y="192000"/>
                </a:cubicBezTo>
                <a:cubicBezTo>
                  <a:pt x="146050" y="166535"/>
                  <a:pt x="166730" y="145891"/>
                  <a:pt x="192239" y="145891"/>
                </a:cubicBezTo>
                <a:close/>
                <a:moveTo>
                  <a:pt x="403829" y="145732"/>
                </a:moveTo>
                <a:cubicBezTo>
                  <a:pt x="429382" y="145732"/>
                  <a:pt x="450097" y="166411"/>
                  <a:pt x="450097" y="191920"/>
                </a:cubicBezTo>
                <a:cubicBezTo>
                  <a:pt x="450097" y="217429"/>
                  <a:pt x="429382" y="238108"/>
                  <a:pt x="403829" y="238108"/>
                </a:cubicBezTo>
                <a:cubicBezTo>
                  <a:pt x="378276" y="238108"/>
                  <a:pt x="357561" y="217429"/>
                  <a:pt x="357561" y="191920"/>
                </a:cubicBezTo>
                <a:cubicBezTo>
                  <a:pt x="357561" y="166411"/>
                  <a:pt x="378276" y="145732"/>
                  <a:pt x="403829" y="145732"/>
                </a:cubicBezTo>
                <a:close/>
                <a:moveTo>
                  <a:pt x="291047" y="26783"/>
                </a:moveTo>
                <a:cubicBezTo>
                  <a:pt x="145027" y="26783"/>
                  <a:pt x="26820" y="144829"/>
                  <a:pt x="26820" y="290649"/>
                </a:cubicBezTo>
                <a:cubicBezTo>
                  <a:pt x="26820" y="436469"/>
                  <a:pt x="145027" y="555507"/>
                  <a:pt x="291047" y="555507"/>
                </a:cubicBezTo>
                <a:cubicBezTo>
                  <a:pt x="437067" y="555507"/>
                  <a:pt x="556267" y="436469"/>
                  <a:pt x="556267" y="290649"/>
                </a:cubicBezTo>
                <a:cubicBezTo>
                  <a:pt x="556267" y="144829"/>
                  <a:pt x="437067" y="26783"/>
                  <a:pt x="291047" y="26783"/>
                </a:cubicBezTo>
                <a:close/>
                <a:moveTo>
                  <a:pt x="291047" y="0"/>
                </a:moveTo>
                <a:cubicBezTo>
                  <a:pt x="451967" y="0"/>
                  <a:pt x="583087" y="130941"/>
                  <a:pt x="583087" y="290649"/>
                </a:cubicBezTo>
                <a:cubicBezTo>
                  <a:pt x="583087" y="451349"/>
                  <a:pt x="451967" y="582290"/>
                  <a:pt x="291047" y="582290"/>
                </a:cubicBezTo>
                <a:cubicBezTo>
                  <a:pt x="131120" y="582290"/>
                  <a:pt x="0" y="451349"/>
                  <a:pt x="0" y="290649"/>
                </a:cubicBezTo>
                <a:cubicBezTo>
                  <a:pt x="0" y="130941"/>
                  <a:pt x="131120" y="0"/>
                  <a:pt x="291047" y="0"/>
                </a:cubicBezTo>
                <a:close/>
              </a:path>
            </a:pathLst>
          </a:custGeom>
          <a:solidFill>
            <a:srgbClr val="92D050"/>
          </a:solidFill>
          <a:ln>
            <a:noFill/>
          </a:ln>
        </p:spPr>
      </p:sp>
      <p:sp>
        <p:nvSpPr>
          <p:cNvPr id="53" name="sad_2219"/>
          <p:cNvSpPr>
            <a:spLocks noChangeAspect="1"/>
          </p:cNvSpPr>
          <p:nvPr/>
        </p:nvSpPr>
        <p:spPr bwMode="auto">
          <a:xfrm>
            <a:off x="3693368" y="4261373"/>
            <a:ext cx="471640" cy="471060"/>
          </a:xfrm>
          <a:custGeom>
            <a:avLst/>
            <a:gdLst>
              <a:gd name="connsiteX0" fmla="*/ 280014 w 560027"/>
              <a:gd name="connsiteY0" fmla="*/ 326990 h 559338"/>
              <a:gd name="connsiteX1" fmla="*/ 357604 w 560027"/>
              <a:gd name="connsiteY1" fmla="*/ 357029 h 559338"/>
              <a:gd name="connsiteX2" fmla="*/ 392088 w 560027"/>
              <a:gd name="connsiteY2" fmla="*/ 421400 h 559338"/>
              <a:gd name="connsiteX3" fmla="*/ 333895 w 560027"/>
              <a:gd name="connsiteY3" fmla="*/ 389215 h 559338"/>
              <a:gd name="connsiteX4" fmla="*/ 282169 w 560027"/>
              <a:gd name="connsiteY4" fmla="*/ 376341 h 559338"/>
              <a:gd name="connsiteX5" fmla="*/ 228287 w 560027"/>
              <a:gd name="connsiteY5" fmla="*/ 391360 h 559338"/>
              <a:gd name="connsiteX6" fmla="*/ 167939 w 560027"/>
              <a:gd name="connsiteY6" fmla="*/ 421400 h 559338"/>
              <a:gd name="connsiteX7" fmla="*/ 206734 w 560027"/>
              <a:gd name="connsiteY7" fmla="*/ 359175 h 559338"/>
              <a:gd name="connsiteX8" fmla="*/ 280014 w 560027"/>
              <a:gd name="connsiteY8" fmla="*/ 326990 h 559338"/>
              <a:gd name="connsiteX9" fmla="*/ 376915 w 560027"/>
              <a:gd name="connsiteY9" fmla="*/ 150697 h 559338"/>
              <a:gd name="connsiteX10" fmla="*/ 422090 w 560027"/>
              <a:gd name="connsiteY10" fmla="*/ 195872 h 559338"/>
              <a:gd name="connsiteX11" fmla="*/ 376915 w 560027"/>
              <a:gd name="connsiteY11" fmla="*/ 241047 h 559338"/>
              <a:gd name="connsiteX12" fmla="*/ 331740 w 560027"/>
              <a:gd name="connsiteY12" fmla="*/ 195872 h 559338"/>
              <a:gd name="connsiteX13" fmla="*/ 376915 w 560027"/>
              <a:gd name="connsiteY13" fmla="*/ 150697 h 559338"/>
              <a:gd name="connsiteX14" fmla="*/ 186389 w 560027"/>
              <a:gd name="connsiteY14" fmla="*/ 150697 h 559338"/>
              <a:gd name="connsiteX15" fmla="*/ 232771 w 560027"/>
              <a:gd name="connsiteY15" fmla="*/ 195872 h 559338"/>
              <a:gd name="connsiteX16" fmla="*/ 186389 w 560027"/>
              <a:gd name="connsiteY16" fmla="*/ 241047 h 559338"/>
              <a:gd name="connsiteX17" fmla="*/ 140007 w 560027"/>
              <a:gd name="connsiteY17" fmla="*/ 195872 h 559338"/>
              <a:gd name="connsiteX18" fmla="*/ 186389 w 560027"/>
              <a:gd name="connsiteY18" fmla="*/ 150697 h 559338"/>
              <a:gd name="connsiteX19" fmla="*/ 280014 w 560027"/>
              <a:gd name="connsiteY19" fmla="*/ 32270 h 559338"/>
              <a:gd name="connsiteX20" fmla="*/ 32309 w 560027"/>
              <a:gd name="connsiteY20" fmla="*/ 279669 h 559338"/>
              <a:gd name="connsiteX21" fmla="*/ 280014 w 560027"/>
              <a:gd name="connsiteY21" fmla="*/ 527068 h 559338"/>
              <a:gd name="connsiteX22" fmla="*/ 527718 w 560027"/>
              <a:gd name="connsiteY22" fmla="*/ 279669 h 559338"/>
              <a:gd name="connsiteX23" fmla="*/ 280014 w 560027"/>
              <a:gd name="connsiteY23" fmla="*/ 32270 h 559338"/>
              <a:gd name="connsiteX24" fmla="*/ 280014 w 560027"/>
              <a:gd name="connsiteY24" fmla="*/ 0 h 559338"/>
              <a:gd name="connsiteX25" fmla="*/ 560027 w 560027"/>
              <a:gd name="connsiteY25" fmla="*/ 279669 h 559338"/>
              <a:gd name="connsiteX26" fmla="*/ 280014 w 560027"/>
              <a:gd name="connsiteY26" fmla="*/ 559338 h 559338"/>
              <a:gd name="connsiteX27" fmla="*/ 0 w 560027"/>
              <a:gd name="connsiteY27" fmla="*/ 279669 h 559338"/>
              <a:gd name="connsiteX28" fmla="*/ 280014 w 560027"/>
              <a:gd name="connsiteY28" fmla="*/ 0 h 5593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60027" h="559338">
                <a:moveTo>
                  <a:pt x="280014" y="326990"/>
                </a:moveTo>
                <a:cubicBezTo>
                  <a:pt x="310187" y="324844"/>
                  <a:pt x="338206" y="337718"/>
                  <a:pt x="357604" y="357029"/>
                </a:cubicBezTo>
                <a:cubicBezTo>
                  <a:pt x="374846" y="374195"/>
                  <a:pt x="387777" y="397797"/>
                  <a:pt x="392088" y="421400"/>
                </a:cubicBezTo>
                <a:cubicBezTo>
                  <a:pt x="370535" y="408526"/>
                  <a:pt x="353293" y="397797"/>
                  <a:pt x="333895" y="389215"/>
                </a:cubicBezTo>
                <a:cubicBezTo>
                  <a:pt x="316653" y="380632"/>
                  <a:pt x="299411" y="376341"/>
                  <a:pt x="282169" y="376341"/>
                </a:cubicBezTo>
                <a:cubicBezTo>
                  <a:pt x="264927" y="376341"/>
                  <a:pt x="247684" y="382778"/>
                  <a:pt x="228287" y="391360"/>
                </a:cubicBezTo>
                <a:cubicBezTo>
                  <a:pt x="208889" y="399943"/>
                  <a:pt x="189492" y="410672"/>
                  <a:pt x="167939" y="421400"/>
                </a:cubicBezTo>
                <a:cubicBezTo>
                  <a:pt x="174405" y="397797"/>
                  <a:pt x="187337" y="376341"/>
                  <a:pt x="206734" y="359175"/>
                </a:cubicBezTo>
                <a:cubicBezTo>
                  <a:pt x="226132" y="342010"/>
                  <a:pt x="251995" y="329135"/>
                  <a:pt x="280014" y="326990"/>
                </a:cubicBezTo>
                <a:close/>
                <a:moveTo>
                  <a:pt x="376915" y="150697"/>
                </a:moveTo>
                <a:cubicBezTo>
                  <a:pt x="401864" y="150697"/>
                  <a:pt x="422090" y="170923"/>
                  <a:pt x="422090" y="195872"/>
                </a:cubicBezTo>
                <a:cubicBezTo>
                  <a:pt x="422090" y="220821"/>
                  <a:pt x="401864" y="241047"/>
                  <a:pt x="376915" y="241047"/>
                </a:cubicBezTo>
                <a:cubicBezTo>
                  <a:pt x="351966" y="241047"/>
                  <a:pt x="331740" y="220821"/>
                  <a:pt x="331740" y="195872"/>
                </a:cubicBezTo>
                <a:cubicBezTo>
                  <a:pt x="331740" y="170923"/>
                  <a:pt x="351966" y="150697"/>
                  <a:pt x="376915" y="150697"/>
                </a:cubicBezTo>
                <a:close/>
                <a:moveTo>
                  <a:pt x="186389" y="150697"/>
                </a:moveTo>
                <a:cubicBezTo>
                  <a:pt x="212005" y="150697"/>
                  <a:pt x="232771" y="170923"/>
                  <a:pt x="232771" y="195872"/>
                </a:cubicBezTo>
                <a:cubicBezTo>
                  <a:pt x="232771" y="220821"/>
                  <a:pt x="212005" y="241047"/>
                  <a:pt x="186389" y="241047"/>
                </a:cubicBezTo>
                <a:cubicBezTo>
                  <a:pt x="160773" y="241047"/>
                  <a:pt x="140007" y="220821"/>
                  <a:pt x="140007" y="195872"/>
                </a:cubicBezTo>
                <a:cubicBezTo>
                  <a:pt x="140007" y="170923"/>
                  <a:pt x="160773" y="150697"/>
                  <a:pt x="186389" y="150697"/>
                </a:cubicBezTo>
                <a:close/>
                <a:moveTo>
                  <a:pt x="280014" y="32270"/>
                </a:moveTo>
                <a:cubicBezTo>
                  <a:pt x="144315" y="32270"/>
                  <a:pt x="32309" y="144137"/>
                  <a:pt x="32309" y="279669"/>
                </a:cubicBezTo>
                <a:cubicBezTo>
                  <a:pt x="32309" y="415201"/>
                  <a:pt x="144315" y="527068"/>
                  <a:pt x="280014" y="527068"/>
                </a:cubicBezTo>
                <a:cubicBezTo>
                  <a:pt x="415712" y="527068"/>
                  <a:pt x="527718" y="415201"/>
                  <a:pt x="527718" y="279669"/>
                </a:cubicBezTo>
                <a:cubicBezTo>
                  <a:pt x="527718" y="144137"/>
                  <a:pt x="415712" y="32270"/>
                  <a:pt x="280014" y="32270"/>
                </a:cubicBezTo>
                <a:close/>
                <a:moveTo>
                  <a:pt x="280014" y="0"/>
                </a:moveTo>
                <a:cubicBezTo>
                  <a:pt x="435098" y="0"/>
                  <a:pt x="560027" y="124775"/>
                  <a:pt x="560027" y="279669"/>
                </a:cubicBezTo>
                <a:cubicBezTo>
                  <a:pt x="560027" y="434563"/>
                  <a:pt x="435098" y="559338"/>
                  <a:pt x="280014" y="559338"/>
                </a:cubicBezTo>
                <a:cubicBezTo>
                  <a:pt x="124929" y="559338"/>
                  <a:pt x="0" y="434563"/>
                  <a:pt x="0" y="279669"/>
                </a:cubicBezTo>
                <a:cubicBezTo>
                  <a:pt x="0" y="124775"/>
                  <a:pt x="124929" y="0"/>
                  <a:pt x="280014" y="0"/>
                </a:cubicBezTo>
                <a:close/>
              </a:path>
            </a:pathLst>
          </a:custGeom>
          <a:solidFill>
            <a:srgbClr val="FFB535"/>
          </a:solidFill>
          <a:ln>
            <a:noFill/>
          </a:ln>
        </p:spPr>
      </p:sp>
      <p:sp>
        <p:nvSpPr>
          <p:cNvPr id="54" name="sad_2219"/>
          <p:cNvSpPr>
            <a:spLocks noChangeAspect="1"/>
          </p:cNvSpPr>
          <p:nvPr/>
        </p:nvSpPr>
        <p:spPr bwMode="auto">
          <a:xfrm>
            <a:off x="3693368" y="4885610"/>
            <a:ext cx="471640" cy="471060"/>
          </a:xfrm>
          <a:custGeom>
            <a:avLst/>
            <a:gdLst>
              <a:gd name="connsiteX0" fmla="*/ 280014 w 560027"/>
              <a:gd name="connsiteY0" fmla="*/ 326990 h 559338"/>
              <a:gd name="connsiteX1" fmla="*/ 357604 w 560027"/>
              <a:gd name="connsiteY1" fmla="*/ 357029 h 559338"/>
              <a:gd name="connsiteX2" fmla="*/ 392088 w 560027"/>
              <a:gd name="connsiteY2" fmla="*/ 421400 h 559338"/>
              <a:gd name="connsiteX3" fmla="*/ 333895 w 560027"/>
              <a:gd name="connsiteY3" fmla="*/ 389215 h 559338"/>
              <a:gd name="connsiteX4" fmla="*/ 282169 w 560027"/>
              <a:gd name="connsiteY4" fmla="*/ 376341 h 559338"/>
              <a:gd name="connsiteX5" fmla="*/ 228287 w 560027"/>
              <a:gd name="connsiteY5" fmla="*/ 391360 h 559338"/>
              <a:gd name="connsiteX6" fmla="*/ 167939 w 560027"/>
              <a:gd name="connsiteY6" fmla="*/ 421400 h 559338"/>
              <a:gd name="connsiteX7" fmla="*/ 206734 w 560027"/>
              <a:gd name="connsiteY7" fmla="*/ 359175 h 559338"/>
              <a:gd name="connsiteX8" fmla="*/ 280014 w 560027"/>
              <a:gd name="connsiteY8" fmla="*/ 326990 h 559338"/>
              <a:gd name="connsiteX9" fmla="*/ 376915 w 560027"/>
              <a:gd name="connsiteY9" fmla="*/ 150697 h 559338"/>
              <a:gd name="connsiteX10" fmla="*/ 422090 w 560027"/>
              <a:gd name="connsiteY10" fmla="*/ 195872 h 559338"/>
              <a:gd name="connsiteX11" fmla="*/ 376915 w 560027"/>
              <a:gd name="connsiteY11" fmla="*/ 241047 h 559338"/>
              <a:gd name="connsiteX12" fmla="*/ 331740 w 560027"/>
              <a:gd name="connsiteY12" fmla="*/ 195872 h 559338"/>
              <a:gd name="connsiteX13" fmla="*/ 376915 w 560027"/>
              <a:gd name="connsiteY13" fmla="*/ 150697 h 559338"/>
              <a:gd name="connsiteX14" fmla="*/ 186389 w 560027"/>
              <a:gd name="connsiteY14" fmla="*/ 150697 h 559338"/>
              <a:gd name="connsiteX15" fmla="*/ 232771 w 560027"/>
              <a:gd name="connsiteY15" fmla="*/ 195872 h 559338"/>
              <a:gd name="connsiteX16" fmla="*/ 186389 w 560027"/>
              <a:gd name="connsiteY16" fmla="*/ 241047 h 559338"/>
              <a:gd name="connsiteX17" fmla="*/ 140007 w 560027"/>
              <a:gd name="connsiteY17" fmla="*/ 195872 h 559338"/>
              <a:gd name="connsiteX18" fmla="*/ 186389 w 560027"/>
              <a:gd name="connsiteY18" fmla="*/ 150697 h 559338"/>
              <a:gd name="connsiteX19" fmla="*/ 280014 w 560027"/>
              <a:gd name="connsiteY19" fmla="*/ 32270 h 559338"/>
              <a:gd name="connsiteX20" fmla="*/ 32309 w 560027"/>
              <a:gd name="connsiteY20" fmla="*/ 279669 h 559338"/>
              <a:gd name="connsiteX21" fmla="*/ 280014 w 560027"/>
              <a:gd name="connsiteY21" fmla="*/ 527068 h 559338"/>
              <a:gd name="connsiteX22" fmla="*/ 527718 w 560027"/>
              <a:gd name="connsiteY22" fmla="*/ 279669 h 559338"/>
              <a:gd name="connsiteX23" fmla="*/ 280014 w 560027"/>
              <a:gd name="connsiteY23" fmla="*/ 32270 h 559338"/>
              <a:gd name="connsiteX24" fmla="*/ 280014 w 560027"/>
              <a:gd name="connsiteY24" fmla="*/ 0 h 559338"/>
              <a:gd name="connsiteX25" fmla="*/ 560027 w 560027"/>
              <a:gd name="connsiteY25" fmla="*/ 279669 h 559338"/>
              <a:gd name="connsiteX26" fmla="*/ 280014 w 560027"/>
              <a:gd name="connsiteY26" fmla="*/ 559338 h 559338"/>
              <a:gd name="connsiteX27" fmla="*/ 0 w 560027"/>
              <a:gd name="connsiteY27" fmla="*/ 279669 h 559338"/>
              <a:gd name="connsiteX28" fmla="*/ 280014 w 560027"/>
              <a:gd name="connsiteY28" fmla="*/ 0 h 5593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60027" h="559338">
                <a:moveTo>
                  <a:pt x="280014" y="326990"/>
                </a:moveTo>
                <a:cubicBezTo>
                  <a:pt x="310187" y="324844"/>
                  <a:pt x="338206" y="337718"/>
                  <a:pt x="357604" y="357029"/>
                </a:cubicBezTo>
                <a:cubicBezTo>
                  <a:pt x="374846" y="374195"/>
                  <a:pt x="387777" y="397797"/>
                  <a:pt x="392088" y="421400"/>
                </a:cubicBezTo>
                <a:cubicBezTo>
                  <a:pt x="370535" y="408526"/>
                  <a:pt x="353293" y="397797"/>
                  <a:pt x="333895" y="389215"/>
                </a:cubicBezTo>
                <a:cubicBezTo>
                  <a:pt x="316653" y="380632"/>
                  <a:pt x="299411" y="376341"/>
                  <a:pt x="282169" y="376341"/>
                </a:cubicBezTo>
                <a:cubicBezTo>
                  <a:pt x="264927" y="376341"/>
                  <a:pt x="247684" y="382778"/>
                  <a:pt x="228287" y="391360"/>
                </a:cubicBezTo>
                <a:cubicBezTo>
                  <a:pt x="208889" y="399943"/>
                  <a:pt x="189492" y="410672"/>
                  <a:pt x="167939" y="421400"/>
                </a:cubicBezTo>
                <a:cubicBezTo>
                  <a:pt x="174405" y="397797"/>
                  <a:pt x="187337" y="376341"/>
                  <a:pt x="206734" y="359175"/>
                </a:cubicBezTo>
                <a:cubicBezTo>
                  <a:pt x="226132" y="342010"/>
                  <a:pt x="251995" y="329135"/>
                  <a:pt x="280014" y="326990"/>
                </a:cubicBezTo>
                <a:close/>
                <a:moveTo>
                  <a:pt x="376915" y="150697"/>
                </a:moveTo>
                <a:cubicBezTo>
                  <a:pt x="401864" y="150697"/>
                  <a:pt x="422090" y="170923"/>
                  <a:pt x="422090" y="195872"/>
                </a:cubicBezTo>
                <a:cubicBezTo>
                  <a:pt x="422090" y="220821"/>
                  <a:pt x="401864" y="241047"/>
                  <a:pt x="376915" y="241047"/>
                </a:cubicBezTo>
                <a:cubicBezTo>
                  <a:pt x="351966" y="241047"/>
                  <a:pt x="331740" y="220821"/>
                  <a:pt x="331740" y="195872"/>
                </a:cubicBezTo>
                <a:cubicBezTo>
                  <a:pt x="331740" y="170923"/>
                  <a:pt x="351966" y="150697"/>
                  <a:pt x="376915" y="150697"/>
                </a:cubicBezTo>
                <a:close/>
                <a:moveTo>
                  <a:pt x="186389" y="150697"/>
                </a:moveTo>
                <a:cubicBezTo>
                  <a:pt x="212005" y="150697"/>
                  <a:pt x="232771" y="170923"/>
                  <a:pt x="232771" y="195872"/>
                </a:cubicBezTo>
                <a:cubicBezTo>
                  <a:pt x="232771" y="220821"/>
                  <a:pt x="212005" y="241047"/>
                  <a:pt x="186389" y="241047"/>
                </a:cubicBezTo>
                <a:cubicBezTo>
                  <a:pt x="160773" y="241047"/>
                  <a:pt x="140007" y="220821"/>
                  <a:pt x="140007" y="195872"/>
                </a:cubicBezTo>
                <a:cubicBezTo>
                  <a:pt x="140007" y="170923"/>
                  <a:pt x="160773" y="150697"/>
                  <a:pt x="186389" y="150697"/>
                </a:cubicBezTo>
                <a:close/>
                <a:moveTo>
                  <a:pt x="280014" y="32270"/>
                </a:moveTo>
                <a:cubicBezTo>
                  <a:pt x="144315" y="32270"/>
                  <a:pt x="32309" y="144137"/>
                  <a:pt x="32309" y="279669"/>
                </a:cubicBezTo>
                <a:cubicBezTo>
                  <a:pt x="32309" y="415201"/>
                  <a:pt x="144315" y="527068"/>
                  <a:pt x="280014" y="527068"/>
                </a:cubicBezTo>
                <a:cubicBezTo>
                  <a:pt x="415712" y="527068"/>
                  <a:pt x="527718" y="415201"/>
                  <a:pt x="527718" y="279669"/>
                </a:cubicBezTo>
                <a:cubicBezTo>
                  <a:pt x="527718" y="144137"/>
                  <a:pt x="415712" y="32270"/>
                  <a:pt x="280014" y="32270"/>
                </a:cubicBezTo>
                <a:close/>
                <a:moveTo>
                  <a:pt x="280014" y="0"/>
                </a:moveTo>
                <a:cubicBezTo>
                  <a:pt x="435098" y="0"/>
                  <a:pt x="560027" y="124775"/>
                  <a:pt x="560027" y="279669"/>
                </a:cubicBezTo>
                <a:cubicBezTo>
                  <a:pt x="560027" y="434563"/>
                  <a:pt x="435098" y="559338"/>
                  <a:pt x="280014" y="559338"/>
                </a:cubicBezTo>
                <a:cubicBezTo>
                  <a:pt x="124929" y="559338"/>
                  <a:pt x="0" y="434563"/>
                  <a:pt x="0" y="279669"/>
                </a:cubicBezTo>
                <a:cubicBezTo>
                  <a:pt x="0" y="124775"/>
                  <a:pt x="124929" y="0"/>
                  <a:pt x="280014" y="0"/>
                </a:cubicBezTo>
                <a:close/>
              </a:path>
            </a:pathLst>
          </a:custGeom>
          <a:solidFill>
            <a:srgbClr val="FFB535"/>
          </a:solidFill>
          <a:ln>
            <a:noFill/>
          </a:ln>
        </p:spPr>
      </p:sp>
      <p:sp>
        <p:nvSpPr>
          <p:cNvPr id="55" name="sad_2219"/>
          <p:cNvSpPr>
            <a:spLocks noChangeAspect="1"/>
          </p:cNvSpPr>
          <p:nvPr/>
        </p:nvSpPr>
        <p:spPr bwMode="auto">
          <a:xfrm>
            <a:off x="3702246" y="5509847"/>
            <a:ext cx="471640" cy="471060"/>
          </a:xfrm>
          <a:custGeom>
            <a:avLst/>
            <a:gdLst>
              <a:gd name="connsiteX0" fmla="*/ 280014 w 560027"/>
              <a:gd name="connsiteY0" fmla="*/ 326990 h 559338"/>
              <a:gd name="connsiteX1" fmla="*/ 357604 w 560027"/>
              <a:gd name="connsiteY1" fmla="*/ 357029 h 559338"/>
              <a:gd name="connsiteX2" fmla="*/ 392088 w 560027"/>
              <a:gd name="connsiteY2" fmla="*/ 421400 h 559338"/>
              <a:gd name="connsiteX3" fmla="*/ 333895 w 560027"/>
              <a:gd name="connsiteY3" fmla="*/ 389215 h 559338"/>
              <a:gd name="connsiteX4" fmla="*/ 282169 w 560027"/>
              <a:gd name="connsiteY4" fmla="*/ 376341 h 559338"/>
              <a:gd name="connsiteX5" fmla="*/ 228287 w 560027"/>
              <a:gd name="connsiteY5" fmla="*/ 391360 h 559338"/>
              <a:gd name="connsiteX6" fmla="*/ 167939 w 560027"/>
              <a:gd name="connsiteY6" fmla="*/ 421400 h 559338"/>
              <a:gd name="connsiteX7" fmla="*/ 206734 w 560027"/>
              <a:gd name="connsiteY7" fmla="*/ 359175 h 559338"/>
              <a:gd name="connsiteX8" fmla="*/ 280014 w 560027"/>
              <a:gd name="connsiteY8" fmla="*/ 326990 h 559338"/>
              <a:gd name="connsiteX9" fmla="*/ 376915 w 560027"/>
              <a:gd name="connsiteY9" fmla="*/ 150697 h 559338"/>
              <a:gd name="connsiteX10" fmla="*/ 422090 w 560027"/>
              <a:gd name="connsiteY10" fmla="*/ 195872 h 559338"/>
              <a:gd name="connsiteX11" fmla="*/ 376915 w 560027"/>
              <a:gd name="connsiteY11" fmla="*/ 241047 h 559338"/>
              <a:gd name="connsiteX12" fmla="*/ 331740 w 560027"/>
              <a:gd name="connsiteY12" fmla="*/ 195872 h 559338"/>
              <a:gd name="connsiteX13" fmla="*/ 376915 w 560027"/>
              <a:gd name="connsiteY13" fmla="*/ 150697 h 559338"/>
              <a:gd name="connsiteX14" fmla="*/ 186389 w 560027"/>
              <a:gd name="connsiteY14" fmla="*/ 150697 h 559338"/>
              <a:gd name="connsiteX15" fmla="*/ 232771 w 560027"/>
              <a:gd name="connsiteY15" fmla="*/ 195872 h 559338"/>
              <a:gd name="connsiteX16" fmla="*/ 186389 w 560027"/>
              <a:gd name="connsiteY16" fmla="*/ 241047 h 559338"/>
              <a:gd name="connsiteX17" fmla="*/ 140007 w 560027"/>
              <a:gd name="connsiteY17" fmla="*/ 195872 h 559338"/>
              <a:gd name="connsiteX18" fmla="*/ 186389 w 560027"/>
              <a:gd name="connsiteY18" fmla="*/ 150697 h 559338"/>
              <a:gd name="connsiteX19" fmla="*/ 280014 w 560027"/>
              <a:gd name="connsiteY19" fmla="*/ 32270 h 559338"/>
              <a:gd name="connsiteX20" fmla="*/ 32309 w 560027"/>
              <a:gd name="connsiteY20" fmla="*/ 279669 h 559338"/>
              <a:gd name="connsiteX21" fmla="*/ 280014 w 560027"/>
              <a:gd name="connsiteY21" fmla="*/ 527068 h 559338"/>
              <a:gd name="connsiteX22" fmla="*/ 527718 w 560027"/>
              <a:gd name="connsiteY22" fmla="*/ 279669 h 559338"/>
              <a:gd name="connsiteX23" fmla="*/ 280014 w 560027"/>
              <a:gd name="connsiteY23" fmla="*/ 32270 h 559338"/>
              <a:gd name="connsiteX24" fmla="*/ 280014 w 560027"/>
              <a:gd name="connsiteY24" fmla="*/ 0 h 559338"/>
              <a:gd name="connsiteX25" fmla="*/ 560027 w 560027"/>
              <a:gd name="connsiteY25" fmla="*/ 279669 h 559338"/>
              <a:gd name="connsiteX26" fmla="*/ 280014 w 560027"/>
              <a:gd name="connsiteY26" fmla="*/ 559338 h 559338"/>
              <a:gd name="connsiteX27" fmla="*/ 0 w 560027"/>
              <a:gd name="connsiteY27" fmla="*/ 279669 h 559338"/>
              <a:gd name="connsiteX28" fmla="*/ 280014 w 560027"/>
              <a:gd name="connsiteY28" fmla="*/ 0 h 5593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60027" h="559338">
                <a:moveTo>
                  <a:pt x="280014" y="326990"/>
                </a:moveTo>
                <a:cubicBezTo>
                  <a:pt x="310187" y="324844"/>
                  <a:pt x="338206" y="337718"/>
                  <a:pt x="357604" y="357029"/>
                </a:cubicBezTo>
                <a:cubicBezTo>
                  <a:pt x="374846" y="374195"/>
                  <a:pt x="387777" y="397797"/>
                  <a:pt x="392088" y="421400"/>
                </a:cubicBezTo>
                <a:cubicBezTo>
                  <a:pt x="370535" y="408526"/>
                  <a:pt x="353293" y="397797"/>
                  <a:pt x="333895" y="389215"/>
                </a:cubicBezTo>
                <a:cubicBezTo>
                  <a:pt x="316653" y="380632"/>
                  <a:pt x="299411" y="376341"/>
                  <a:pt x="282169" y="376341"/>
                </a:cubicBezTo>
                <a:cubicBezTo>
                  <a:pt x="264927" y="376341"/>
                  <a:pt x="247684" y="382778"/>
                  <a:pt x="228287" y="391360"/>
                </a:cubicBezTo>
                <a:cubicBezTo>
                  <a:pt x="208889" y="399943"/>
                  <a:pt x="189492" y="410672"/>
                  <a:pt x="167939" y="421400"/>
                </a:cubicBezTo>
                <a:cubicBezTo>
                  <a:pt x="174405" y="397797"/>
                  <a:pt x="187337" y="376341"/>
                  <a:pt x="206734" y="359175"/>
                </a:cubicBezTo>
                <a:cubicBezTo>
                  <a:pt x="226132" y="342010"/>
                  <a:pt x="251995" y="329135"/>
                  <a:pt x="280014" y="326990"/>
                </a:cubicBezTo>
                <a:close/>
                <a:moveTo>
                  <a:pt x="376915" y="150697"/>
                </a:moveTo>
                <a:cubicBezTo>
                  <a:pt x="401864" y="150697"/>
                  <a:pt x="422090" y="170923"/>
                  <a:pt x="422090" y="195872"/>
                </a:cubicBezTo>
                <a:cubicBezTo>
                  <a:pt x="422090" y="220821"/>
                  <a:pt x="401864" y="241047"/>
                  <a:pt x="376915" y="241047"/>
                </a:cubicBezTo>
                <a:cubicBezTo>
                  <a:pt x="351966" y="241047"/>
                  <a:pt x="331740" y="220821"/>
                  <a:pt x="331740" y="195872"/>
                </a:cubicBezTo>
                <a:cubicBezTo>
                  <a:pt x="331740" y="170923"/>
                  <a:pt x="351966" y="150697"/>
                  <a:pt x="376915" y="150697"/>
                </a:cubicBezTo>
                <a:close/>
                <a:moveTo>
                  <a:pt x="186389" y="150697"/>
                </a:moveTo>
                <a:cubicBezTo>
                  <a:pt x="212005" y="150697"/>
                  <a:pt x="232771" y="170923"/>
                  <a:pt x="232771" y="195872"/>
                </a:cubicBezTo>
                <a:cubicBezTo>
                  <a:pt x="232771" y="220821"/>
                  <a:pt x="212005" y="241047"/>
                  <a:pt x="186389" y="241047"/>
                </a:cubicBezTo>
                <a:cubicBezTo>
                  <a:pt x="160773" y="241047"/>
                  <a:pt x="140007" y="220821"/>
                  <a:pt x="140007" y="195872"/>
                </a:cubicBezTo>
                <a:cubicBezTo>
                  <a:pt x="140007" y="170923"/>
                  <a:pt x="160773" y="150697"/>
                  <a:pt x="186389" y="150697"/>
                </a:cubicBezTo>
                <a:close/>
                <a:moveTo>
                  <a:pt x="280014" y="32270"/>
                </a:moveTo>
                <a:cubicBezTo>
                  <a:pt x="144315" y="32270"/>
                  <a:pt x="32309" y="144137"/>
                  <a:pt x="32309" y="279669"/>
                </a:cubicBezTo>
                <a:cubicBezTo>
                  <a:pt x="32309" y="415201"/>
                  <a:pt x="144315" y="527068"/>
                  <a:pt x="280014" y="527068"/>
                </a:cubicBezTo>
                <a:cubicBezTo>
                  <a:pt x="415712" y="527068"/>
                  <a:pt x="527718" y="415201"/>
                  <a:pt x="527718" y="279669"/>
                </a:cubicBezTo>
                <a:cubicBezTo>
                  <a:pt x="527718" y="144137"/>
                  <a:pt x="415712" y="32270"/>
                  <a:pt x="280014" y="32270"/>
                </a:cubicBezTo>
                <a:close/>
                <a:moveTo>
                  <a:pt x="280014" y="0"/>
                </a:moveTo>
                <a:cubicBezTo>
                  <a:pt x="435098" y="0"/>
                  <a:pt x="560027" y="124775"/>
                  <a:pt x="560027" y="279669"/>
                </a:cubicBezTo>
                <a:cubicBezTo>
                  <a:pt x="560027" y="434563"/>
                  <a:pt x="435098" y="559338"/>
                  <a:pt x="280014" y="559338"/>
                </a:cubicBezTo>
                <a:cubicBezTo>
                  <a:pt x="124929" y="559338"/>
                  <a:pt x="0" y="434563"/>
                  <a:pt x="0" y="279669"/>
                </a:cubicBezTo>
                <a:cubicBezTo>
                  <a:pt x="0" y="124775"/>
                  <a:pt x="124929" y="0"/>
                  <a:pt x="280014" y="0"/>
                </a:cubicBezTo>
                <a:close/>
              </a:path>
            </a:pathLst>
          </a:custGeom>
          <a:solidFill>
            <a:srgbClr val="FFB535"/>
          </a:solidFill>
          <a:ln>
            <a:noFill/>
          </a:ln>
        </p:spPr>
      </p:sp>
      <p:sp>
        <p:nvSpPr>
          <p:cNvPr id="56" name="iSľiḋê">
            <a:extLst>
              <a:ext uri="{FF2B5EF4-FFF2-40B4-BE49-F238E27FC236}">
                <a16:creationId xmlns:a16="http://schemas.microsoft.com/office/drawing/2014/main" id="{54596F92-3CF6-4B0D-BC02-F741D7767E59}"/>
              </a:ext>
            </a:extLst>
          </p:cNvPr>
          <p:cNvSpPr txBox="1"/>
          <p:nvPr/>
        </p:nvSpPr>
        <p:spPr bwMode="auto">
          <a:xfrm>
            <a:off x="1753564" y="5570835"/>
            <a:ext cx="876017" cy="394332"/>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90000" tIns="46800" rIns="90000" bIns="46800" anchor="b">
            <a:normAutofit lnSpcReduction="10000"/>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algn="ctr" eaLnBrk="1" hangingPunct="1">
              <a:lnSpc>
                <a:spcPct val="100000"/>
              </a:lnSpc>
              <a:spcBef>
                <a:spcPct val="0"/>
              </a:spcBef>
            </a:pPr>
            <a:r>
              <a:rPr lang="zh-CN" altLang="en-US" sz="2000" b="1" dirty="0" smtClean="0"/>
              <a:t>上料成功</a:t>
            </a:r>
            <a:endParaRPr lang="en-US" altLang="zh-CN" sz="2000" b="1" dirty="0"/>
          </a:p>
        </p:txBody>
      </p:sp>
      <p:sp>
        <p:nvSpPr>
          <p:cNvPr id="57" name="happy_135927"/>
          <p:cNvSpPr>
            <a:spLocks noChangeAspect="1"/>
          </p:cNvSpPr>
          <p:nvPr/>
        </p:nvSpPr>
        <p:spPr bwMode="auto">
          <a:xfrm>
            <a:off x="3709064" y="6134084"/>
            <a:ext cx="455944" cy="455320"/>
          </a:xfrm>
          <a:custGeom>
            <a:avLst/>
            <a:gdLst>
              <a:gd name="connsiteX0" fmla="*/ 160011 w 583087"/>
              <a:gd name="connsiteY0" fmla="*/ 344195 h 582290"/>
              <a:gd name="connsiteX1" fmla="*/ 291145 w 583087"/>
              <a:gd name="connsiteY1" fmla="*/ 463177 h 582290"/>
              <a:gd name="connsiteX2" fmla="*/ 423274 w 583087"/>
              <a:gd name="connsiteY2" fmla="*/ 344195 h 582290"/>
              <a:gd name="connsiteX3" fmla="*/ 146102 w 583087"/>
              <a:gd name="connsiteY3" fmla="*/ 317424 h 582290"/>
              <a:gd name="connsiteX4" fmla="*/ 437182 w 583087"/>
              <a:gd name="connsiteY4" fmla="*/ 317424 h 582290"/>
              <a:gd name="connsiteX5" fmla="*/ 450097 w 583087"/>
              <a:gd name="connsiteY5" fmla="*/ 330314 h 582290"/>
              <a:gd name="connsiteX6" fmla="*/ 291145 w 583087"/>
              <a:gd name="connsiteY6" fmla="*/ 488957 h 582290"/>
              <a:gd name="connsiteX7" fmla="*/ 132194 w 583087"/>
              <a:gd name="connsiteY7" fmla="*/ 330314 h 582290"/>
              <a:gd name="connsiteX8" fmla="*/ 146102 w 583087"/>
              <a:gd name="connsiteY8" fmla="*/ 317424 h 582290"/>
              <a:gd name="connsiteX9" fmla="*/ 192239 w 583087"/>
              <a:gd name="connsiteY9" fmla="*/ 145891 h 582290"/>
              <a:gd name="connsiteX10" fmla="*/ 238428 w 583087"/>
              <a:gd name="connsiteY10" fmla="*/ 192000 h 582290"/>
              <a:gd name="connsiteX11" fmla="*/ 192239 w 583087"/>
              <a:gd name="connsiteY11" fmla="*/ 238109 h 582290"/>
              <a:gd name="connsiteX12" fmla="*/ 146050 w 583087"/>
              <a:gd name="connsiteY12" fmla="*/ 192000 h 582290"/>
              <a:gd name="connsiteX13" fmla="*/ 192239 w 583087"/>
              <a:gd name="connsiteY13" fmla="*/ 145891 h 582290"/>
              <a:gd name="connsiteX14" fmla="*/ 403829 w 583087"/>
              <a:gd name="connsiteY14" fmla="*/ 145732 h 582290"/>
              <a:gd name="connsiteX15" fmla="*/ 450097 w 583087"/>
              <a:gd name="connsiteY15" fmla="*/ 191920 h 582290"/>
              <a:gd name="connsiteX16" fmla="*/ 403829 w 583087"/>
              <a:gd name="connsiteY16" fmla="*/ 238108 h 582290"/>
              <a:gd name="connsiteX17" fmla="*/ 357561 w 583087"/>
              <a:gd name="connsiteY17" fmla="*/ 191920 h 582290"/>
              <a:gd name="connsiteX18" fmla="*/ 403829 w 583087"/>
              <a:gd name="connsiteY18" fmla="*/ 145732 h 582290"/>
              <a:gd name="connsiteX19" fmla="*/ 291047 w 583087"/>
              <a:gd name="connsiteY19" fmla="*/ 26783 h 582290"/>
              <a:gd name="connsiteX20" fmla="*/ 26820 w 583087"/>
              <a:gd name="connsiteY20" fmla="*/ 290649 h 582290"/>
              <a:gd name="connsiteX21" fmla="*/ 291047 w 583087"/>
              <a:gd name="connsiteY21" fmla="*/ 555507 h 582290"/>
              <a:gd name="connsiteX22" fmla="*/ 556267 w 583087"/>
              <a:gd name="connsiteY22" fmla="*/ 290649 h 582290"/>
              <a:gd name="connsiteX23" fmla="*/ 291047 w 583087"/>
              <a:gd name="connsiteY23" fmla="*/ 26783 h 582290"/>
              <a:gd name="connsiteX24" fmla="*/ 291047 w 583087"/>
              <a:gd name="connsiteY24" fmla="*/ 0 h 582290"/>
              <a:gd name="connsiteX25" fmla="*/ 583087 w 583087"/>
              <a:gd name="connsiteY25" fmla="*/ 290649 h 582290"/>
              <a:gd name="connsiteX26" fmla="*/ 291047 w 583087"/>
              <a:gd name="connsiteY26" fmla="*/ 582290 h 582290"/>
              <a:gd name="connsiteX27" fmla="*/ 0 w 583087"/>
              <a:gd name="connsiteY27" fmla="*/ 290649 h 582290"/>
              <a:gd name="connsiteX28" fmla="*/ 291047 w 583087"/>
              <a:gd name="connsiteY28" fmla="*/ 0 h 5822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3087" h="582290">
                <a:moveTo>
                  <a:pt x="160011" y="344195"/>
                </a:moveTo>
                <a:cubicBezTo>
                  <a:pt x="165971" y="410627"/>
                  <a:pt x="222598" y="463177"/>
                  <a:pt x="291145" y="463177"/>
                </a:cubicBezTo>
                <a:cubicBezTo>
                  <a:pt x="359693" y="463177"/>
                  <a:pt x="416320" y="410627"/>
                  <a:pt x="423274" y="344195"/>
                </a:cubicBezTo>
                <a:close/>
                <a:moveTo>
                  <a:pt x="146102" y="317424"/>
                </a:moveTo>
                <a:lnTo>
                  <a:pt x="437182" y="317424"/>
                </a:lnTo>
                <a:cubicBezTo>
                  <a:pt x="444136" y="317424"/>
                  <a:pt x="450097" y="323373"/>
                  <a:pt x="450097" y="330314"/>
                </a:cubicBezTo>
                <a:cubicBezTo>
                  <a:pt x="450097" y="418559"/>
                  <a:pt x="379562" y="488957"/>
                  <a:pt x="291145" y="488957"/>
                </a:cubicBezTo>
                <a:cubicBezTo>
                  <a:pt x="203722" y="488957"/>
                  <a:pt x="132194" y="418559"/>
                  <a:pt x="132194" y="330314"/>
                </a:cubicBezTo>
                <a:cubicBezTo>
                  <a:pt x="132194" y="323373"/>
                  <a:pt x="138155" y="317424"/>
                  <a:pt x="146102" y="317424"/>
                </a:cubicBezTo>
                <a:close/>
                <a:moveTo>
                  <a:pt x="192239" y="145891"/>
                </a:moveTo>
                <a:cubicBezTo>
                  <a:pt x="217748" y="145891"/>
                  <a:pt x="238428" y="166535"/>
                  <a:pt x="238428" y="192000"/>
                </a:cubicBezTo>
                <a:cubicBezTo>
                  <a:pt x="238428" y="217465"/>
                  <a:pt x="217748" y="238109"/>
                  <a:pt x="192239" y="238109"/>
                </a:cubicBezTo>
                <a:cubicBezTo>
                  <a:pt x="166730" y="238109"/>
                  <a:pt x="146050" y="217465"/>
                  <a:pt x="146050" y="192000"/>
                </a:cubicBezTo>
                <a:cubicBezTo>
                  <a:pt x="146050" y="166535"/>
                  <a:pt x="166730" y="145891"/>
                  <a:pt x="192239" y="145891"/>
                </a:cubicBezTo>
                <a:close/>
                <a:moveTo>
                  <a:pt x="403829" y="145732"/>
                </a:moveTo>
                <a:cubicBezTo>
                  <a:pt x="429382" y="145732"/>
                  <a:pt x="450097" y="166411"/>
                  <a:pt x="450097" y="191920"/>
                </a:cubicBezTo>
                <a:cubicBezTo>
                  <a:pt x="450097" y="217429"/>
                  <a:pt x="429382" y="238108"/>
                  <a:pt x="403829" y="238108"/>
                </a:cubicBezTo>
                <a:cubicBezTo>
                  <a:pt x="378276" y="238108"/>
                  <a:pt x="357561" y="217429"/>
                  <a:pt x="357561" y="191920"/>
                </a:cubicBezTo>
                <a:cubicBezTo>
                  <a:pt x="357561" y="166411"/>
                  <a:pt x="378276" y="145732"/>
                  <a:pt x="403829" y="145732"/>
                </a:cubicBezTo>
                <a:close/>
                <a:moveTo>
                  <a:pt x="291047" y="26783"/>
                </a:moveTo>
                <a:cubicBezTo>
                  <a:pt x="145027" y="26783"/>
                  <a:pt x="26820" y="144829"/>
                  <a:pt x="26820" y="290649"/>
                </a:cubicBezTo>
                <a:cubicBezTo>
                  <a:pt x="26820" y="436469"/>
                  <a:pt x="145027" y="555507"/>
                  <a:pt x="291047" y="555507"/>
                </a:cubicBezTo>
                <a:cubicBezTo>
                  <a:pt x="437067" y="555507"/>
                  <a:pt x="556267" y="436469"/>
                  <a:pt x="556267" y="290649"/>
                </a:cubicBezTo>
                <a:cubicBezTo>
                  <a:pt x="556267" y="144829"/>
                  <a:pt x="437067" y="26783"/>
                  <a:pt x="291047" y="26783"/>
                </a:cubicBezTo>
                <a:close/>
                <a:moveTo>
                  <a:pt x="291047" y="0"/>
                </a:moveTo>
                <a:cubicBezTo>
                  <a:pt x="451967" y="0"/>
                  <a:pt x="583087" y="130941"/>
                  <a:pt x="583087" y="290649"/>
                </a:cubicBezTo>
                <a:cubicBezTo>
                  <a:pt x="583087" y="451349"/>
                  <a:pt x="451967" y="582290"/>
                  <a:pt x="291047" y="582290"/>
                </a:cubicBezTo>
                <a:cubicBezTo>
                  <a:pt x="131120" y="582290"/>
                  <a:pt x="0" y="451349"/>
                  <a:pt x="0" y="290649"/>
                </a:cubicBezTo>
                <a:cubicBezTo>
                  <a:pt x="0" y="130941"/>
                  <a:pt x="131120" y="0"/>
                  <a:pt x="291047" y="0"/>
                </a:cubicBezTo>
                <a:close/>
              </a:path>
            </a:pathLst>
          </a:custGeom>
          <a:solidFill>
            <a:srgbClr val="92D050"/>
          </a:solidFill>
          <a:ln>
            <a:noFill/>
          </a:ln>
        </p:spPr>
      </p:sp>
      <p:sp>
        <p:nvSpPr>
          <p:cNvPr id="58" name="iSľiḋê">
            <a:extLst>
              <a:ext uri="{FF2B5EF4-FFF2-40B4-BE49-F238E27FC236}">
                <a16:creationId xmlns:a16="http://schemas.microsoft.com/office/drawing/2014/main" id="{54596F92-3CF6-4B0D-BC02-F741D7767E59}"/>
              </a:ext>
            </a:extLst>
          </p:cNvPr>
          <p:cNvSpPr txBox="1"/>
          <p:nvPr/>
        </p:nvSpPr>
        <p:spPr bwMode="auto">
          <a:xfrm>
            <a:off x="4407332" y="6195072"/>
            <a:ext cx="876017" cy="394332"/>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90000" tIns="46800" rIns="90000" bIns="46800" anchor="b">
            <a:normAutofit lnSpcReduction="10000"/>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algn="ctr" eaLnBrk="1" hangingPunct="1">
              <a:lnSpc>
                <a:spcPct val="100000"/>
              </a:lnSpc>
              <a:spcBef>
                <a:spcPct val="0"/>
              </a:spcBef>
            </a:pPr>
            <a:r>
              <a:rPr lang="zh-CN" altLang="en-US" sz="2000" b="1" dirty="0" smtClean="0"/>
              <a:t>换料成功</a:t>
            </a:r>
            <a:endParaRPr lang="en-US" altLang="zh-CN" sz="2000" b="1" dirty="0"/>
          </a:p>
        </p:txBody>
      </p:sp>
      <p:sp>
        <p:nvSpPr>
          <p:cNvPr id="59" name="sad_2219"/>
          <p:cNvSpPr>
            <a:spLocks noChangeAspect="1"/>
          </p:cNvSpPr>
          <p:nvPr/>
        </p:nvSpPr>
        <p:spPr bwMode="auto">
          <a:xfrm>
            <a:off x="6299913" y="4240853"/>
            <a:ext cx="471640" cy="471060"/>
          </a:xfrm>
          <a:custGeom>
            <a:avLst/>
            <a:gdLst>
              <a:gd name="connsiteX0" fmla="*/ 280014 w 560027"/>
              <a:gd name="connsiteY0" fmla="*/ 326990 h 559338"/>
              <a:gd name="connsiteX1" fmla="*/ 357604 w 560027"/>
              <a:gd name="connsiteY1" fmla="*/ 357029 h 559338"/>
              <a:gd name="connsiteX2" fmla="*/ 392088 w 560027"/>
              <a:gd name="connsiteY2" fmla="*/ 421400 h 559338"/>
              <a:gd name="connsiteX3" fmla="*/ 333895 w 560027"/>
              <a:gd name="connsiteY3" fmla="*/ 389215 h 559338"/>
              <a:gd name="connsiteX4" fmla="*/ 282169 w 560027"/>
              <a:gd name="connsiteY4" fmla="*/ 376341 h 559338"/>
              <a:gd name="connsiteX5" fmla="*/ 228287 w 560027"/>
              <a:gd name="connsiteY5" fmla="*/ 391360 h 559338"/>
              <a:gd name="connsiteX6" fmla="*/ 167939 w 560027"/>
              <a:gd name="connsiteY6" fmla="*/ 421400 h 559338"/>
              <a:gd name="connsiteX7" fmla="*/ 206734 w 560027"/>
              <a:gd name="connsiteY7" fmla="*/ 359175 h 559338"/>
              <a:gd name="connsiteX8" fmla="*/ 280014 w 560027"/>
              <a:gd name="connsiteY8" fmla="*/ 326990 h 559338"/>
              <a:gd name="connsiteX9" fmla="*/ 376915 w 560027"/>
              <a:gd name="connsiteY9" fmla="*/ 150697 h 559338"/>
              <a:gd name="connsiteX10" fmla="*/ 422090 w 560027"/>
              <a:gd name="connsiteY10" fmla="*/ 195872 h 559338"/>
              <a:gd name="connsiteX11" fmla="*/ 376915 w 560027"/>
              <a:gd name="connsiteY11" fmla="*/ 241047 h 559338"/>
              <a:gd name="connsiteX12" fmla="*/ 331740 w 560027"/>
              <a:gd name="connsiteY12" fmla="*/ 195872 h 559338"/>
              <a:gd name="connsiteX13" fmla="*/ 376915 w 560027"/>
              <a:gd name="connsiteY13" fmla="*/ 150697 h 559338"/>
              <a:gd name="connsiteX14" fmla="*/ 186389 w 560027"/>
              <a:gd name="connsiteY14" fmla="*/ 150697 h 559338"/>
              <a:gd name="connsiteX15" fmla="*/ 232771 w 560027"/>
              <a:gd name="connsiteY15" fmla="*/ 195872 h 559338"/>
              <a:gd name="connsiteX16" fmla="*/ 186389 w 560027"/>
              <a:gd name="connsiteY16" fmla="*/ 241047 h 559338"/>
              <a:gd name="connsiteX17" fmla="*/ 140007 w 560027"/>
              <a:gd name="connsiteY17" fmla="*/ 195872 h 559338"/>
              <a:gd name="connsiteX18" fmla="*/ 186389 w 560027"/>
              <a:gd name="connsiteY18" fmla="*/ 150697 h 559338"/>
              <a:gd name="connsiteX19" fmla="*/ 280014 w 560027"/>
              <a:gd name="connsiteY19" fmla="*/ 32270 h 559338"/>
              <a:gd name="connsiteX20" fmla="*/ 32309 w 560027"/>
              <a:gd name="connsiteY20" fmla="*/ 279669 h 559338"/>
              <a:gd name="connsiteX21" fmla="*/ 280014 w 560027"/>
              <a:gd name="connsiteY21" fmla="*/ 527068 h 559338"/>
              <a:gd name="connsiteX22" fmla="*/ 527718 w 560027"/>
              <a:gd name="connsiteY22" fmla="*/ 279669 h 559338"/>
              <a:gd name="connsiteX23" fmla="*/ 280014 w 560027"/>
              <a:gd name="connsiteY23" fmla="*/ 32270 h 559338"/>
              <a:gd name="connsiteX24" fmla="*/ 280014 w 560027"/>
              <a:gd name="connsiteY24" fmla="*/ 0 h 559338"/>
              <a:gd name="connsiteX25" fmla="*/ 560027 w 560027"/>
              <a:gd name="connsiteY25" fmla="*/ 279669 h 559338"/>
              <a:gd name="connsiteX26" fmla="*/ 280014 w 560027"/>
              <a:gd name="connsiteY26" fmla="*/ 559338 h 559338"/>
              <a:gd name="connsiteX27" fmla="*/ 0 w 560027"/>
              <a:gd name="connsiteY27" fmla="*/ 279669 h 559338"/>
              <a:gd name="connsiteX28" fmla="*/ 280014 w 560027"/>
              <a:gd name="connsiteY28" fmla="*/ 0 h 5593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60027" h="559338">
                <a:moveTo>
                  <a:pt x="280014" y="326990"/>
                </a:moveTo>
                <a:cubicBezTo>
                  <a:pt x="310187" y="324844"/>
                  <a:pt x="338206" y="337718"/>
                  <a:pt x="357604" y="357029"/>
                </a:cubicBezTo>
                <a:cubicBezTo>
                  <a:pt x="374846" y="374195"/>
                  <a:pt x="387777" y="397797"/>
                  <a:pt x="392088" y="421400"/>
                </a:cubicBezTo>
                <a:cubicBezTo>
                  <a:pt x="370535" y="408526"/>
                  <a:pt x="353293" y="397797"/>
                  <a:pt x="333895" y="389215"/>
                </a:cubicBezTo>
                <a:cubicBezTo>
                  <a:pt x="316653" y="380632"/>
                  <a:pt x="299411" y="376341"/>
                  <a:pt x="282169" y="376341"/>
                </a:cubicBezTo>
                <a:cubicBezTo>
                  <a:pt x="264927" y="376341"/>
                  <a:pt x="247684" y="382778"/>
                  <a:pt x="228287" y="391360"/>
                </a:cubicBezTo>
                <a:cubicBezTo>
                  <a:pt x="208889" y="399943"/>
                  <a:pt x="189492" y="410672"/>
                  <a:pt x="167939" y="421400"/>
                </a:cubicBezTo>
                <a:cubicBezTo>
                  <a:pt x="174405" y="397797"/>
                  <a:pt x="187337" y="376341"/>
                  <a:pt x="206734" y="359175"/>
                </a:cubicBezTo>
                <a:cubicBezTo>
                  <a:pt x="226132" y="342010"/>
                  <a:pt x="251995" y="329135"/>
                  <a:pt x="280014" y="326990"/>
                </a:cubicBezTo>
                <a:close/>
                <a:moveTo>
                  <a:pt x="376915" y="150697"/>
                </a:moveTo>
                <a:cubicBezTo>
                  <a:pt x="401864" y="150697"/>
                  <a:pt x="422090" y="170923"/>
                  <a:pt x="422090" y="195872"/>
                </a:cubicBezTo>
                <a:cubicBezTo>
                  <a:pt x="422090" y="220821"/>
                  <a:pt x="401864" y="241047"/>
                  <a:pt x="376915" y="241047"/>
                </a:cubicBezTo>
                <a:cubicBezTo>
                  <a:pt x="351966" y="241047"/>
                  <a:pt x="331740" y="220821"/>
                  <a:pt x="331740" y="195872"/>
                </a:cubicBezTo>
                <a:cubicBezTo>
                  <a:pt x="331740" y="170923"/>
                  <a:pt x="351966" y="150697"/>
                  <a:pt x="376915" y="150697"/>
                </a:cubicBezTo>
                <a:close/>
                <a:moveTo>
                  <a:pt x="186389" y="150697"/>
                </a:moveTo>
                <a:cubicBezTo>
                  <a:pt x="212005" y="150697"/>
                  <a:pt x="232771" y="170923"/>
                  <a:pt x="232771" y="195872"/>
                </a:cubicBezTo>
                <a:cubicBezTo>
                  <a:pt x="232771" y="220821"/>
                  <a:pt x="212005" y="241047"/>
                  <a:pt x="186389" y="241047"/>
                </a:cubicBezTo>
                <a:cubicBezTo>
                  <a:pt x="160773" y="241047"/>
                  <a:pt x="140007" y="220821"/>
                  <a:pt x="140007" y="195872"/>
                </a:cubicBezTo>
                <a:cubicBezTo>
                  <a:pt x="140007" y="170923"/>
                  <a:pt x="160773" y="150697"/>
                  <a:pt x="186389" y="150697"/>
                </a:cubicBezTo>
                <a:close/>
                <a:moveTo>
                  <a:pt x="280014" y="32270"/>
                </a:moveTo>
                <a:cubicBezTo>
                  <a:pt x="144315" y="32270"/>
                  <a:pt x="32309" y="144137"/>
                  <a:pt x="32309" y="279669"/>
                </a:cubicBezTo>
                <a:cubicBezTo>
                  <a:pt x="32309" y="415201"/>
                  <a:pt x="144315" y="527068"/>
                  <a:pt x="280014" y="527068"/>
                </a:cubicBezTo>
                <a:cubicBezTo>
                  <a:pt x="415712" y="527068"/>
                  <a:pt x="527718" y="415201"/>
                  <a:pt x="527718" y="279669"/>
                </a:cubicBezTo>
                <a:cubicBezTo>
                  <a:pt x="527718" y="144137"/>
                  <a:pt x="415712" y="32270"/>
                  <a:pt x="280014" y="32270"/>
                </a:cubicBezTo>
                <a:close/>
                <a:moveTo>
                  <a:pt x="280014" y="0"/>
                </a:moveTo>
                <a:cubicBezTo>
                  <a:pt x="435098" y="0"/>
                  <a:pt x="560027" y="124775"/>
                  <a:pt x="560027" y="279669"/>
                </a:cubicBezTo>
                <a:cubicBezTo>
                  <a:pt x="560027" y="434563"/>
                  <a:pt x="435098" y="559338"/>
                  <a:pt x="280014" y="559338"/>
                </a:cubicBezTo>
                <a:cubicBezTo>
                  <a:pt x="124929" y="559338"/>
                  <a:pt x="0" y="434563"/>
                  <a:pt x="0" y="279669"/>
                </a:cubicBezTo>
                <a:cubicBezTo>
                  <a:pt x="0" y="124775"/>
                  <a:pt x="124929" y="0"/>
                  <a:pt x="280014" y="0"/>
                </a:cubicBezTo>
                <a:close/>
              </a:path>
            </a:pathLst>
          </a:custGeom>
          <a:solidFill>
            <a:srgbClr val="FFB535"/>
          </a:solidFill>
          <a:ln>
            <a:noFill/>
          </a:ln>
        </p:spPr>
      </p:sp>
      <p:sp>
        <p:nvSpPr>
          <p:cNvPr id="60" name="happy_135927"/>
          <p:cNvSpPr>
            <a:spLocks noChangeAspect="1"/>
          </p:cNvSpPr>
          <p:nvPr/>
        </p:nvSpPr>
        <p:spPr bwMode="auto">
          <a:xfrm>
            <a:off x="6291503" y="4915977"/>
            <a:ext cx="455944" cy="455320"/>
          </a:xfrm>
          <a:custGeom>
            <a:avLst/>
            <a:gdLst>
              <a:gd name="connsiteX0" fmla="*/ 160011 w 583087"/>
              <a:gd name="connsiteY0" fmla="*/ 344195 h 582290"/>
              <a:gd name="connsiteX1" fmla="*/ 291145 w 583087"/>
              <a:gd name="connsiteY1" fmla="*/ 463177 h 582290"/>
              <a:gd name="connsiteX2" fmla="*/ 423274 w 583087"/>
              <a:gd name="connsiteY2" fmla="*/ 344195 h 582290"/>
              <a:gd name="connsiteX3" fmla="*/ 146102 w 583087"/>
              <a:gd name="connsiteY3" fmla="*/ 317424 h 582290"/>
              <a:gd name="connsiteX4" fmla="*/ 437182 w 583087"/>
              <a:gd name="connsiteY4" fmla="*/ 317424 h 582290"/>
              <a:gd name="connsiteX5" fmla="*/ 450097 w 583087"/>
              <a:gd name="connsiteY5" fmla="*/ 330314 h 582290"/>
              <a:gd name="connsiteX6" fmla="*/ 291145 w 583087"/>
              <a:gd name="connsiteY6" fmla="*/ 488957 h 582290"/>
              <a:gd name="connsiteX7" fmla="*/ 132194 w 583087"/>
              <a:gd name="connsiteY7" fmla="*/ 330314 h 582290"/>
              <a:gd name="connsiteX8" fmla="*/ 146102 w 583087"/>
              <a:gd name="connsiteY8" fmla="*/ 317424 h 582290"/>
              <a:gd name="connsiteX9" fmla="*/ 192239 w 583087"/>
              <a:gd name="connsiteY9" fmla="*/ 145891 h 582290"/>
              <a:gd name="connsiteX10" fmla="*/ 238428 w 583087"/>
              <a:gd name="connsiteY10" fmla="*/ 192000 h 582290"/>
              <a:gd name="connsiteX11" fmla="*/ 192239 w 583087"/>
              <a:gd name="connsiteY11" fmla="*/ 238109 h 582290"/>
              <a:gd name="connsiteX12" fmla="*/ 146050 w 583087"/>
              <a:gd name="connsiteY12" fmla="*/ 192000 h 582290"/>
              <a:gd name="connsiteX13" fmla="*/ 192239 w 583087"/>
              <a:gd name="connsiteY13" fmla="*/ 145891 h 582290"/>
              <a:gd name="connsiteX14" fmla="*/ 403829 w 583087"/>
              <a:gd name="connsiteY14" fmla="*/ 145732 h 582290"/>
              <a:gd name="connsiteX15" fmla="*/ 450097 w 583087"/>
              <a:gd name="connsiteY15" fmla="*/ 191920 h 582290"/>
              <a:gd name="connsiteX16" fmla="*/ 403829 w 583087"/>
              <a:gd name="connsiteY16" fmla="*/ 238108 h 582290"/>
              <a:gd name="connsiteX17" fmla="*/ 357561 w 583087"/>
              <a:gd name="connsiteY17" fmla="*/ 191920 h 582290"/>
              <a:gd name="connsiteX18" fmla="*/ 403829 w 583087"/>
              <a:gd name="connsiteY18" fmla="*/ 145732 h 582290"/>
              <a:gd name="connsiteX19" fmla="*/ 291047 w 583087"/>
              <a:gd name="connsiteY19" fmla="*/ 26783 h 582290"/>
              <a:gd name="connsiteX20" fmla="*/ 26820 w 583087"/>
              <a:gd name="connsiteY20" fmla="*/ 290649 h 582290"/>
              <a:gd name="connsiteX21" fmla="*/ 291047 w 583087"/>
              <a:gd name="connsiteY21" fmla="*/ 555507 h 582290"/>
              <a:gd name="connsiteX22" fmla="*/ 556267 w 583087"/>
              <a:gd name="connsiteY22" fmla="*/ 290649 h 582290"/>
              <a:gd name="connsiteX23" fmla="*/ 291047 w 583087"/>
              <a:gd name="connsiteY23" fmla="*/ 26783 h 582290"/>
              <a:gd name="connsiteX24" fmla="*/ 291047 w 583087"/>
              <a:gd name="connsiteY24" fmla="*/ 0 h 582290"/>
              <a:gd name="connsiteX25" fmla="*/ 583087 w 583087"/>
              <a:gd name="connsiteY25" fmla="*/ 290649 h 582290"/>
              <a:gd name="connsiteX26" fmla="*/ 291047 w 583087"/>
              <a:gd name="connsiteY26" fmla="*/ 582290 h 582290"/>
              <a:gd name="connsiteX27" fmla="*/ 0 w 583087"/>
              <a:gd name="connsiteY27" fmla="*/ 290649 h 582290"/>
              <a:gd name="connsiteX28" fmla="*/ 291047 w 583087"/>
              <a:gd name="connsiteY28" fmla="*/ 0 h 5822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3087" h="582290">
                <a:moveTo>
                  <a:pt x="160011" y="344195"/>
                </a:moveTo>
                <a:cubicBezTo>
                  <a:pt x="165971" y="410627"/>
                  <a:pt x="222598" y="463177"/>
                  <a:pt x="291145" y="463177"/>
                </a:cubicBezTo>
                <a:cubicBezTo>
                  <a:pt x="359693" y="463177"/>
                  <a:pt x="416320" y="410627"/>
                  <a:pt x="423274" y="344195"/>
                </a:cubicBezTo>
                <a:close/>
                <a:moveTo>
                  <a:pt x="146102" y="317424"/>
                </a:moveTo>
                <a:lnTo>
                  <a:pt x="437182" y="317424"/>
                </a:lnTo>
                <a:cubicBezTo>
                  <a:pt x="444136" y="317424"/>
                  <a:pt x="450097" y="323373"/>
                  <a:pt x="450097" y="330314"/>
                </a:cubicBezTo>
                <a:cubicBezTo>
                  <a:pt x="450097" y="418559"/>
                  <a:pt x="379562" y="488957"/>
                  <a:pt x="291145" y="488957"/>
                </a:cubicBezTo>
                <a:cubicBezTo>
                  <a:pt x="203722" y="488957"/>
                  <a:pt x="132194" y="418559"/>
                  <a:pt x="132194" y="330314"/>
                </a:cubicBezTo>
                <a:cubicBezTo>
                  <a:pt x="132194" y="323373"/>
                  <a:pt x="138155" y="317424"/>
                  <a:pt x="146102" y="317424"/>
                </a:cubicBezTo>
                <a:close/>
                <a:moveTo>
                  <a:pt x="192239" y="145891"/>
                </a:moveTo>
                <a:cubicBezTo>
                  <a:pt x="217748" y="145891"/>
                  <a:pt x="238428" y="166535"/>
                  <a:pt x="238428" y="192000"/>
                </a:cubicBezTo>
                <a:cubicBezTo>
                  <a:pt x="238428" y="217465"/>
                  <a:pt x="217748" y="238109"/>
                  <a:pt x="192239" y="238109"/>
                </a:cubicBezTo>
                <a:cubicBezTo>
                  <a:pt x="166730" y="238109"/>
                  <a:pt x="146050" y="217465"/>
                  <a:pt x="146050" y="192000"/>
                </a:cubicBezTo>
                <a:cubicBezTo>
                  <a:pt x="146050" y="166535"/>
                  <a:pt x="166730" y="145891"/>
                  <a:pt x="192239" y="145891"/>
                </a:cubicBezTo>
                <a:close/>
                <a:moveTo>
                  <a:pt x="403829" y="145732"/>
                </a:moveTo>
                <a:cubicBezTo>
                  <a:pt x="429382" y="145732"/>
                  <a:pt x="450097" y="166411"/>
                  <a:pt x="450097" y="191920"/>
                </a:cubicBezTo>
                <a:cubicBezTo>
                  <a:pt x="450097" y="217429"/>
                  <a:pt x="429382" y="238108"/>
                  <a:pt x="403829" y="238108"/>
                </a:cubicBezTo>
                <a:cubicBezTo>
                  <a:pt x="378276" y="238108"/>
                  <a:pt x="357561" y="217429"/>
                  <a:pt x="357561" y="191920"/>
                </a:cubicBezTo>
                <a:cubicBezTo>
                  <a:pt x="357561" y="166411"/>
                  <a:pt x="378276" y="145732"/>
                  <a:pt x="403829" y="145732"/>
                </a:cubicBezTo>
                <a:close/>
                <a:moveTo>
                  <a:pt x="291047" y="26783"/>
                </a:moveTo>
                <a:cubicBezTo>
                  <a:pt x="145027" y="26783"/>
                  <a:pt x="26820" y="144829"/>
                  <a:pt x="26820" y="290649"/>
                </a:cubicBezTo>
                <a:cubicBezTo>
                  <a:pt x="26820" y="436469"/>
                  <a:pt x="145027" y="555507"/>
                  <a:pt x="291047" y="555507"/>
                </a:cubicBezTo>
                <a:cubicBezTo>
                  <a:pt x="437067" y="555507"/>
                  <a:pt x="556267" y="436469"/>
                  <a:pt x="556267" y="290649"/>
                </a:cubicBezTo>
                <a:cubicBezTo>
                  <a:pt x="556267" y="144829"/>
                  <a:pt x="437067" y="26783"/>
                  <a:pt x="291047" y="26783"/>
                </a:cubicBezTo>
                <a:close/>
                <a:moveTo>
                  <a:pt x="291047" y="0"/>
                </a:moveTo>
                <a:cubicBezTo>
                  <a:pt x="451967" y="0"/>
                  <a:pt x="583087" y="130941"/>
                  <a:pt x="583087" y="290649"/>
                </a:cubicBezTo>
                <a:cubicBezTo>
                  <a:pt x="583087" y="451349"/>
                  <a:pt x="451967" y="582290"/>
                  <a:pt x="291047" y="582290"/>
                </a:cubicBezTo>
                <a:cubicBezTo>
                  <a:pt x="131120" y="582290"/>
                  <a:pt x="0" y="451349"/>
                  <a:pt x="0" y="290649"/>
                </a:cubicBezTo>
                <a:cubicBezTo>
                  <a:pt x="0" y="130941"/>
                  <a:pt x="131120" y="0"/>
                  <a:pt x="291047" y="0"/>
                </a:cubicBezTo>
                <a:close/>
              </a:path>
            </a:pathLst>
          </a:custGeom>
          <a:solidFill>
            <a:srgbClr val="92D050"/>
          </a:solidFill>
          <a:ln>
            <a:noFill/>
          </a:ln>
        </p:spPr>
      </p:sp>
      <p:sp>
        <p:nvSpPr>
          <p:cNvPr id="61" name="iSľiḋê">
            <a:extLst>
              <a:ext uri="{FF2B5EF4-FFF2-40B4-BE49-F238E27FC236}">
                <a16:creationId xmlns:a16="http://schemas.microsoft.com/office/drawing/2014/main" id="{54596F92-3CF6-4B0D-BC02-F741D7767E59}"/>
              </a:ext>
            </a:extLst>
          </p:cNvPr>
          <p:cNvSpPr txBox="1"/>
          <p:nvPr/>
        </p:nvSpPr>
        <p:spPr bwMode="auto">
          <a:xfrm>
            <a:off x="6989771" y="4976965"/>
            <a:ext cx="876017" cy="394332"/>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90000" tIns="46800" rIns="90000" bIns="46800" anchor="b">
            <a:normAutofit lnSpcReduction="10000"/>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algn="ctr" eaLnBrk="1" hangingPunct="1">
              <a:lnSpc>
                <a:spcPct val="100000"/>
              </a:lnSpc>
              <a:spcBef>
                <a:spcPct val="0"/>
              </a:spcBef>
            </a:pPr>
            <a:r>
              <a:rPr lang="zh-CN" altLang="en-US" sz="2000" b="1" dirty="0"/>
              <a:t>核</a:t>
            </a:r>
            <a:r>
              <a:rPr lang="zh-CN" altLang="en-US" sz="2000" b="1" dirty="0" smtClean="0"/>
              <a:t>料成功</a:t>
            </a:r>
            <a:endParaRPr lang="en-US" altLang="zh-CN" sz="2000" b="1" dirty="0"/>
          </a:p>
        </p:txBody>
      </p:sp>
      <p:sp>
        <p:nvSpPr>
          <p:cNvPr id="62" name="happy_135927"/>
          <p:cNvSpPr>
            <a:spLocks noChangeAspect="1"/>
          </p:cNvSpPr>
          <p:nvPr/>
        </p:nvSpPr>
        <p:spPr bwMode="auto">
          <a:xfrm>
            <a:off x="8995328" y="4915977"/>
            <a:ext cx="455944" cy="455320"/>
          </a:xfrm>
          <a:custGeom>
            <a:avLst/>
            <a:gdLst>
              <a:gd name="connsiteX0" fmla="*/ 160011 w 583087"/>
              <a:gd name="connsiteY0" fmla="*/ 344195 h 582290"/>
              <a:gd name="connsiteX1" fmla="*/ 291145 w 583087"/>
              <a:gd name="connsiteY1" fmla="*/ 463177 h 582290"/>
              <a:gd name="connsiteX2" fmla="*/ 423274 w 583087"/>
              <a:gd name="connsiteY2" fmla="*/ 344195 h 582290"/>
              <a:gd name="connsiteX3" fmla="*/ 146102 w 583087"/>
              <a:gd name="connsiteY3" fmla="*/ 317424 h 582290"/>
              <a:gd name="connsiteX4" fmla="*/ 437182 w 583087"/>
              <a:gd name="connsiteY4" fmla="*/ 317424 h 582290"/>
              <a:gd name="connsiteX5" fmla="*/ 450097 w 583087"/>
              <a:gd name="connsiteY5" fmla="*/ 330314 h 582290"/>
              <a:gd name="connsiteX6" fmla="*/ 291145 w 583087"/>
              <a:gd name="connsiteY6" fmla="*/ 488957 h 582290"/>
              <a:gd name="connsiteX7" fmla="*/ 132194 w 583087"/>
              <a:gd name="connsiteY7" fmla="*/ 330314 h 582290"/>
              <a:gd name="connsiteX8" fmla="*/ 146102 w 583087"/>
              <a:gd name="connsiteY8" fmla="*/ 317424 h 582290"/>
              <a:gd name="connsiteX9" fmla="*/ 192239 w 583087"/>
              <a:gd name="connsiteY9" fmla="*/ 145891 h 582290"/>
              <a:gd name="connsiteX10" fmla="*/ 238428 w 583087"/>
              <a:gd name="connsiteY10" fmla="*/ 192000 h 582290"/>
              <a:gd name="connsiteX11" fmla="*/ 192239 w 583087"/>
              <a:gd name="connsiteY11" fmla="*/ 238109 h 582290"/>
              <a:gd name="connsiteX12" fmla="*/ 146050 w 583087"/>
              <a:gd name="connsiteY12" fmla="*/ 192000 h 582290"/>
              <a:gd name="connsiteX13" fmla="*/ 192239 w 583087"/>
              <a:gd name="connsiteY13" fmla="*/ 145891 h 582290"/>
              <a:gd name="connsiteX14" fmla="*/ 403829 w 583087"/>
              <a:gd name="connsiteY14" fmla="*/ 145732 h 582290"/>
              <a:gd name="connsiteX15" fmla="*/ 450097 w 583087"/>
              <a:gd name="connsiteY15" fmla="*/ 191920 h 582290"/>
              <a:gd name="connsiteX16" fmla="*/ 403829 w 583087"/>
              <a:gd name="connsiteY16" fmla="*/ 238108 h 582290"/>
              <a:gd name="connsiteX17" fmla="*/ 357561 w 583087"/>
              <a:gd name="connsiteY17" fmla="*/ 191920 h 582290"/>
              <a:gd name="connsiteX18" fmla="*/ 403829 w 583087"/>
              <a:gd name="connsiteY18" fmla="*/ 145732 h 582290"/>
              <a:gd name="connsiteX19" fmla="*/ 291047 w 583087"/>
              <a:gd name="connsiteY19" fmla="*/ 26783 h 582290"/>
              <a:gd name="connsiteX20" fmla="*/ 26820 w 583087"/>
              <a:gd name="connsiteY20" fmla="*/ 290649 h 582290"/>
              <a:gd name="connsiteX21" fmla="*/ 291047 w 583087"/>
              <a:gd name="connsiteY21" fmla="*/ 555507 h 582290"/>
              <a:gd name="connsiteX22" fmla="*/ 556267 w 583087"/>
              <a:gd name="connsiteY22" fmla="*/ 290649 h 582290"/>
              <a:gd name="connsiteX23" fmla="*/ 291047 w 583087"/>
              <a:gd name="connsiteY23" fmla="*/ 26783 h 582290"/>
              <a:gd name="connsiteX24" fmla="*/ 291047 w 583087"/>
              <a:gd name="connsiteY24" fmla="*/ 0 h 582290"/>
              <a:gd name="connsiteX25" fmla="*/ 583087 w 583087"/>
              <a:gd name="connsiteY25" fmla="*/ 290649 h 582290"/>
              <a:gd name="connsiteX26" fmla="*/ 291047 w 583087"/>
              <a:gd name="connsiteY26" fmla="*/ 582290 h 582290"/>
              <a:gd name="connsiteX27" fmla="*/ 0 w 583087"/>
              <a:gd name="connsiteY27" fmla="*/ 290649 h 582290"/>
              <a:gd name="connsiteX28" fmla="*/ 291047 w 583087"/>
              <a:gd name="connsiteY28" fmla="*/ 0 h 5822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3087" h="582290">
                <a:moveTo>
                  <a:pt x="160011" y="344195"/>
                </a:moveTo>
                <a:cubicBezTo>
                  <a:pt x="165971" y="410627"/>
                  <a:pt x="222598" y="463177"/>
                  <a:pt x="291145" y="463177"/>
                </a:cubicBezTo>
                <a:cubicBezTo>
                  <a:pt x="359693" y="463177"/>
                  <a:pt x="416320" y="410627"/>
                  <a:pt x="423274" y="344195"/>
                </a:cubicBezTo>
                <a:close/>
                <a:moveTo>
                  <a:pt x="146102" y="317424"/>
                </a:moveTo>
                <a:lnTo>
                  <a:pt x="437182" y="317424"/>
                </a:lnTo>
                <a:cubicBezTo>
                  <a:pt x="444136" y="317424"/>
                  <a:pt x="450097" y="323373"/>
                  <a:pt x="450097" y="330314"/>
                </a:cubicBezTo>
                <a:cubicBezTo>
                  <a:pt x="450097" y="418559"/>
                  <a:pt x="379562" y="488957"/>
                  <a:pt x="291145" y="488957"/>
                </a:cubicBezTo>
                <a:cubicBezTo>
                  <a:pt x="203722" y="488957"/>
                  <a:pt x="132194" y="418559"/>
                  <a:pt x="132194" y="330314"/>
                </a:cubicBezTo>
                <a:cubicBezTo>
                  <a:pt x="132194" y="323373"/>
                  <a:pt x="138155" y="317424"/>
                  <a:pt x="146102" y="317424"/>
                </a:cubicBezTo>
                <a:close/>
                <a:moveTo>
                  <a:pt x="192239" y="145891"/>
                </a:moveTo>
                <a:cubicBezTo>
                  <a:pt x="217748" y="145891"/>
                  <a:pt x="238428" y="166535"/>
                  <a:pt x="238428" y="192000"/>
                </a:cubicBezTo>
                <a:cubicBezTo>
                  <a:pt x="238428" y="217465"/>
                  <a:pt x="217748" y="238109"/>
                  <a:pt x="192239" y="238109"/>
                </a:cubicBezTo>
                <a:cubicBezTo>
                  <a:pt x="166730" y="238109"/>
                  <a:pt x="146050" y="217465"/>
                  <a:pt x="146050" y="192000"/>
                </a:cubicBezTo>
                <a:cubicBezTo>
                  <a:pt x="146050" y="166535"/>
                  <a:pt x="166730" y="145891"/>
                  <a:pt x="192239" y="145891"/>
                </a:cubicBezTo>
                <a:close/>
                <a:moveTo>
                  <a:pt x="403829" y="145732"/>
                </a:moveTo>
                <a:cubicBezTo>
                  <a:pt x="429382" y="145732"/>
                  <a:pt x="450097" y="166411"/>
                  <a:pt x="450097" y="191920"/>
                </a:cubicBezTo>
                <a:cubicBezTo>
                  <a:pt x="450097" y="217429"/>
                  <a:pt x="429382" y="238108"/>
                  <a:pt x="403829" y="238108"/>
                </a:cubicBezTo>
                <a:cubicBezTo>
                  <a:pt x="378276" y="238108"/>
                  <a:pt x="357561" y="217429"/>
                  <a:pt x="357561" y="191920"/>
                </a:cubicBezTo>
                <a:cubicBezTo>
                  <a:pt x="357561" y="166411"/>
                  <a:pt x="378276" y="145732"/>
                  <a:pt x="403829" y="145732"/>
                </a:cubicBezTo>
                <a:close/>
                <a:moveTo>
                  <a:pt x="291047" y="26783"/>
                </a:moveTo>
                <a:cubicBezTo>
                  <a:pt x="145027" y="26783"/>
                  <a:pt x="26820" y="144829"/>
                  <a:pt x="26820" y="290649"/>
                </a:cubicBezTo>
                <a:cubicBezTo>
                  <a:pt x="26820" y="436469"/>
                  <a:pt x="145027" y="555507"/>
                  <a:pt x="291047" y="555507"/>
                </a:cubicBezTo>
                <a:cubicBezTo>
                  <a:pt x="437067" y="555507"/>
                  <a:pt x="556267" y="436469"/>
                  <a:pt x="556267" y="290649"/>
                </a:cubicBezTo>
                <a:cubicBezTo>
                  <a:pt x="556267" y="144829"/>
                  <a:pt x="437067" y="26783"/>
                  <a:pt x="291047" y="26783"/>
                </a:cubicBezTo>
                <a:close/>
                <a:moveTo>
                  <a:pt x="291047" y="0"/>
                </a:moveTo>
                <a:cubicBezTo>
                  <a:pt x="451967" y="0"/>
                  <a:pt x="583087" y="130941"/>
                  <a:pt x="583087" y="290649"/>
                </a:cubicBezTo>
                <a:cubicBezTo>
                  <a:pt x="583087" y="451349"/>
                  <a:pt x="451967" y="582290"/>
                  <a:pt x="291047" y="582290"/>
                </a:cubicBezTo>
                <a:cubicBezTo>
                  <a:pt x="131120" y="582290"/>
                  <a:pt x="0" y="451349"/>
                  <a:pt x="0" y="290649"/>
                </a:cubicBezTo>
                <a:cubicBezTo>
                  <a:pt x="0" y="130941"/>
                  <a:pt x="131120" y="0"/>
                  <a:pt x="291047" y="0"/>
                </a:cubicBezTo>
                <a:close/>
              </a:path>
            </a:pathLst>
          </a:custGeom>
          <a:solidFill>
            <a:srgbClr val="92D050"/>
          </a:solidFill>
          <a:ln>
            <a:noFill/>
          </a:ln>
        </p:spPr>
      </p:sp>
      <p:sp>
        <p:nvSpPr>
          <p:cNvPr id="63" name="iSľiḋê">
            <a:extLst>
              <a:ext uri="{FF2B5EF4-FFF2-40B4-BE49-F238E27FC236}">
                <a16:creationId xmlns:a16="http://schemas.microsoft.com/office/drawing/2014/main" id="{54596F92-3CF6-4B0D-BC02-F741D7767E59}"/>
              </a:ext>
            </a:extLst>
          </p:cNvPr>
          <p:cNvSpPr txBox="1"/>
          <p:nvPr/>
        </p:nvSpPr>
        <p:spPr bwMode="auto">
          <a:xfrm>
            <a:off x="9693596" y="4976965"/>
            <a:ext cx="876017" cy="394332"/>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90000" tIns="46800" rIns="90000" bIns="46800" anchor="b">
            <a:normAutofit lnSpcReduction="10000"/>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algn="ctr" eaLnBrk="1" hangingPunct="1">
              <a:lnSpc>
                <a:spcPct val="100000"/>
              </a:lnSpc>
              <a:spcBef>
                <a:spcPct val="0"/>
              </a:spcBef>
            </a:pPr>
            <a:r>
              <a:rPr lang="zh-CN" altLang="en-US" sz="2000" b="1" dirty="0" smtClean="0"/>
              <a:t>全检成功</a:t>
            </a:r>
            <a:endParaRPr lang="en-US" altLang="zh-CN" sz="2000" b="1" dirty="0"/>
          </a:p>
        </p:txBody>
      </p:sp>
      <p:sp>
        <p:nvSpPr>
          <p:cNvPr id="64" name="sad_2219"/>
          <p:cNvSpPr>
            <a:spLocks noChangeAspect="1"/>
          </p:cNvSpPr>
          <p:nvPr/>
        </p:nvSpPr>
        <p:spPr bwMode="auto">
          <a:xfrm>
            <a:off x="8979632" y="4240853"/>
            <a:ext cx="471640" cy="471060"/>
          </a:xfrm>
          <a:custGeom>
            <a:avLst/>
            <a:gdLst>
              <a:gd name="connsiteX0" fmla="*/ 280014 w 560027"/>
              <a:gd name="connsiteY0" fmla="*/ 326990 h 559338"/>
              <a:gd name="connsiteX1" fmla="*/ 357604 w 560027"/>
              <a:gd name="connsiteY1" fmla="*/ 357029 h 559338"/>
              <a:gd name="connsiteX2" fmla="*/ 392088 w 560027"/>
              <a:gd name="connsiteY2" fmla="*/ 421400 h 559338"/>
              <a:gd name="connsiteX3" fmla="*/ 333895 w 560027"/>
              <a:gd name="connsiteY3" fmla="*/ 389215 h 559338"/>
              <a:gd name="connsiteX4" fmla="*/ 282169 w 560027"/>
              <a:gd name="connsiteY4" fmla="*/ 376341 h 559338"/>
              <a:gd name="connsiteX5" fmla="*/ 228287 w 560027"/>
              <a:gd name="connsiteY5" fmla="*/ 391360 h 559338"/>
              <a:gd name="connsiteX6" fmla="*/ 167939 w 560027"/>
              <a:gd name="connsiteY6" fmla="*/ 421400 h 559338"/>
              <a:gd name="connsiteX7" fmla="*/ 206734 w 560027"/>
              <a:gd name="connsiteY7" fmla="*/ 359175 h 559338"/>
              <a:gd name="connsiteX8" fmla="*/ 280014 w 560027"/>
              <a:gd name="connsiteY8" fmla="*/ 326990 h 559338"/>
              <a:gd name="connsiteX9" fmla="*/ 376915 w 560027"/>
              <a:gd name="connsiteY9" fmla="*/ 150697 h 559338"/>
              <a:gd name="connsiteX10" fmla="*/ 422090 w 560027"/>
              <a:gd name="connsiteY10" fmla="*/ 195872 h 559338"/>
              <a:gd name="connsiteX11" fmla="*/ 376915 w 560027"/>
              <a:gd name="connsiteY11" fmla="*/ 241047 h 559338"/>
              <a:gd name="connsiteX12" fmla="*/ 331740 w 560027"/>
              <a:gd name="connsiteY12" fmla="*/ 195872 h 559338"/>
              <a:gd name="connsiteX13" fmla="*/ 376915 w 560027"/>
              <a:gd name="connsiteY13" fmla="*/ 150697 h 559338"/>
              <a:gd name="connsiteX14" fmla="*/ 186389 w 560027"/>
              <a:gd name="connsiteY14" fmla="*/ 150697 h 559338"/>
              <a:gd name="connsiteX15" fmla="*/ 232771 w 560027"/>
              <a:gd name="connsiteY15" fmla="*/ 195872 h 559338"/>
              <a:gd name="connsiteX16" fmla="*/ 186389 w 560027"/>
              <a:gd name="connsiteY16" fmla="*/ 241047 h 559338"/>
              <a:gd name="connsiteX17" fmla="*/ 140007 w 560027"/>
              <a:gd name="connsiteY17" fmla="*/ 195872 h 559338"/>
              <a:gd name="connsiteX18" fmla="*/ 186389 w 560027"/>
              <a:gd name="connsiteY18" fmla="*/ 150697 h 559338"/>
              <a:gd name="connsiteX19" fmla="*/ 280014 w 560027"/>
              <a:gd name="connsiteY19" fmla="*/ 32270 h 559338"/>
              <a:gd name="connsiteX20" fmla="*/ 32309 w 560027"/>
              <a:gd name="connsiteY20" fmla="*/ 279669 h 559338"/>
              <a:gd name="connsiteX21" fmla="*/ 280014 w 560027"/>
              <a:gd name="connsiteY21" fmla="*/ 527068 h 559338"/>
              <a:gd name="connsiteX22" fmla="*/ 527718 w 560027"/>
              <a:gd name="connsiteY22" fmla="*/ 279669 h 559338"/>
              <a:gd name="connsiteX23" fmla="*/ 280014 w 560027"/>
              <a:gd name="connsiteY23" fmla="*/ 32270 h 559338"/>
              <a:gd name="connsiteX24" fmla="*/ 280014 w 560027"/>
              <a:gd name="connsiteY24" fmla="*/ 0 h 559338"/>
              <a:gd name="connsiteX25" fmla="*/ 560027 w 560027"/>
              <a:gd name="connsiteY25" fmla="*/ 279669 h 559338"/>
              <a:gd name="connsiteX26" fmla="*/ 280014 w 560027"/>
              <a:gd name="connsiteY26" fmla="*/ 559338 h 559338"/>
              <a:gd name="connsiteX27" fmla="*/ 0 w 560027"/>
              <a:gd name="connsiteY27" fmla="*/ 279669 h 559338"/>
              <a:gd name="connsiteX28" fmla="*/ 280014 w 560027"/>
              <a:gd name="connsiteY28" fmla="*/ 0 h 5593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60027" h="559338">
                <a:moveTo>
                  <a:pt x="280014" y="326990"/>
                </a:moveTo>
                <a:cubicBezTo>
                  <a:pt x="310187" y="324844"/>
                  <a:pt x="338206" y="337718"/>
                  <a:pt x="357604" y="357029"/>
                </a:cubicBezTo>
                <a:cubicBezTo>
                  <a:pt x="374846" y="374195"/>
                  <a:pt x="387777" y="397797"/>
                  <a:pt x="392088" y="421400"/>
                </a:cubicBezTo>
                <a:cubicBezTo>
                  <a:pt x="370535" y="408526"/>
                  <a:pt x="353293" y="397797"/>
                  <a:pt x="333895" y="389215"/>
                </a:cubicBezTo>
                <a:cubicBezTo>
                  <a:pt x="316653" y="380632"/>
                  <a:pt x="299411" y="376341"/>
                  <a:pt x="282169" y="376341"/>
                </a:cubicBezTo>
                <a:cubicBezTo>
                  <a:pt x="264927" y="376341"/>
                  <a:pt x="247684" y="382778"/>
                  <a:pt x="228287" y="391360"/>
                </a:cubicBezTo>
                <a:cubicBezTo>
                  <a:pt x="208889" y="399943"/>
                  <a:pt x="189492" y="410672"/>
                  <a:pt x="167939" y="421400"/>
                </a:cubicBezTo>
                <a:cubicBezTo>
                  <a:pt x="174405" y="397797"/>
                  <a:pt x="187337" y="376341"/>
                  <a:pt x="206734" y="359175"/>
                </a:cubicBezTo>
                <a:cubicBezTo>
                  <a:pt x="226132" y="342010"/>
                  <a:pt x="251995" y="329135"/>
                  <a:pt x="280014" y="326990"/>
                </a:cubicBezTo>
                <a:close/>
                <a:moveTo>
                  <a:pt x="376915" y="150697"/>
                </a:moveTo>
                <a:cubicBezTo>
                  <a:pt x="401864" y="150697"/>
                  <a:pt x="422090" y="170923"/>
                  <a:pt x="422090" y="195872"/>
                </a:cubicBezTo>
                <a:cubicBezTo>
                  <a:pt x="422090" y="220821"/>
                  <a:pt x="401864" y="241047"/>
                  <a:pt x="376915" y="241047"/>
                </a:cubicBezTo>
                <a:cubicBezTo>
                  <a:pt x="351966" y="241047"/>
                  <a:pt x="331740" y="220821"/>
                  <a:pt x="331740" y="195872"/>
                </a:cubicBezTo>
                <a:cubicBezTo>
                  <a:pt x="331740" y="170923"/>
                  <a:pt x="351966" y="150697"/>
                  <a:pt x="376915" y="150697"/>
                </a:cubicBezTo>
                <a:close/>
                <a:moveTo>
                  <a:pt x="186389" y="150697"/>
                </a:moveTo>
                <a:cubicBezTo>
                  <a:pt x="212005" y="150697"/>
                  <a:pt x="232771" y="170923"/>
                  <a:pt x="232771" y="195872"/>
                </a:cubicBezTo>
                <a:cubicBezTo>
                  <a:pt x="232771" y="220821"/>
                  <a:pt x="212005" y="241047"/>
                  <a:pt x="186389" y="241047"/>
                </a:cubicBezTo>
                <a:cubicBezTo>
                  <a:pt x="160773" y="241047"/>
                  <a:pt x="140007" y="220821"/>
                  <a:pt x="140007" y="195872"/>
                </a:cubicBezTo>
                <a:cubicBezTo>
                  <a:pt x="140007" y="170923"/>
                  <a:pt x="160773" y="150697"/>
                  <a:pt x="186389" y="150697"/>
                </a:cubicBezTo>
                <a:close/>
                <a:moveTo>
                  <a:pt x="280014" y="32270"/>
                </a:moveTo>
                <a:cubicBezTo>
                  <a:pt x="144315" y="32270"/>
                  <a:pt x="32309" y="144137"/>
                  <a:pt x="32309" y="279669"/>
                </a:cubicBezTo>
                <a:cubicBezTo>
                  <a:pt x="32309" y="415201"/>
                  <a:pt x="144315" y="527068"/>
                  <a:pt x="280014" y="527068"/>
                </a:cubicBezTo>
                <a:cubicBezTo>
                  <a:pt x="415712" y="527068"/>
                  <a:pt x="527718" y="415201"/>
                  <a:pt x="527718" y="279669"/>
                </a:cubicBezTo>
                <a:cubicBezTo>
                  <a:pt x="527718" y="144137"/>
                  <a:pt x="415712" y="32270"/>
                  <a:pt x="280014" y="32270"/>
                </a:cubicBezTo>
                <a:close/>
                <a:moveTo>
                  <a:pt x="280014" y="0"/>
                </a:moveTo>
                <a:cubicBezTo>
                  <a:pt x="435098" y="0"/>
                  <a:pt x="560027" y="124775"/>
                  <a:pt x="560027" y="279669"/>
                </a:cubicBezTo>
                <a:cubicBezTo>
                  <a:pt x="560027" y="434563"/>
                  <a:pt x="435098" y="559338"/>
                  <a:pt x="280014" y="559338"/>
                </a:cubicBezTo>
                <a:cubicBezTo>
                  <a:pt x="124929" y="559338"/>
                  <a:pt x="0" y="434563"/>
                  <a:pt x="0" y="279669"/>
                </a:cubicBezTo>
                <a:cubicBezTo>
                  <a:pt x="0" y="124775"/>
                  <a:pt x="124929" y="0"/>
                  <a:pt x="280014" y="0"/>
                </a:cubicBezTo>
                <a:close/>
              </a:path>
            </a:pathLst>
          </a:custGeom>
          <a:solidFill>
            <a:srgbClr val="FFB535"/>
          </a:solidFill>
          <a:ln>
            <a:solidFill>
              <a:srgbClr val="FFB535"/>
            </a:solidFill>
          </a:ln>
        </p:spPr>
      </p:sp>
    </p:spTree>
    <p:extLst>
      <p:ext uri="{BB962C8B-B14F-4D97-AF65-F5344CB8AC3E}">
        <p14:creationId xmlns:p14="http://schemas.microsoft.com/office/powerpoint/2010/main" val="1111678504"/>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69924" y="528918"/>
            <a:ext cx="3728339" cy="499782"/>
          </a:xfrm>
        </p:spPr>
        <p:txBody>
          <a:bodyPr>
            <a:normAutofit fontScale="90000"/>
          </a:bodyPr>
          <a:lstStyle/>
          <a:p>
            <a:r>
              <a:rPr lang="zh-CN" altLang="en-US" dirty="0" smtClean="0"/>
              <a:t>实时监控系统</a:t>
            </a:r>
            <a:r>
              <a:rPr lang="en-US" altLang="zh-CN" dirty="0" smtClean="0"/>
              <a:t>——</a:t>
            </a:r>
            <a:r>
              <a:rPr lang="zh-CN" altLang="en-US" dirty="0" smtClean="0"/>
              <a:t>桌面端</a:t>
            </a:r>
            <a:endParaRPr lang="zh-CN" altLang="en-US" dirty="0"/>
          </a:p>
        </p:txBody>
      </p:sp>
      <p:sp>
        <p:nvSpPr>
          <p:cNvPr id="4" name="灯片编号占位符 3"/>
          <p:cNvSpPr>
            <a:spLocks noGrp="1"/>
          </p:cNvSpPr>
          <p:nvPr>
            <p:ph type="sldNum" sz="quarter" idx="12"/>
          </p:nvPr>
        </p:nvSpPr>
        <p:spPr/>
        <p:txBody>
          <a:bodyPr/>
          <a:lstStyle/>
          <a:p>
            <a:fld id="{5DD3DB80-B894-403A-B48E-6FDC1A72010E}" type="slidenum">
              <a:rPr lang="zh-CN" altLang="en-US" smtClean="0"/>
              <a:pPr/>
              <a:t>23</a:t>
            </a:fld>
            <a:endParaRPr lang="zh-CN" altLang="en-US" dirty="0"/>
          </a:p>
        </p:txBody>
      </p:sp>
      <p:pic>
        <p:nvPicPr>
          <p:cNvPr id="6" name="图片 5"/>
          <p:cNvPicPr>
            <a:picLocks noChangeAspect="1"/>
          </p:cNvPicPr>
          <p:nvPr/>
        </p:nvPicPr>
        <p:blipFill>
          <a:blip r:embed="rId2"/>
          <a:stretch>
            <a:fillRect/>
          </a:stretch>
        </p:blipFill>
        <p:spPr>
          <a:xfrm>
            <a:off x="6404161" y="2906479"/>
            <a:ext cx="5116326" cy="3540365"/>
          </a:xfrm>
          <a:prstGeom prst="rect">
            <a:avLst/>
          </a:prstGeom>
        </p:spPr>
      </p:pic>
      <p:sp>
        <p:nvSpPr>
          <p:cNvPr id="7" name="îṧ1íḑè">
            <a:extLst>
              <a:ext uri="{FF2B5EF4-FFF2-40B4-BE49-F238E27FC236}">
                <a16:creationId xmlns:a16="http://schemas.microsoft.com/office/drawing/2014/main" id="{FF362C47-0808-4071-A8C8-844287F8477B}"/>
              </a:ext>
            </a:extLst>
          </p:cNvPr>
          <p:cNvSpPr/>
          <p:nvPr/>
        </p:nvSpPr>
        <p:spPr bwMode="auto">
          <a:xfrm>
            <a:off x="6638564" y="2343666"/>
            <a:ext cx="775562" cy="112071"/>
          </a:xfrm>
          <a:custGeom>
            <a:avLst/>
            <a:gdLst>
              <a:gd name="T0" fmla="+- 0 10800 961"/>
              <a:gd name="T1" fmla="*/ T0 w 19679"/>
              <a:gd name="T2" fmla="+- 0 10800 961"/>
              <a:gd name="T3" fmla="*/ 10800 h 19679"/>
              <a:gd name="T4" fmla="+- 0 10800 961"/>
              <a:gd name="T5" fmla="*/ T4 w 19679"/>
              <a:gd name="T6" fmla="+- 0 10800 961"/>
              <a:gd name="T7" fmla="*/ 10800 h 19679"/>
              <a:gd name="T8" fmla="+- 0 10800 961"/>
              <a:gd name="T9" fmla="*/ T8 w 19679"/>
              <a:gd name="T10" fmla="+- 0 10800 961"/>
              <a:gd name="T11" fmla="*/ 10800 h 19679"/>
              <a:gd name="T12" fmla="+- 0 10800 961"/>
              <a:gd name="T13" fmla="*/ T12 w 19679"/>
              <a:gd name="T14" fmla="+- 0 10800 961"/>
              <a:gd name="T15" fmla="*/ 10800 h 19679"/>
            </a:gdLst>
            <a:ahLst/>
            <a:cxnLst>
              <a:cxn ang="0">
                <a:pos x="T1" y="T3"/>
              </a:cxn>
              <a:cxn ang="0">
                <a:pos x="T5" y="T7"/>
              </a:cxn>
              <a:cxn ang="0">
                <a:pos x="T9" y="T11"/>
              </a:cxn>
              <a:cxn ang="0">
                <a:pos x="T13" y="T15"/>
              </a:cxn>
            </a:cxnLst>
            <a:rect l="0" t="0" r="r" b="b"/>
            <a:pathLst>
              <a:path w="19679" h="19679">
                <a:moveTo>
                  <a:pt x="16796" y="2881"/>
                </a:moveTo>
                <a:cubicBezTo>
                  <a:pt x="20639" y="6724"/>
                  <a:pt x="20639" y="12953"/>
                  <a:pt x="16796" y="16796"/>
                </a:cubicBezTo>
                <a:cubicBezTo>
                  <a:pt x="12953" y="20638"/>
                  <a:pt x="6724" y="20638"/>
                  <a:pt x="2881" y="16796"/>
                </a:cubicBezTo>
                <a:cubicBezTo>
                  <a:pt x="-961" y="12953"/>
                  <a:pt x="-961" y="6724"/>
                  <a:pt x="2881" y="2881"/>
                </a:cubicBezTo>
                <a:cubicBezTo>
                  <a:pt x="6724" y="-961"/>
                  <a:pt x="12953" y="-961"/>
                  <a:pt x="16796" y="2881"/>
                </a:cubicBezTo>
                <a:close/>
              </a:path>
            </a:pathLst>
          </a:custGeom>
          <a:solidFill>
            <a:srgbClr val="53585F">
              <a:alpha val="26889"/>
            </a:srgbClr>
          </a:solidFill>
          <a:ln>
            <a:noFill/>
          </a:ln>
          <a:effectLst/>
          <a:extLst>
            <a:ext uri="{91240B29-F687-4F45-9708-019B960494DF}">
              <a14:hiddenLine xmlns:a14="http://schemas.microsoft.com/office/drawing/2010/main" w="12700" cap="flat" cmpd="sng">
                <a:solidFill>
                  <a:srgbClr val="000000"/>
                </a:solidFill>
                <a:prstDash val="solid"/>
                <a:miter lim="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nchor="ctr"/>
          <a:lstStyle/>
          <a:p>
            <a:pPr algn="ctr"/>
            <a:endParaRPr/>
          </a:p>
        </p:txBody>
      </p:sp>
      <p:sp>
        <p:nvSpPr>
          <p:cNvPr id="8" name="isḷíde">
            <a:extLst>
              <a:ext uri="{FF2B5EF4-FFF2-40B4-BE49-F238E27FC236}">
                <a16:creationId xmlns:a16="http://schemas.microsoft.com/office/drawing/2014/main" id="{0881EF50-F60B-4B60-84B2-90E1F2EAD257}"/>
              </a:ext>
            </a:extLst>
          </p:cNvPr>
          <p:cNvSpPr/>
          <p:nvPr/>
        </p:nvSpPr>
        <p:spPr bwMode="auto">
          <a:xfrm>
            <a:off x="6248753" y="1289337"/>
            <a:ext cx="1166400" cy="1166400"/>
          </a:xfrm>
          <a:prstGeom prst="ellipse">
            <a:avLst/>
          </a:prstGeom>
          <a:blipFill>
            <a:blip r:embed="rId3" cstate="email">
              <a:extLst>
                <a:ext uri="{28A0092B-C50C-407E-A947-70E740481C1C}">
                  <a14:useLocalDpi xmlns:a14="http://schemas.microsoft.com/office/drawing/2010/main"/>
                </a:ext>
              </a:extLst>
            </a:blip>
            <a:srcRect/>
            <a:stretch>
              <a:fillRect t="2989"/>
            </a:stretch>
          </a:blipFill>
          <a:ln w="12700" cap="flat" cmpd="sng" algn="ctr">
            <a:noFill/>
            <a:prstDash val="solid"/>
            <a:miter lim="800000"/>
          </a:ln>
          <a:effectLst/>
          <a:extLst>
            <a:ext uri="{91240B29-F687-4F45-9708-019B960494DF}">
              <a14:hiddenLine xmlns:a14="http://schemas.microsoft.com/office/drawing/2010/main"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zh-CN" altLang="en-US" dirty="0">
              <a:solidFill>
                <a:schemeClr val="lt1"/>
              </a:solidFill>
            </a:endParaRPr>
          </a:p>
        </p:txBody>
      </p:sp>
      <p:sp>
        <p:nvSpPr>
          <p:cNvPr id="9" name="iṧlíḑè">
            <a:extLst>
              <a:ext uri="{FF2B5EF4-FFF2-40B4-BE49-F238E27FC236}">
                <a16:creationId xmlns:a16="http://schemas.microsoft.com/office/drawing/2014/main" id="{45AA225B-5F9F-4D4D-8E22-6EFDE9D114B2}"/>
              </a:ext>
            </a:extLst>
          </p:cNvPr>
          <p:cNvSpPr/>
          <p:nvPr/>
        </p:nvSpPr>
        <p:spPr>
          <a:xfrm>
            <a:off x="7096501" y="1202406"/>
            <a:ext cx="540000" cy="540000"/>
          </a:xfrm>
          <a:prstGeom prst="ellipse">
            <a:avLst/>
          </a:prstGeom>
          <a:solidFill>
            <a:schemeClr val="accent2"/>
          </a:solidFill>
          <a:ln w="3810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zh-CN"/>
            </a:defPPr>
            <a:lvl1pPr marL="0" algn="l" defTabSz="914377" rtl="0" eaLnBrk="1" latinLnBrk="0" hangingPunct="1">
              <a:defRPr sz="1800" kern="1200">
                <a:solidFill>
                  <a:schemeClr val="lt1"/>
                </a:solidFill>
              </a:defRPr>
            </a:lvl1pPr>
            <a:lvl2pPr marL="457189" algn="l" defTabSz="914377" rtl="0" eaLnBrk="1" latinLnBrk="0" hangingPunct="1">
              <a:defRPr sz="1800" kern="1200">
                <a:solidFill>
                  <a:schemeClr val="lt1"/>
                </a:solidFill>
              </a:defRPr>
            </a:lvl2pPr>
            <a:lvl3pPr marL="914377" algn="l" defTabSz="914377" rtl="0" eaLnBrk="1" latinLnBrk="0" hangingPunct="1">
              <a:defRPr sz="1800" kern="1200">
                <a:solidFill>
                  <a:schemeClr val="lt1"/>
                </a:solidFill>
              </a:defRPr>
            </a:lvl3pPr>
            <a:lvl4pPr marL="1371566" algn="l" defTabSz="914377" rtl="0" eaLnBrk="1" latinLnBrk="0" hangingPunct="1">
              <a:defRPr sz="1800" kern="1200">
                <a:solidFill>
                  <a:schemeClr val="lt1"/>
                </a:solidFill>
              </a:defRPr>
            </a:lvl4pPr>
            <a:lvl5pPr marL="1828754" algn="l" defTabSz="914377" rtl="0" eaLnBrk="1" latinLnBrk="0" hangingPunct="1">
              <a:defRPr sz="1800" kern="1200">
                <a:solidFill>
                  <a:schemeClr val="lt1"/>
                </a:solidFill>
              </a:defRPr>
            </a:lvl5pPr>
            <a:lvl6pPr marL="2285943" algn="l" defTabSz="914377" rtl="0" eaLnBrk="1" latinLnBrk="0" hangingPunct="1">
              <a:defRPr sz="1800" kern="1200">
                <a:solidFill>
                  <a:schemeClr val="lt1"/>
                </a:solidFill>
              </a:defRPr>
            </a:lvl6pPr>
            <a:lvl7pPr marL="2743131" algn="l" defTabSz="914377" rtl="0" eaLnBrk="1" latinLnBrk="0" hangingPunct="1">
              <a:defRPr sz="1800" kern="1200">
                <a:solidFill>
                  <a:schemeClr val="lt1"/>
                </a:solidFill>
              </a:defRPr>
            </a:lvl7pPr>
            <a:lvl8pPr marL="3200320" algn="l" defTabSz="914377" rtl="0" eaLnBrk="1" latinLnBrk="0" hangingPunct="1">
              <a:defRPr sz="1800" kern="1200">
                <a:solidFill>
                  <a:schemeClr val="lt1"/>
                </a:solidFill>
              </a:defRPr>
            </a:lvl8pPr>
            <a:lvl9pPr marL="3657509" algn="l" defTabSz="914377" rtl="0" eaLnBrk="1" latinLnBrk="0" hangingPunct="1">
              <a:defRPr sz="1800" kern="1200">
                <a:solidFill>
                  <a:schemeClr val="lt1"/>
                </a:solidFill>
              </a:defRPr>
            </a:lvl9pPr>
          </a:lstStyle>
          <a:p>
            <a:pPr algn="ctr"/>
            <a:endParaRPr dirty="0"/>
          </a:p>
        </p:txBody>
      </p:sp>
      <p:sp>
        <p:nvSpPr>
          <p:cNvPr id="10" name="işḻide">
            <a:extLst>
              <a:ext uri="{FF2B5EF4-FFF2-40B4-BE49-F238E27FC236}">
                <a16:creationId xmlns:a16="http://schemas.microsoft.com/office/drawing/2014/main" id="{9AB622BF-D68E-401C-8103-CC8A17F45520}"/>
              </a:ext>
            </a:extLst>
          </p:cNvPr>
          <p:cNvSpPr/>
          <p:nvPr/>
        </p:nvSpPr>
        <p:spPr>
          <a:xfrm>
            <a:off x="7232377" y="1344490"/>
            <a:ext cx="268250" cy="255828"/>
          </a:xfrm>
          <a:custGeom>
            <a:avLst/>
            <a:gdLst>
              <a:gd name="connsiteX0" fmla="*/ 315778 w 607639"/>
              <a:gd name="connsiteY0" fmla="*/ 173080 h 579502"/>
              <a:gd name="connsiteX1" fmla="*/ 315778 w 607639"/>
              <a:gd name="connsiteY1" fmla="*/ 266058 h 579502"/>
              <a:gd name="connsiteX2" fmla="*/ 303493 w 607639"/>
              <a:gd name="connsiteY2" fmla="*/ 278325 h 579502"/>
              <a:gd name="connsiteX3" fmla="*/ 210375 w 607639"/>
              <a:gd name="connsiteY3" fmla="*/ 278325 h 579502"/>
              <a:gd name="connsiteX4" fmla="*/ 303493 w 607639"/>
              <a:gd name="connsiteY4" fmla="*/ 359925 h 579502"/>
              <a:gd name="connsiteX5" fmla="*/ 397500 w 607639"/>
              <a:gd name="connsiteY5" fmla="*/ 266058 h 579502"/>
              <a:gd name="connsiteX6" fmla="*/ 315778 w 607639"/>
              <a:gd name="connsiteY6" fmla="*/ 173080 h 579502"/>
              <a:gd name="connsiteX7" fmla="*/ 249814 w 607639"/>
              <a:gd name="connsiteY7" fmla="*/ 160816 h 579502"/>
              <a:gd name="connsiteX8" fmla="*/ 198110 w 607639"/>
              <a:gd name="connsiteY8" fmla="*/ 212449 h 579502"/>
              <a:gd name="connsiteX9" fmla="*/ 249814 w 607639"/>
              <a:gd name="connsiteY9" fmla="*/ 212449 h 579502"/>
              <a:gd name="connsiteX10" fmla="*/ 303493 w 607639"/>
              <a:gd name="connsiteY10" fmla="*/ 147835 h 579502"/>
              <a:gd name="connsiteX11" fmla="*/ 421981 w 607639"/>
              <a:gd name="connsiteY11" fmla="*/ 266058 h 579502"/>
              <a:gd name="connsiteX12" fmla="*/ 303493 w 607639"/>
              <a:gd name="connsiteY12" fmla="*/ 384370 h 579502"/>
              <a:gd name="connsiteX13" fmla="*/ 185093 w 607639"/>
              <a:gd name="connsiteY13" fmla="*/ 266058 h 579502"/>
              <a:gd name="connsiteX14" fmla="*/ 197289 w 607639"/>
              <a:gd name="connsiteY14" fmla="*/ 253880 h 579502"/>
              <a:gd name="connsiteX15" fmla="*/ 291297 w 607639"/>
              <a:gd name="connsiteY15" fmla="*/ 253880 h 579502"/>
              <a:gd name="connsiteX16" fmla="*/ 291297 w 607639"/>
              <a:gd name="connsiteY16" fmla="*/ 160013 h 579502"/>
              <a:gd name="connsiteX17" fmla="*/ 303493 w 607639"/>
              <a:gd name="connsiteY17" fmla="*/ 147835 h 579502"/>
              <a:gd name="connsiteX18" fmla="*/ 262095 w 607639"/>
              <a:gd name="connsiteY18" fmla="*/ 135133 h 579502"/>
              <a:gd name="connsiteX19" fmla="*/ 274287 w 607639"/>
              <a:gd name="connsiteY19" fmla="*/ 147397 h 579502"/>
              <a:gd name="connsiteX20" fmla="*/ 274287 w 607639"/>
              <a:gd name="connsiteY20" fmla="*/ 224713 h 579502"/>
              <a:gd name="connsiteX21" fmla="*/ 262095 w 607639"/>
              <a:gd name="connsiteY21" fmla="*/ 236888 h 579502"/>
              <a:gd name="connsiteX22" fmla="*/ 184672 w 607639"/>
              <a:gd name="connsiteY22" fmla="*/ 236888 h 579502"/>
              <a:gd name="connsiteX23" fmla="*/ 172391 w 607639"/>
              <a:gd name="connsiteY23" fmla="*/ 224713 h 579502"/>
              <a:gd name="connsiteX24" fmla="*/ 262095 w 607639"/>
              <a:gd name="connsiteY24" fmla="*/ 135133 h 579502"/>
              <a:gd name="connsiteX25" fmla="*/ 58120 w 607639"/>
              <a:gd name="connsiteY25" fmla="*/ 108514 h 579502"/>
              <a:gd name="connsiteX26" fmla="*/ 58120 w 607639"/>
              <a:gd name="connsiteY26" fmla="*/ 413970 h 579502"/>
              <a:gd name="connsiteX27" fmla="*/ 549430 w 607639"/>
              <a:gd name="connsiteY27" fmla="*/ 413970 h 579502"/>
              <a:gd name="connsiteX28" fmla="*/ 549430 w 607639"/>
              <a:gd name="connsiteY28" fmla="*/ 108514 h 579502"/>
              <a:gd name="connsiteX29" fmla="*/ 27236 w 607639"/>
              <a:gd name="connsiteY29" fmla="*/ 56079 h 579502"/>
              <a:gd name="connsiteX30" fmla="*/ 27236 w 607639"/>
              <a:gd name="connsiteY30" fmla="*/ 81319 h 579502"/>
              <a:gd name="connsiteX31" fmla="*/ 580403 w 607639"/>
              <a:gd name="connsiteY31" fmla="*/ 81319 h 579502"/>
              <a:gd name="connsiteX32" fmla="*/ 580403 w 607639"/>
              <a:gd name="connsiteY32" fmla="*/ 56079 h 579502"/>
              <a:gd name="connsiteX33" fmla="*/ 303775 w 607639"/>
              <a:gd name="connsiteY33" fmla="*/ 0 h 579502"/>
              <a:gd name="connsiteX34" fmla="*/ 317393 w 607639"/>
              <a:gd name="connsiteY34" fmla="*/ 13597 h 579502"/>
              <a:gd name="connsiteX35" fmla="*/ 317393 w 607639"/>
              <a:gd name="connsiteY35" fmla="*/ 28884 h 579502"/>
              <a:gd name="connsiteX36" fmla="*/ 580403 w 607639"/>
              <a:gd name="connsiteY36" fmla="*/ 28884 h 579502"/>
              <a:gd name="connsiteX37" fmla="*/ 607639 w 607639"/>
              <a:gd name="connsiteY37" fmla="*/ 56079 h 579502"/>
              <a:gd name="connsiteX38" fmla="*/ 607639 w 607639"/>
              <a:gd name="connsiteY38" fmla="*/ 81319 h 579502"/>
              <a:gd name="connsiteX39" fmla="*/ 580403 w 607639"/>
              <a:gd name="connsiteY39" fmla="*/ 108514 h 579502"/>
              <a:gd name="connsiteX40" fmla="*/ 576665 w 607639"/>
              <a:gd name="connsiteY40" fmla="*/ 108514 h 579502"/>
              <a:gd name="connsiteX41" fmla="*/ 576665 w 607639"/>
              <a:gd name="connsiteY41" fmla="*/ 413970 h 579502"/>
              <a:gd name="connsiteX42" fmla="*/ 549430 w 607639"/>
              <a:gd name="connsiteY42" fmla="*/ 441165 h 579502"/>
              <a:gd name="connsiteX43" fmla="*/ 317393 w 607639"/>
              <a:gd name="connsiteY43" fmla="*/ 441165 h 579502"/>
              <a:gd name="connsiteX44" fmla="*/ 317393 w 607639"/>
              <a:gd name="connsiteY44" fmla="*/ 481069 h 579502"/>
              <a:gd name="connsiteX45" fmla="*/ 418236 w 607639"/>
              <a:gd name="connsiteY45" fmla="*/ 554923 h 579502"/>
              <a:gd name="connsiteX46" fmla="*/ 421173 w 607639"/>
              <a:gd name="connsiteY46" fmla="*/ 573942 h 579502"/>
              <a:gd name="connsiteX47" fmla="*/ 410225 w 607639"/>
              <a:gd name="connsiteY47" fmla="*/ 579452 h 579502"/>
              <a:gd name="connsiteX48" fmla="*/ 402215 w 607639"/>
              <a:gd name="connsiteY48" fmla="*/ 576874 h 579502"/>
              <a:gd name="connsiteX49" fmla="*/ 317393 w 607639"/>
              <a:gd name="connsiteY49" fmla="*/ 514752 h 579502"/>
              <a:gd name="connsiteX50" fmla="*/ 317393 w 607639"/>
              <a:gd name="connsiteY50" fmla="*/ 565854 h 579502"/>
              <a:gd name="connsiteX51" fmla="*/ 303775 w 607639"/>
              <a:gd name="connsiteY51" fmla="*/ 579452 h 579502"/>
              <a:gd name="connsiteX52" fmla="*/ 290157 w 607639"/>
              <a:gd name="connsiteY52" fmla="*/ 565854 h 579502"/>
              <a:gd name="connsiteX53" fmla="*/ 290157 w 607639"/>
              <a:gd name="connsiteY53" fmla="*/ 514752 h 579502"/>
              <a:gd name="connsiteX54" fmla="*/ 205424 w 607639"/>
              <a:gd name="connsiteY54" fmla="*/ 576874 h 579502"/>
              <a:gd name="connsiteX55" fmla="*/ 186377 w 607639"/>
              <a:gd name="connsiteY55" fmla="*/ 573942 h 579502"/>
              <a:gd name="connsiteX56" fmla="*/ 189314 w 607639"/>
              <a:gd name="connsiteY56" fmla="*/ 554923 h 579502"/>
              <a:gd name="connsiteX57" fmla="*/ 290157 w 607639"/>
              <a:gd name="connsiteY57" fmla="*/ 481069 h 579502"/>
              <a:gd name="connsiteX58" fmla="*/ 290157 w 607639"/>
              <a:gd name="connsiteY58" fmla="*/ 441165 h 579502"/>
              <a:gd name="connsiteX59" fmla="*/ 58120 w 607639"/>
              <a:gd name="connsiteY59" fmla="*/ 441165 h 579502"/>
              <a:gd name="connsiteX60" fmla="*/ 30885 w 607639"/>
              <a:gd name="connsiteY60" fmla="*/ 413970 h 579502"/>
              <a:gd name="connsiteX61" fmla="*/ 30885 w 607639"/>
              <a:gd name="connsiteY61" fmla="*/ 108514 h 579502"/>
              <a:gd name="connsiteX62" fmla="*/ 27236 w 607639"/>
              <a:gd name="connsiteY62" fmla="*/ 108514 h 579502"/>
              <a:gd name="connsiteX63" fmla="*/ 0 w 607639"/>
              <a:gd name="connsiteY63" fmla="*/ 81319 h 579502"/>
              <a:gd name="connsiteX64" fmla="*/ 0 w 607639"/>
              <a:gd name="connsiteY64" fmla="*/ 56079 h 579502"/>
              <a:gd name="connsiteX65" fmla="*/ 27236 w 607639"/>
              <a:gd name="connsiteY65" fmla="*/ 28884 h 579502"/>
              <a:gd name="connsiteX66" fmla="*/ 290157 w 607639"/>
              <a:gd name="connsiteY66" fmla="*/ 28884 h 579502"/>
              <a:gd name="connsiteX67" fmla="*/ 290157 w 607639"/>
              <a:gd name="connsiteY67" fmla="*/ 13597 h 579502"/>
              <a:gd name="connsiteX68" fmla="*/ 303775 w 607639"/>
              <a:gd name="connsiteY68" fmla="*/ 0 h 5795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07639" h="579502">
                <a:moveTo>
                  <a:pt x="315778" y="173080"/>
                </a:moveTo>
                <a:lnTo>
                  <a:pt x="315778" y="266058"/>
                </a:lnTo>
                <a:cubicBezTo>
                  <a:pt x="315778" y="272814"/>
                  <a:pt x="310258" y="278325"/>
                  <a:pt x="303493" y="278325"/>
                </a:cubicBezTo>
                <a:lnTo>
                  <a:pt x="210375" y="278325"/>
                </a:lnTo>
                <a:cubicBezTo>
                  <a:pt x="216429" y="324281"/>
                  <a:pt x="255866" y="359925"/>
                  <a:pt x="303493" y="359925"/>
                </a:cubicBezTo>
                <a:cubicBezTo>
                  <a:pt x="355303" y="359925"/>
                  <a:pt x="397500" y="317792"/>
                  <a:pt x="397500" y="266058"/>
                </a:cubicBezTo>
                <a:cubicBezTo>
                  <a:pt x="397500" y="218502"/>
                  <a:pt x="361802" y="179124"/>
                  <a:pt x="315778" y="173080"/>
                </a:cubicBezTo>
                <a:close/>
                <a:moveTo>
                  <a:pt x="249814" y="160816"/>
                </a:moveTo>
                <a:cubicBezTo>
                  <a:pt x="223740" y="165793"/>
                  <a:pt x="203093" y="186410"/>
                  <a:pt x="198110" y="212449"/>
                </a:cubicBezTo>
                <a:lnTo>
                  <a:pt x="249814" y="212449"/>
                </a:lnTo>
                <a:close/>
                <a:moveTo>
                  <a:pt x="303493" y="147835"/>
                </a:moveTo>
                <a:cubicBezTo>
                  <a:pt x="368835" y="147835"/>
                  <a:pt x="421981" y="200902"/>
                  <a:pt x="421981" y="266058"/>
                </a:cubicBezTo>
                <a:cubicBezTo>
                  <a:pt x="421981" y="331303"/>
                  <a:pt x="368835" y="384370"/>
                  <a:pt x="303493" y="384370"/>
                </a:cubicBezTo>
                <a:cubicBezTo>
                  <a:pt x="238239" y="384370"/>
                  <a:pt x="185093" y="331303"/>
                  <a:pt x="185093" y="266058"/>
                </a:cubicBezTo>
                <a:cubicBezTo>
                  <a:pt x="185093" y="259303"/>
                  <a:pt x="190523" y="253880"/>
                  <a:pt x="197289" y="253880"/>
                </a:cubicBezTo>
                <a:lnTo>
                  <a:pt x="291297" y="253880"/>
                </a:lnTo>
                <a:lnTo>
                  <a:pt x="291297" y="160013"/>
                </a:lnTo>
                <a:cubicBezTo>
                  <a:pt x="291297" y="153257"/>
                  <a:pt x="296727" y="147835"/>
                  <a:pt x="303493" y="147835"/>
                </a:cubicBezTo>
                <a:close/>
                <a:moveTo>
                  <a:pt x="262095" y="135133"/>
                </a:moveTo>
                <a:cubicBezTo>
                  <a:pt x="268859" y="135133"/>
                  <a:pt x="274287" y="140643"/>
                  <a:pt x="274287" y="147397"/>
                </a:cubicBezTo>
                <a:lnTo>
                  <a:pt x="274287" y="224713"/>
                </a:lnTo>
                <a:cubicBezTo>
                  <a:pt x="274287" y="231467"/>
                  <a:pt x="268859" y="236888"/>
                  <a:pt x="262095" y="236888"/>
                </a:cubicBezTo>
                <a:lnTo>
                  <a:pt x="184672" y="236888"/>
                </a:lnTo>
                <a:cubicBezTo>
                  <a:pt x="177909" y="236888"/>
                  <a:pt x="172391" y="231467"/>
                  <a:pt x="172391" y="224713"/>
                </a:cubicBezTo>
                <a:cubicBezTo>
                  <a:pt x="172391" y="175302"/>
                  <a:pt x="212616" y="135133"/>
                  <a:pt x="262095" y="135133"/>
                </a:cubicBezTo>
                <a:close/>
                <a:moveTo>
                  <a:pt x="58120" y="108514"/>
                </a:moveTo>
                <a:lnTo>
                  <a:pt x="58120" y="413970"/>
                </a:lnTo>
                <a:lnTo>
                  <a:pt x="549430" y="413970"/>
                </a:lnTo>
                <a:lnTo>
                  <a:pt x="549430" y="108514"/>
                </a:lnTo>
                <a:close/>
                <a:moveTo>
                  <a:pt x="27236" y="56079"/>
                </a:moveTo>
                <a:lnTo>
                  <a:pt x="27236" y="81319"/>
                </a:lnTo>
                <a:lnTo>
                  <a:pt x="580403" y="81319"/>
                </a:lnTo>
                <a:lnTo>
                  <a:pt x="580403" y="56079"/>
                </a:lnTo>
                <a:close/>
                <a:moveTo>
                  <a:pt x="303775" y="0"/>
                </a:moveTo>
                <a:cubicBezTo>
                  <a:pt x="311341" y="0"/>
                  <a:pt x="317393" y="6132"/>
                  <a:pt x="317393" y="13597"/>
                </a:cubicBezTo>
                <a:lnTo>
                  <a:pt x="317393" y="28884"/>
                </a:lnTo>
                <a:lnTo>
                  <a:pt x="580403" y="28884"/>
                </a:lnTo>
                <a:cubicBezTo>
                  <a:pt x="595356" y="28884"/>
                  <a:pt x="607639" y="41148"/>
                  <a:pt x="607639" y="56079"/>
                </a:cubicBezTo>
                <a:lnTo>
                  <a:pt x="607639" y="81319"/>
                </a:lnTo>
                <a:cubicBezTo>
                  <a:pt x="607639" y="96338"/>
                  <a:pt x="595356" y="108514"/>
                  <a:pt x="580403" y="108514"/>
                </a:cubicBezTo>
                <a:lnTo>
                  <a:pt x="576665" y="108514"/>
                </a:lnTo>
                <a:lnTo>
                  <a:pt x="576665" y="413970"/>
                </a:lnTo>
                <a:cubicBezTo>
                  <a:pt x="576665" y="428990"/>
                  <a:pt x="564472" y="441165"/>
                  <a:pt x="549430" y="441165"/>
                </a:cubicBezTo>
                <a:lnTo>
                  <a:pt x="317393" y="441165"/>
                </a:lnTo>
                <a:lnTo>
                  <a:pt x="317393" y="481069"/>
                </a:lnTo>
                <a:lnTo>
                  <a:pt x="418236" y="554923"/>
                </a:lnTo>
                <a:cubicBezTo>
                  <a:pt x="424377" y="559366"/>
                  <a:pt x="425623" y="567898"/>
                  <a:pt x="421173" y="573942"/>
                </a:cubicBezTo>
                <a:cubicBezTo>
                  <a:pt x="418503" y="577585"/>
                  <a:pt x="414409" y="579452"/>
                  <a:pt x="410225" y="579452"/>
                </a:cubicBezTo>
                <a:cubicBezTo>
                  <a:pt x="407466" y="579452"/>
                  <a:pt x="404618" y="578652"/>
                  <a:pt x="402215" y="576874"/>
                </a:cubicBezTo>
                <a:lnTo>
                  <a:pt x="317393" y="514752"/>
                </a:lnTo>
                <a:lnTo>
                  <a:pt x="317393" y="565854"/>
                </a:lnTo>
                <a:cubicBezTo>
                  <a:pt x="317393" y="573408"/>
                  <a:pt x="311341" y="579452"/>
                  <a:pt x="303775" y="579452"/>
                </a:cubicBezTo>
                <a:cubicBezTo>
                  <a:pt x="296299" y="579452"/>
                  <a:pt x="290157" y="573408"/>
                  <a:pt x="290157" y="565854"/>
                </a:cubicBezTo>
                <a:lnTo>
                  <a:pt x="290157" y="514752"/>
                </a:lnTo>
                <a:lnTo>
                  <a:pt x="205424" y="576874"/>
                </a:lnTo>
                <a:cubicBezTo>
                  <a:pt x="199372" y="581318"/>
                  <a:pt x="190827" y="579985"/>
                  <a:pt x="186377" y="573942"/>
                </a:cubicBezTo>
                <a:cubicBezTo>
                  <a:pt x="181927" y="567898"/>
                  <a:pt x="183262" y="559366"/>
                  <a:pt x="189314" y="554923"/>
                </a:cubicBezTo>
                <a:lnTo>
                  <a:pt x="290157" y="481069"/>
                </a:lnTo>
                <a:lnTo>
                  <a:pt x="290157" y="441165"/>
                </a:lnTo>
                <a:lnTo>
                  <a:pt x="58120" y="441165"/>
                </a:lnTo>
                <a:cubicBezTo>
                  <a:pt x="43167" y="441165"/>
                  <a:pt x="30885" y="428990"/>
                  <a:pt x="30885" y="413970"/>
                </a:cubicBezTo>
                <a:lnTo>
                  <a:pt x="30885" y="108514"/>
                </a:lnTo>
                <a:lnTo>
                  <a:pt x="27236" y="108514"/>
                </a:lnTo>
                <a:cubicBezTo>
                  <a:pt x="12194" y="108514"/>
                  <a:pt x="0" y="96338"/>
                  <a:pt x="0" y="81319"/>
                </a:cubicBezTo>
                <a:lnTo>
                  <a:pt x="0" y="56079"/>
                </a:lnTo>
                <a:cubicBezTo>
                  <a:pt x="0" y="41148"/>
                  <a:pt x="12194" y="28884"/>
                  <a:pt x="27236" y="28884"/>
                </a:cubicBezTo>
                <a:lnTo>
                  <a:pt x="290157" y="28884"/>
                </a:lnTo>
                <a:lnTo>
                  <a:pt x="290157" y="13597"/>
                </a:lnTo>
                <a:cubicBezTo>
                  <a:pt x="290157" y="6132"/>
                  <a:pt x="296299" y="0"/>
                  <a:pt x="303775" y="0"/>
                </a:cubicBezTo>
                <a:close/>
              </a:path>
            </a:pathLst>
          </a:custGeom>
          <a:solidFill>
            <a:schemeClr val="bg1"/>
          </a:solidFill>
          <a:ln>
            <a:noFill/>
          </a:ln>
          <a:effectLst/>
        </p:spPr>
        <p:txBody>
          <a:bodyPr anchor="ct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algn="ctr"/>
            <a:endParaRPr/>
          </a:p>
        </p:txBody>
      </p:sp>
      <p:sp>
        <p:nvSpPr>
          <p:cNvPr id="11" name="ïšḷíḑê">
            <a:extLst>
              <a:ext uri="{FF2B5EF4-FFF2-40B4-BE49-F238E27FC236}">
                <a16:creationId xmlns:a16="http://schemas.microsoft.com/office/drawing/2014/main" id="{5573ABB9-CED9-48DF-940C-62F35EEA1236}"/>
              </a:ext>
            </a:extLst>
          </p:cNvPr>
          <p:cNvSpPr txBox="1"/>
          <p:nvPr/>
        </p:nvSpPr>
        <p:spPr>
          <a:xfrm>
            <a:off x="7803937" y="1674227"/>
            <a:ext cx="3779304" cy="1102550"/>
          </a:xfrm>
          <a:prstGeom prst="rect">
            <a:avLst/>
          </a:prstGeom>
          <a:noFill/>
        </p:spPr>
        <p:txBody>
          <a:bodyPr wrap="square" lIns="90000" tIns="46800" rIns="90000" bIns="46800" rtlCol="0">
            <a:normAutofit/>
          </a:bodyPr>
          <a:lstStyle/>
          <a:p>
            <a:pPr marL="171450" indent="-171450">
              <a:lnSpc>
                <a:spcPct val="150000"/>
              </a:lnSpc>
              <a:buFont typeface="Arial" panose="020B0604020202020204" pitchFamily="34" charset="0"/>
              <a:buChar char="•"/>
            </a:pPr>
            <a:r>
              <a:rPr lang="zh-CN" altLang="en-US" sz="1000" dirty="0" smtClean="0">
                <a:latin typeface="+mn-ea"/>
              </a:rPr>
              <a:t>支持大屏、远程实时监控，灵活快捷</a:t>
            </a:r>
            <a:endParaRPr lang="en-US" altLang="zh-CN" sz="1000" dirty="0">
              <a:latin typeface="+mn-ea"/>
            </a:endParaRPr>
          </a:p>
          <a:p>
            <a:pPr marL="171450" indent="-171450">
              <a:lnSpc>
                <a:spcPct val="150000"/>
              </a:lnSpc>
              <a:buFont typeface="Arial" panose="020B0604020202020204" pitchFamily="34" charset="0"/>
              <a:buChar char="•"/>
            </a:pPr>
            <a:r>
              <a:rPr lang="zh-CN" altLang="en-US" sz="1000" dirty="0" smtClean="0">
                <a:latin typeface="+mn-ea"/>
              </a:rPr>
              <a:t>发生错误，</a:t>
            </a:r>
            <a:r>
              <a:rPr lang="zh-CN" altLang="en-US" sz="1000" dirty="0">
                <a:latin typeface="+mn-ea"/>
              </a:rPr>
              <a:t>系统会立即利用报警灯、接驳台启停装置发起警报、中断生产，实现了真正</a:t>
            </a:r>
            <a:r>
              <a:rPr lang="zh-CN" altLang="en-US" sz="1000" dirty="0" smtClean="0">
                <a:latin typeface="+mn-ea"/>
              </a:rPr>
              <a:t>自动化</a:t>
            </a:r>
            <a:endParaRPr lang="zh-CN" altLang="en-US" sz="1000" dirty="0">
              <a:latin typeface="+mn-ea"/>
            </a:endParaRPr>
          </a:p>
        </p:txBody>
      </p:sp>
      <p:sp>
        <p:nvSpPr>
          <p:cNvPr id="12" name="i$ḷîďê">
            <a:extLst>
              <a:ext uri="{FF2B5EF4-FFF2-40B4-BE49-F238E27FC236}">
                <a16:creationId xmlns:a16="http://schemas.microsoft.com/office/drawing/2014/main" id="{BAD6BA88-ECC2-436B-A39C-B8C4A4BF0424}"/>
              </a:ext>
            </a:extLst>
          </p:cNvPr>
          <p:cNvSpPr txBox="1"/>
          <p:nvPr/>
        </p:nvSpPr>
        <p:spPr>
          <a:xfrm>
            <a:off x="7803937" y="1202406"/>
            <a:ext cx="3779304" cy="471820"/>
          </a:xfrm>
          <a:prstGeom prst="rect">
            <a:avLst/>
          </a:prstGeom>
          <a:noFill/>
        </p:spPr>
        <p:txBody>
          <a:bodyPr wrap="none" rtlCol="0" anchor="ctr">
            <a:normAutofit/>
          </a:bodyPr>
          <a:lstStyle/>
          <a:p>
            <a:pPr lvl="0" defTabSz="914378">
              <a:spcBef>
                <a:spcPct val="0"/>
              </a:spcBef>
              <a:defRPr/>
            </a:pPr>
            <a:r>
              <a:rPr lang="zh-CN" altLang="en-US" sz="1600" b="1" dirty="0">
                <a:solidFill>
                  <a:srgbClr val="FFB535"/>
                </a:solidFill>
              </a:rPr>
              <a:t>实时监控系统</a:t>
            </a:r>
          </a:p>
        </p:txBody>
      </p:sp>
      <p:cxnSp>
        <p:nvCxnSpPr>
          <p:cNvPr id="13" name="直接连接符 12">
            <a:extLst>
              <a:ext uri="{FF2B5EF4-FFF2-40B4-BE49-F238E27FC236}">
                <a16:creationId xmlns:a16="http://schemas.microsoft.com/office/drawing/2014/main" id="{243C7FE1-F7A8-44CE-8136-DEC5F7E67FDF}"/>
              </a:ext>
            </a:extLst>
          </p:cNvPr>
          <p:cNvCxnSpPr>
            <a:cxnSpLocks/>
          </p:cNvCxnSpPr>
          <p:nvPr/>
        </p:nvCxnSpPr>
        <p:spPr>
          <a:xfrm>
            <a:off x="7913753" y="2776777"/>
            <a:ext cx="3550873" cy="0"/>
          </a:xfrm>
          <a:prstGeom prst="line">
            <a:avLst/>
          </a:prstGeom>
          <a:ln w="3175" cap="rnd">
            <a:solidFill>
              <a:schemeClr val="bg1">
                <a:lumMod val="85000"/>
              </a:schemeClr>
            </a:solidFill>
            <a:round/>
            <a:headEnd type="none"/>
            <a:tailEnd type="none" w="med" len="med"/>
          </a:ln>
        </p:spPr>
        <p:style>
          <a:lnRef idx="1">
            <a:schemeClr val="accent1"/>
          </a:lnRef>
          <a:fillRef idx="0">
            <a:schemeClr val="accent1"/>
          </a:fillRef>
          <a:effectRef idx="0">
            <a:schemeClr val="accent1"/>
          </a:effectRef>
          <a:fontRef idx="minor">
            <a:schemeClr val="tx1"/>
          </a:fontRef>
        </p:style>
      </p:cxnSp>
      <p:sp>
        <p:nvSpPr>
          <p:cNvPr id="14" name="i$ḷîďê">
            <a:extLst>
              <a:ext uri="{FF2B5EF4-FFF2-40B4-BE49-F238E27FC236}">
                <a16:creationId xmlns:a16="http://schemas.microsoft.com/office/drawing/2014/main" id="{BAD6BA88-ECC2-436B-A39C-B8C4A4BF0424}"/>
              </a:ext>
            </a:extLst>
          </p:cNvPr>
          <p:cNvSpPr txBox="1"/>
          <p:nvPr/>
        </p:nvSpPr>
        <p:spPr>
          <a:xfrm>
            <a:off x="1818782" y="6004553"/>
            <a:ext cx="1892607" cy="471820"/>
          </a:xfrm>
          <a:prstGeom prst="rect">
            <a:avLst/>
          </a:prstGeom>
          <a:noFill/>
        </p:spPr>
        <p:txBody>
          <a:bodyPr wrap="none" rtlCol="0" anchor="ctr">
            <a:noAutofit/>
          </a:bodyPr>
          <a:lstStyle/>
          <a:p>
            <a:pPr lvl="0" defTabSz="914378">
              <a:spcBef>
                <a:spcPct val="0"/>
              </a:spcBef>
              <a:defRPr/>
            </a:pPr>
            <a:r>
              <a:rPr lang="zh-CN" altLang="en-US" b="1" dirty="0" smtClean="0"/>
              <a:t>出错：核料超时</a:t>
            </a:r>
            <a:endParaRPr lang="zh-CN" altLang="en-US" b="1" dirty="0"/>
          </a:p>
        </p:txBody>
      </p:sp>
      <p:sp>
        <p:nvSpPr>
          <p:cNvPr id="15" name="i$ḷîďê">
            <a:extLst>
              <a:ext uri="{FF2B5EF4-FFF2-40B4-BE49-F238E27FC236}">
                <a16:creationId xmlns:a16="http://schemas.microsoft.com/office/drawing/2014/main" id="{BAD6BA88-ECC2-436B-A39C-B8C4A4BF0424}"/>
              </a:ext>
            </a:extLst>
          </p:cNvPr>
          <p:cNvSpPr txBox="1"/>
          <p:nvPr/>
        </p:nvSpPr>
        <p:spPr>
          <a:xfrm>
            <a:off x="4012166" y="5309051"/>
            <a:ext cx="900793" cy="471820"/>
          </a:xfrm>
          <a:prstGeom prst="rect">
            <a:avLst/>
          </a:prstGeom>
          <a:noFill/>
        </p:spPr>
        <p:txBody>
          <a:bodyPr wrap="none" rtlCol="0" anchor="ctr">
            <a:normAutofit/>
          </a:bodyPr>
          <a:lstStyle/>
          <a:p>
            <a:pPr lvl="0" defTabSz="914378">
              <a:spcBef>
                <a:spcPct val="0"/>
              </a:spcBef>
              <a:defRPr/>
            </a:pPr>
            <a:r>
              <a:rPr lang="zh-CN" altLang="en-US" sz="2400" b="1" dirty="0" smtClean="0"/>
              <a:t>成功</a:t>
            </a:r>
            <a:endParaRPr lang="zh-CN" altLang="en-US" sz="2400" b="1" dirty="0"/>
          </a:p>
        </p:txBody>
      </p:sp>
      <p:sp>
        <p:nvSpPr>
          <p:cNvPr id="16" name="右箭头 15"/>
          <p:cNvSpPr/>
          <p:nvPr/>
        </p:nvSpPr>
        <p:spPr>
          <a:xfrm>
            <a:off x="4912959" y="5367956"/>
            <a:ext cx="1120588" cy="422562"/>
          </a:xfrm>
          <a:prstGeom prst="right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7" name="下箭头 16"/>
          <p:cNvSpPr/>
          <p:nvPr/>
        </p:nvSpPr>
        <p:spPr>
          <a:xfrm rot="10800000">
            <a:off x="2594576" y="4903505"/>
            <a:ext cx="352095" cy="987916"/>
          </a:xfrm>
          <a:prstGeom prst="down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8" name="watching_160395"/>
          <p:cNvSpPr>
            <a:spLocks noChangeAspect="1"/>
          </p:cNvSpPr>
          <p:nvPr/>
        </p:nvSpPr>
        <p:spPr bwMode="auto">
          <a:xfrm>
            <a:off x="669924" y="5112204"/>
            <a:ext cx="985173" cy="678314"/>
          </a:xfrm>
          <a:custGeom>
            <a:avLst/>
            <a:gdLst>
              <a:gd name="connsiteX0" fmla="*/ 415483 w 587145"/>
              <a:gd name="connsiteY0" fmla="*/ 343586 h 404263"/>
              <a:gd name="connsiteX1" fmla="*/ 394975 w 587145"/>
              <a:gd name="connsiteY1" fmla="*/ 364064 h 404263"/>
              <a:gd name="connsiteX2" fmla="*/ 394975 w 587145"/>
              <a:gd name="connsiteY2" fmla="*/ 373924 h 404263"/>
              <a:gd name="connsiteX3" fmla="*/ 394975 w 587145"/>
              <a:gd name="connsiteY3" fmla="*/ 384543 h 404263"/>
              <a:gd name="connsiteX4" fmla="*/ 415483 w 587145"/>
              <a:gd name="connsiteY4" fmla="*/ 384543 h 404263"/>
              <a:gd name="connsiteX5" fmla="*/ 415483 w 587145"/>
              <a:gd name="connsiteY5" fmla="*/ 354204 h 404263"/>
              <a:gd name="connsiteX6" fmla="*/ 435232 w 587145"/>
              <a:gd name="connsiteY6" fmla="*/ 354204 h 404263"/>
              <a:gd name="connsiteX7" fmla="*/ 435232 w 587145"/>
              <a:gd name="connsiteY7" fmla="*/ 384543 h 404263"/>
              <a:gd name="connsiteX8" fmla="*/ 445866 w 587145"/>
              <a:gd name="connsiteY8" fmla="*/ 384543 h 404263"/>
              <a:gd name="connsiteX9" fmla="*/ 445866 w 587145"/>
              <a:gd name="connsiteY9" fmla="*/ 354204 h 404263"/>
              <a:gd name="connsiteX10" fmla="*/ 465614 w 587145"/>
              <a:gd name="connsiteY10" fmla="*/ 354204 h 404263"/>
              <a:gd name="connsiteX11" fmla="*/ 465614 w 587145"/>
              <a:gd name="connsiteY11" fmla="*/ 384543 h 404263"/>
              <a:gd name="connsiteX12" fmla="*/ 486123 w 587145"/>
              <a:gd name="connsiteY12" fmla="*/ 384543 h 404263"/>
              <a:gd name="connsiteX13" fmla="*/ 486123 w 587145"/>
              <a:gd name="connsiteY13" fmla="*/ 373924 h 404263"/>
              <a:gd name="connsiteX14" fmla="*/ 486123 w 587145"/>
              <a:gd name="connsiteY14" fmla="*/ 364064 h 404263"/>
              <a:gd name="connsiteX15" fmla="*/ 465614 w 587145"/>
              <a:gd name="connsiteY15" fmla="*/ 343586 h 404263"/>
              <a:gd name="connsiteX16" fmla="*/ 182296 w 587145"/>
              <a:gd name="connsiteY16" fmla="*/ 343586 h 404263"/>
              <a:gd name="connsiteX17" fmla="*/ 161788 w 587145"/>
              <a:gd name="connsiteY17" fmla="*/ 364064 h 404263"/>
              <a:gd name="connsiteX18" fmla="*/ 161788 w 587145"/>
              <a:gd name="connsiteY18" fmla="*/ 373924 h 404263"/>
              <a:gd name="connsiteX19" fmla="*/ 161788 w 587145"/>
              <a:gd name="connsiteY19" fmla="*/ 384543 h 404263"/>
              <a:gd name="connsiteX20" fmla="*/ 182296 w 587145"/>
              <a:gd name="connsiteY20" fmla="*/ 384543 h 404263"/>
              <a:gd name="connsiteX21" fmla="*/ 182296 w 587145"/>
              <a:gd name="connsiteY21" fmla="*/ 354204 h 404263"/>
              <a:gd name="connsiteX22" fmla="*/ 202804 w 587145"/>
              <a:gd name="connsiteY22" fmla="*/ 354204 h 404263"/>
              <a:gd name="connsiteX23" fmla="*/ 202804 w 587145"/>
              <a:gd name="connsiteY23" fmla="*/ 384543 h 404263"/>
              <a:gd name="connsiteX24" fmla="*/ 212679 w 587145"/>
              <a:gd name="connsiteY24" fmla="*/ 384543 h 404263"/>
              <a:gd name="connsiteX25" fmla="*/ 212679 w 587145"/>
              <a:gd name="connsiteY25" fmla="*/ 354204 h 404263"/>
              <a:gd name="connsiteX26" fmla="*/ 233187 w 587145"/>
              <a:gd name="connsiteY26" fmla="*/ 354204 h 404263"/>
              <a:gd name="connsiteX27" fmla="*/ 233187 w 587145"/>
              <a:gd name="connsiteY27" fmla="*/ 384543 h 404263"/>
              <a:gd name="connsiteX28" fmla="*/ 252936 w 587145"/>
              <a:gd name="connsiteY28" fmla="*/ 384543 h 404263"/>
              <a:gd name="connsiteX29" fmla="*/ 252936 w 587145"/>
              <a:gd name="connsiteY29" fmla="*/ 364064 h 404263"/>
              <a:gd name="connsiteX30" fmla="*/ 233187 w 587145"/>
              <a:gd name="connsiteY30" fmla="*/ 343586 h 404263"/>
              <a:gd name="connsiteX31" fmla="*/ 450427 w 587145"/>
              <a:gd name="connsiteY31" fmla="*/ 191881 h 404263"/>
              <a:gd name="connsiteX32" fmla="*/ 435229 w 587145"/>
              <a:gd name="connsiteY32" fmla="*/ 207052 h 404263"/>
              <a:gd name="connsiteX33" fmla="*/ 450427 w 587145"/>
              <a:gd name="connsiteY33" fmla="*/ 222223 h 404263"/>
              <a:gd name="connsiteX34" fmla="*/ 465624 w 587145"/>
              <a:gd name="connsiteY34" fmla="*/ 207052 h 404263"/>
              <a:gd name="connsiteX35" fmla="*/ 450427 w 587145"/>
              <a:gd name="connsiteY35" fmla="*/ 191881 h 404263"/>
              <a:gd name="connsiteX36" fmla="*/ 248384 w 587145"/>
              <a:gd name="connsiteY36" fmla="*/ 191881 h 404263"/>
              <a:gd name="connsiteX37" fmla="*/ 233213 w 587145"/>
              <a:gd name="connsiteY37" fmla="*/ 207052 h 404263"/>
              <a:gd name="connsiteX38" fmla="*/ 248384 w 587145"/>
              <a:gd name="connsiteY38" fmla="*/ 222223 h 404263"/>
              <a:gd name="connsiteX39" fmla="*/ 263555 w 587145"/>
              <a:gd name="connsiteY39" fmla="*/ 207052 h 404263"/>
              <a:gd name="connsiteX40" fmla="*/ 248384 w 587145"/>
              <a:gd name="connsiteY40" fmla="*/ 191881 h 404263"/>
              <a:gd name="connsiteX41" fmla="*/ 450427 w 587145"/>
              <a:gd name="connsiteY41" fmla="*/ 172159 h 404263"/>
              <a:gd name="connsiteX42" fmla="*/ 486140 w 587145"/>
              <a:gd name="connsiteY42" fmla="*/ 207052 h 404263"/>
              <a:gd name="connsiteX43" fmla="*/ 450427 w 587145"/>
              <a:gd name="connsiteY43" fmla="*/ 242704 h 404263"/>
              <a:gd name="connsiteX44" fmla="*/ 415473 w 587145"/>
              <a:gd name="connsiteY44" fmla="*/ 207052 h 404263"/>
              <a:gd name="connsiteX45" fmla="*/ 450427 w 587145"/>
              <a:gd name="connsiteY45" fmla="*/ 172159 h 404263"/>
              <a:gd name="connsiteX46" fmla="*/ 248384 w 587145"/>
              <a:gd name="connsiteY46" fmla="*/ 172159 h 404263"/>
              <a:gd name="connsiteX47" fmla="*/ 283277 w 587145"/>
              <a:gd name="connsiteY47" fmla="*/ 207052 h 404263"/>
              <a:gd name="connsiteX48" fmla="*/ 248384 w 587145"/>
              <a:gd name="connsiteY48" fmla="*/ 242704 h 404263"/>
              <a:gd name="connsiteX49" fmla="*/ 212732 w 587145"/>
              <a:gd name="connsiteY49" fmla="*/ 207052 h 404263"/>
              <a:gd name="connsiteX50" fmla="*/ 248384 w 587145"/>
              <a:gd name="connsiteY50" fmla="*/ 172159 h 404263"/>
              <a:gd name="connsiteX51" fmla="*/ 237744 w 587145"/>
              <a:gd name="connsiteY51" fmla="*/ 20479 h 404263"/>
              <a:gd name="connsiteX52" fmla="*/ 70640 w 587145"/>
              <a:gd name="connsiteY52" fmla="*/ 187341 h 404263"/>
              <a:gd name="connsiteX53" fmla="*/ 70640 w 587145"/>
              <a:gd name="connsiteY53" fmla="*/ 354204 h 404263"/>
              <a:gd name="connsiteX54" fmla="*/ 143558 w 587145"/>
              <a:gd name="connsiteY54" fmla="*/ 354204 h 404263"/>
              <a:gd name="connsiteX55" fmla="*/ 182296 w 587145"/>
              <a:gd name="connsiteY55" fmla="*/ 323865 h 404263"/>
              <a:gd name="connsiteX56" fmla="*/ 233187 w 587145"/>
              <a:gd name="connsiteY56" fmla="*/ 323865 h 404263"/>
              <a:gd name="connsiteX57" fmla="*/ 271925 w 587145"/>
              <a:gd name="connsiteY57" fmla="*/ 354204 h 404263"/>
              <a:gd name="connsiteX58" fmla="*/ 375985 w 587145"/>
              <a:gd name="connsiteY58" fmla="*/ 354204 h 404263"/>
              <a:gd name="connsiteX59" fmla="*/ 415483 w 587145"/>
              <a:gd name="connsiteY59" fmla="*/ 323865 h 404263"/>
              <a:gd name="connsiteX60" fmla="*/ 465614 w 587145"/>
              <a:gd name="connsiteY60" fmla="*/ 323865 h 404263"/>
              <a:gd name="connsiteX61" fmla="*/ 505112 w 587145"/>
              <a:gd name="connsiteY61" fmla="*/ 354204 h 404263"/>
              <a:gd name="connsiteX62" fmla="*/ 516505 w 587145"/>
              <a:gd name="connsiteY62" fmla="*/ 354204 h 404263"/>
              <a:gd name="connsiteX63" fmla="*/ 516505 w 587145"/>
              <a:gd name="connsiteY63" fmla="*/ 187341 h 404263"/>
              <a:gd name="connsiteX64" fmla="*/ 349401 w 587145"/>
              <a:gd name="connsiteY64" fmla="*/ 20479 h 404263"/>
              <a:gd name="connsiteX65" fmla="*/ 237744 w 587145"/>
              <a:gd name="connsiteY65" fmla="*/ 0 h 404263"/>
              <a:gd name="connsiteX66" fmla="*/ 349401 w 587145"/>
              <a:gd name="connsiteY66" fmla="*/ 0 h 404263"/>
              <a:gd name="connsiteX67" fmla="*/ 537014 w 587145"/>
              <a:gd name="connsiteY67" fmla="*/ 187341 h 404263"/>
              <a:gd name="connsiteX68" fmla="*/ 537014 w 587145"/>
              <a:gd name="connsiteY68" fmla="*/ 354204 h 404263"/>
              <a:gd name="connsiteX69" fmla="*/ 587145 w 587145"/>
              <a:gd name="connsiteY69" fmla="*/ 354204 h 404263"/>
              <a:gd name="connsiteX70" fmla="*/ 587145 w 587145"/>
              <a:gd name="connsiteY70" fmla="*/ 373924 h 404263"/>
              <a:gd name="connsiteX71" fmla="*/ 526380 w 587145"/>
              <a:gd name="connsiteY71" fmla="*/ 373924 h 404263"/>
              <a:gd name="connsiteX72" fmla="*/ 516505 w 587145"/>
              <a:gd name="connsiteY72" fmla="*/ 373924 h 404263"/>
              <a:gd name="connsiteX73" fmla="*/ 506631 w 587145"/>
              <a:gd name="connsiteY73" fmla="*/ 373924 h 404263"/>
              <a:gd name="connsiteX74" fmla="*/ 506631 w 587145"/>
              <a:gd name="connsiteY74" fmla="*/ 394403 h 404263"/>
              <a:gd name="connsiteX75" fmla="*/ 495997 w 587145"/>
              <a:gd name="connsiteY75" fmla="*/ 404263 h 404263"/>
              <a:gd name="connsiteX76" fmla="*/ 465614 w 587145"/>
              <a:gd name="connsiteY76" fmla="*/ 404263 h 404263"/>
              <a:gd name="connsiteX77" fmla="*/ 445866 w 587145"/>
              <a:gd name="connsiteY77" fmla="*/ 404263 h 404263"/>
              <a:gd name="connsiteX78" fmla="*/ 435232 w 587145"/>
              <a:gd name="connsiteY78" fmla="*/ 404263 h 404263"/>
              <a:gd name="connsiteX79" fmla="*/ 415483 w 587145"/>
              <a:gd name="connsiteY79" fmla="*/ 404263 h 404263"/>
              <a:gd name="connsiteX80" fmla="*/ 385100 w 587145"/>
              <a:gd name="connsiteY80" fmla="*/ 404263 h 404263"/>
              <a:gd name="connsiteX81" fmla="*/ 374466 w 587145"/>
              <a:gd name="connsiteY81" fmla="*/ 394403 h 404263"/>
              <a:gd name="connsiteX82" fmla="*/ 374466 w 587145"/>
              <a:gd name="connsiteY82" fmla="*/ 373924 h 404263"/>
              <a:gd name="connsiteX83" fmla="*/ 273444 w 587145"/>
              <a:gd name="connsiteY83" fmla="*/ 373924 h 404263"/>
              <a:gd name="connsiteX84" fmla="*/ 273444 w 587145"/>
              <a:gd name="connsiteY84" fmla="*/ 394403 h 404263"/>
              <a:gd name="connsiteX85" fmla="*/ 263570 w 587145"/>
              <a:gd name="connsiteY85" fmla="*/ 404263 h 404263"/>
              <a:gd name="connsiteX86" fmla="*/ 233187 w 587145"/>
              <a:gd name="connsiteY86" fmla="*/ 404263 h 404263"/>
              <a:gd name="connsiteX87" fmla="*/ 212679 w 587145"/>
              <a:gd name="connsiteY87" fmla="*/ 404263 h 404263"/>
              <a:gd name="connsiteX88" fmla="*/ 202804 w 587145"/>
              <a:gd name="connsiteY88" fmla="*/ 404263 h 404263"/>
              <a:gd name="connsiteX89" fmla="*/ 182296 w 587145"/>
              <a:gd name="connsiteY89" fmla="*/ 404263 h 404263"/>
              <a:gd name="connsiteX90" fmla="*/ 151913 w 587145"/>
              <a:gd name="connsiteY90" fmla="*/ 404263 h 404263"/>
              <a:gd name="connsiteX91" fmla="*/ 142039 w 587145"/>
              <a:gd name="connsiteY91" fmla="*/ 394403 h 404263"/>
              <a:gd name="connsiteX92" fmla="*/ 142039 w 587145"/>
              <a:gd name="connsiteY92" fmla="*/ 373924 h 404263"/>
              <a:gd name="connsiteX93" fmla="*/ 70640 w 587145"/>
              <a:gd name="connsiteY93" fmla="*/ 373924 h 404263"/>
              <a:gd name="connsiteX94" fmla="*/ 60765 w 587145"/>
              <a:gd name="connsiteY94" fmla="*/ 373924 h 404263"/>
              <a:gd name="connsiteX95" fmla="*/ 0 w 587145"/>
              <a:gd name="connsiteY95" fmla="*/ 373924 h 404263"/>
              <a:gd name="connsiteX96" fmla="*/ 0 w 587145"/>
              <a:gd name="connsiteY96" fmla="*/ 354204 h 404263"/>
              <a:gd name="connsiteX97" fmla="*/ 50891 w 587145"/>
              <a:gd name="connsiteY97" fmla="*/ 354204 h 404263"/>
              <a:gd name="connsiteX98" fmla="*/ 50891 w 587145"/>
              <a:gd name="connsiteY98" fmla="*/ 187341 h 404263"/>
              <a:gd name="connsiteX99" fmla="*/ 237744 w 587145"/>
              <a:gd name="connsiteY99" fmla="*/ 0 h 4042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Lst>
            <a:rect l="l" t="t" r="r" b="b"/>
            <a:pathLst>
              <a:path w="587145" h="404263">
                <a:moveTo>
                  <a:pt x="415483" y="343586"/>
                </a:moveTo>
                <a:cubicBezTo>
                  <a:pt x="404089" y="343586"/>
                  <a:pt x="394975" y="352687"/>
                  <a:pt x="394975" y="364064"/>
                </a:cubicBezTo>
                <a:lnTo>
                  <a:pt x="394975" y="373924"/>
                </a:lnTo>
                <a:lnTo>
                  <a:pt x="394975" y="384543"/>
                </a:lnTo>
                <a:lnTo>
                  <a:pt x="415483" y="384543"/>
                </a:lnTo>
                <a:lnTo>
                  <a:pt x="415483" y="354204"/>
                </a:lnTo>
                <a:lnTo>
                  <a:pt x="435232" y="354204"/>
                </a:lnTo>
                <a:lnTo>
                  <a:pt x="435232" y="384543"/>
                </a:lnTo>
                <a:lnTo>
                  <a:pt x="445866" y="384543"/>
                </a:lnTo>
                <a:lnTo>
                  <a:pt x="445866" y="354204"/>
                </a:lnTo>
                <a:lnTo>
                  <a:pt x="465614" y="354204"/>
                </a:lnTo>
                <a:lnTo>
                  <a:pt x="465614" y="384543"/>
                </a:lnTo>
                <a:lnTo>
                  <a:pt x="486123" y="384543"/>
                </a:lnTo>
                <a:lnTo>
                  <a:pt x="486123" y="373924"/>
                </a:lnTo>
                <a:lnTo>
                  <a:pt x="486123" y="364064"/>
                </a:lnTo>
                <a:cubicBezTo>
                  <a:pt x="486123" y="352687"/>
                  <a:pt x="477008" y="343586"/>
                  <a:pt x="465614" y="343586"/>
                </a:cubicBezTo>
                <a:close/>
                <a:moveTo>
                  <a:pt x="182296" y="343586"/>
                </a:moveTo>
                <a:cubicBezTo>
                  <a:pt x="170902" y="343586"/>
                  <a:pt x="161788" y="352687"/>
                  <a:pt x="161788" y="364064"/>
                </a:cubicBezTo>
                <a:lnTo>
                  <a:pt x="161788" y="373924"/>
                </a:lnTo>
                <a:lnTo>
                  <a:pt x="161788" y="384543"/>
                </a:lnTo>
                <a:lnTo>
                  <a:pt x="182296" y="384543"/>
                </a:lnTo>
                <a:lnTo>
                  <a:pt x="182296" y="354204"/>
                </a:lnTo>
                <a:lnTo>
                  <a:pt x="202804" y="354204"/>
                </a:lnTo>
                <a:lnTo>
                  <a:pt x="202804" y="384543"/>
                </a:lnTo>
                <a:lnTo>
                  <a:pt x="212679" y="384543"/>
                </a:lnTo>
                <a:lnTo>
                  <a:pt x="212679" y="354204"/>
                </a:lnTo>
                <a:lnTo>
                  <a:pt x="233187" y="354204"/>
                </a:lnTo>
                <a:lnTo>
                  <a:pt x="233187" y="384543"/>
                </a:lnTo>
                <a:lnTo>
                  <a:pt x="252936" y="384543"/>
                </a:lnTo>
                <a:lnTo>
                  <a:pt x="252936" y="364064"/>
                </a:lnTo>
                <a:cubicBezTo>
                  <a:pt x="252936" y="352687"/>
                  <a:pt x="243821" y="343586"/>
                  <a:pt x="233187" y="343586"/>
                </a:cubicBezTo>
                <a:close/>
                <a:moveTo>
                  <a:pt x="450427" y="191881"/>
                </a:moveTo>
                <a:cubicBezTo>
                  <a:pt x="442068" y="191881"/>
                  <a:pt x="435229" y="198708"/>
                  <a:pt x="435229" y="207052"/>
                </a:cubicBezTo>
                <a:cubicBezTo>
                  <a:pt x="435229" y="215396"/>
                  <a:pt x="442068" y="222223"/>
                  <a:pt x="450427" y="222223"/>
                </a:cubicBezTo>
                <a:cubicBezTo>
                  <a:pt x="458785" y="222223"/>
                  <a:pt x="465624" y="215396"/>
                  <a:pt x="465624" y="207052"/>
                </a:cubicBezTo>
                <a:cubicBezTo>
                  <a:pt x="465624" y="198708"/>
                  <a:pt x="458785" y="191881"/>
                  <a:pt x="450427" y="191881"/>
                </a:cubicBezTo>
                <a:close/>
                <a:moveTo>
                  <a:pt x="248384" y="191881"/>
                </a:moveTo>
                <a:cubicBezTo>
                  <a:pt x="240040" y="191881"/>
                  <a:pt x="233213" y="198708"/>
                  <a:pt x="233213" y="207052"/>
                </a:cubicBezTo>
                <a:cubicBezTo>
                  <a:pt x="233213" y="215396"/>
                  <a:pt x="240040" y="222223"/>
                  <a:pt x="248384" y="222223"/>
                </a:cubicBezTo>
                <a:cubicBezTo>
                  <a:pt x="256728" y="222223"/>
                  <a:pt x="263555" y="215396"/>
                  <a:pt x="263555" y="207052"/>
                </a:cubicBezTo>
                <a:cubicBezTo>
                  <a:pt x="263555" y="198708"/>
                  <a:pt x="256728" y="191881"/>
                  <a:pt x="248384" y="191881"/>
                </a:cubicBezTo>
                <a:close/>
                <a:moveTo>
                  <a:pt x="450427" y="172159"/>
                </a:moveTo>
                <a:cubicBezTo>
                  <a:pt x="470183" y="172159"/>
                  <a:pt x="486140" y="188089"/>
                  <a:pt x="486140" y="207052"/>
                </a:cubicBezTo>
                <a:cubicBezTo>
                  <a:pt x="486140" y="226774"/>
                  <a:pt x="470183" y="242704"/>
                  <a:pt x="450427" y="242704"/>
                </a:cubicBezTo>
                <a:cubicBezTo>
                  <a:pt x="431430" y="242704"/>
                  <a:pt x="415473" y="226774"/>
                  <a:pt x="415473" y="207052"/>
                </a:cubicBezTo>
                <a:cubicBezTo>
                  <a:pt x="415473" y="188089"/>
                  <a:pt x="431430" y="172159"/>
                  <a:pt x="450427" y="172159"/>
                </a:cubicBezTo>
                <a:close/>
                <a:moveTo>
                  <a:pt x="248384" y="172159"/>
                </a:moveTo>
                <a:cubicBezTo>
                  <a:pt x="267347" y="172159"/>
                  <a:pt x="283277" y="188089"/>
                  <a:pt x="283277" y="207052"/>
                </a:cubicBezTo>
                <a:cubicBezTo>
                  <a:pt x="283277" y="226774"/>
                  <a:pt x="267347" y="242704"/>
                  <a:pt x="248384" y="242704"/>
                </a:cubicBezTo>
                <a:cubicBezTo>
                  <a:pt x="228662" y="242704"/>
                  <a:pt x="212732" y="226774"/>
                  <a:pt x="212732" y="207052"/>
                </a:cubicBezTo>
                <a:cubicBezTo>
                  <a:pt x="212732" y="188089"/>
                  <a:pt x="228662" y="172159"/>
                  <a:pt x="248384" y="172159"/>
                </a:cubicBezTo>
                <a:close/>
                <a:moveTo>
                  <a:pt x="237744" y="20479"/>
                </a:moveTo>
                <a:cubicBezTo>
                  <a:pt x="145837" y="20479"/>
                  <a:pt x="70640" y="94808"/>
                  <a:pt x="70640" y="187341"/>
                </a:cubicBezTo>
                <a:lnTo>
                  <a:pt x="70640" y="354204"/>
                </a:lnTo>
                <a:lnTo>
                  <a:pt x="143558" y="354204"/>
                </a:lnTo>
                <a:cubicBezTo>
                  <a:pt x="148115" y="336759"/>
                  <a:pt x="163307" y="323865"/>
                  <a:pt x="182296" y="323865"/>
                </a:cubicBezTo>
                <a:lnTo>
                  <a:pt x="233187" y="323865"/>
                </a:lnTo>
                <a:cubicBezTo>
                  <a:pt x="251417" y="323865"/>
                  <a:pt x="267367" y="336759"/>
                  <a:pt x="271925" y="354204"/>
                </a:cubicBezTo>
                <a:lnTo>
                  <a:pt x="375985" y="354204"/>
                </a:lnTo>
                <a:cubicBezTo>
                  <a:pt x="380543" y="336759"/>
                  <a:pt x="396494" y="323865"/>
                  <a:pt x="415483" y="323865"/>
                </a:cubicBezTo>
                <a:lnTo>
                  <a:pt x="465614" y="323865"/>
                </a:lnTo>
                <a:cubicBezTo>
                  <a:pt x="484604" y="323865"/>
                  <a:pt x="500554" y="336759"/>
                  <a:pt x="505112" y="354204"/>
                </a:cubicBezTo>
                <a:lnTo>
                  <a:pt x="516505" y="354204"/>
                </a:lnTo>
                <a:lnTo>
                  <a:pt x="516505" y="187341"/>
                </a:lnTo>
                <a:cubicBezTo>
                  <a:pt x="516505" y="94808"/>
                  <a:pt x="441308" y="20479"/>
                  <a:pt x="349401" y="20479"/>
                </a:cubicBezTo>
                <a:close/>
                <a:moveTo>
                  <a:pt x="237744" y="0"/>
                </a:moveTo>
                <a:lnTo>
                  <a:pt x="349401" y="0"/>
                </a:lnTo>
                <a:cubicBezTo>
                  <a:pt x="452702" y="0"/>
                  <a:pt x="537014" y="84190"/>
                  <a:pt x="537014" y="187341"/>
                </a:cubicBezTo>
                <a:lnTo>
                  <a:pt x="537014" y="354204"/>
                </a:lnTo>
                <a:lnTo>
                  <a:pt x="587145" y="354204"/>
                </a:lnTo>
                <a:lnTo>
                  <a:pt x="587145" y="373924"/>
                </a:lnTo>
                <a:lnTo>
                  <a:pt x="526380" y="373924"/>
                </a:lnTo>
                <a:lnTo>
                  <a:pt x="516505" y="373924"/>
                </a:lnTo>
                <a:lnTo>
                  <a:pt x="506631" y="373924"/>
                </a:lnTo>
                <a:lnTo>
                  <a:pt x="506631" y="394403"/>
                </a:lnTo>
                <a:cubicBezTo>
                  <a:pt x="506631" y="399712"/>
                  <a:pt x="502074" y="404263"/>
                  <a:pt x="495997" y="404263"/>
                </a:cubicBezTo>
                <a:lnTo>
                  <a:pt x="465614" y="404263"/>
                </a:lnTo>
                <a:lnTo>
                  <a:pt x="445866" y="404263"/>
                </a:lnTo>
                <a:lnTo>
                  <a:pt x="435232" y="404263"/>
                </a:lnTo>
                <a:lnTo>
                  <a:pt x="415483" y="404263"/>
                </a:lnTo>
                <a:lnTo>
                  <a:pt x="385100" y="404263"/>
                </a:lnTo>
                <a:cubicBezTo>
                  <a:pt x="379024" y="404263"/>
                  <a:pt x="374466" y="399712"/>
                  <a:pt x="374466" y="394403"/>
                </a:cubicBezTo>
                <a:lnTo>
                  <a:pt x="374466" y="373924"/>
                </a:lnTo>
                <a:lnTo>
                  <a:pt x="273444" y="373924"/>
                </a:lnTo>
                <a:lnTo>
                  <a:pt x="273444" y="394403"/>
                </a:lnTo>
                <a:cubicBezTo>
                  <a:pt x="273444" y="399712"/>
                  <a:pt x="268887" y="404263"/>
                  <a:pt x="263570" y="404263"/>
                </a:cubicBezTo>
                <a:lnTo>
                  <a:pt x="233187" y="404263"/>
                </a:lnTo>
                <a:lnTo>
                  <a:pt x="212679" y="404263"/>
                </a:lnTo>
                <a:lnTo>
                  <a:pt x="202804" y="404263"/>
                </a:lnTo>
                <a:lnTo>
                  <a:pt x="182296" y="404263"/>
                </a:lnTo>
                <a:lnTo>
                  <a:pt x="151913" y="404263"/>
                </a:lnTo>
                <a:cubicBezTo>
                  <a:pt x="146596" y="404263"/>
                  <a:pt x="142039" y="399712"/>
                  <a:pt x="142039" y="394403"/>
                </a:cubicBezTo>
                <a:lnTo>
                  <a:pt x="142039" y="373924"/>
                </a:lnTo>
                <a:lnTo>
                  <a:pt x="70640" y="373924"/>
                </a:lnTo>
                <a:lnTo>
                  <a:pt x="60765" y="373924"/>
                </a:lnTo>
                <a:lnTo>
                  <a:pt x="0" y="373924"/>
                </a:lnTo>
                <a:lnTo>
                  <a:pt x="0" y="354204"/>
                </a:lnTo>
                <a:lnTo>
                  <a:pt x="50891" y="354204"/>
                </a:lnTo>
                <a:lnTo>
                  <a:pt x="50891" y="187341"/>
                </a:lnTo>
                <a:cubicBezTo>
                  <a:pt x="50891" y="84190"/>
                  <a:pt x="134443" y="0"/>
                  <a:pt x="237744" y="0"/>
                </a:cubicBezTo>
                <a:close/>
              </a:path>
            </a:pathLst>
          </a:custGeom>
          <a:solidFill>
            <a:schemeClr val="accent1"/>
          </a:solidFill>
          <a:ln>
            <a:noFill/>
          </a:ln>
        </p:spPr>
      </p:sp>
      <p:grpSp>
        <p:nvGrpSpPr>
          <p:cNvPr id="23" name="组合 22"/>
          <p:cNvGrpSpPr/>
          <p:nvPr/>
        </p:nvGrpSpPr>
        <p:grpSpPr>
          <a:xfrm>
            <a:off x="669924" y="1344490"/>
            <a:ext cx="4967396" cy="3445884"/>
            <a:chOff x="669924" y="1344490"/>
            <a:chExt cx="4967396" cy="3445884"/>
          </a:xfrm>
        </p:grpSpPr>
        <p:pic>
          <p:nvPicPr>
            <p:cNvPr id="5" name="图片 4"/>
            <p:cNvPicPr>
              <a:picLocks noChangeAspect="1"/>
            </p:cNvPicPr>
            <p:nvPr/>
          </p:nvPicPr>
          <p:blipFill>
            <a:blip r:embed="rId4"/>
            <a:stretch>
              <a:fillRect/>
            </a:stretch>
          </p:blipFill>
          <p:spPr>
            <a:xfrm>
              <a:off x="669924" y="1344490"/>
              <a:ext cx="4967396" cy="3445884"/>
            </a:xfrm>
            <a:prstGeom prst="rect">
              <a:avLst/>
            </a:prstGeom>
          </p:spPr>
        </p:pic>
        <p:sp>
          <p:nvSpPr>
            <p:cNvPr id="22" name="矩形 21"/>
            <p:cNvSpPr/>
            <p:nvPr/>
          </p:nvSpPr>
          <p:spPr>
            <a:xfrm>
              <a:off x="3654191" y="3323732"/>
              <a:ext cx="389811" cy="282866"/>
            </a:xfrm>
            <a:prstGeom prst="rect">
              <a:avLst/>
            </a:prstGeom>
            <a:noFill/>
            <a:ln w="28575">
              <a:solidFill>
                <a:srgbClr val="CC4A4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Tree>
    <p:extLst>
      <p:ext uri="{BB962C8B-B14F-4D97-AF65-F5344CB8AC3E}">
        <p14:creationId xmlns:p14="http://schemas.microsoft.com/office/powerpoint/2010/main" val="1708778003"/>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产</a:t>
            </a:r>
            <a:r>
              <a:rPr lang="zh-CN" altLang="en-US" dirty="0" smtClean="0"/>
              <a:t>线实时监控系统</a:t>
            </a:r>
            <a:r>
              <a:rPr lang="en-US" altLang="zh-CN" dirty="0" smtClean="0"/>
              <a:t>——</a:t>
            </a:r>
            <a:r>
              <a:rPr lang="zh-CN" altLang="en-US" dirty="0" smtClean="0"/>
              <a:t>数据大屏</a:t>
            </a:r>
            <a:endParaRPr lang="zh-CN" altLang="en-US" dirty="0"/>
          </a:p>
        </p:txBody>
      </p:sp>
      <p:sp>
        <p:nvSpPr>
          <p:cNvPr id="4" name="灯片编号占位符 3"/>
          <p:cNvSpPr>
            <a:spLocks noGrp="1"/>
          </p:cNvSpPr>
          <p:nvPr>
            <p:ph type="sldNum" sz="quarter" idx="12"/>
          </p:nvPr>
        </p:nvSpPr>
        <p:spPr/>
        <p:txBody>
          <a:bodyPr/>
          <a:lstStyle/>
          <a:p>
            <a:fld id="{5DD3DB80-B894-403A-B48E-6FDC1A72010E}" type="slidenum">
              <a:rPr lang="zh-CN" altLang="en-US" smtClean="0"/>
              <a:pPr/>
              <a:t>24</a:t>
            </a:fld>
            <a:endParaRPr lang="zh-CN" altLang="en-US" dirty="0"/>
          </a:p>
        </p:txBody>
      </p:sp>
      <p:pic>
        <p:nvPicPr>
          <p:cNvPr id="5" name="图片 4"/>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2450592" y="1419710"/>
            <a:ext cx="9069895" cy="5101816"/>
          </a:xfrm>
          <a:prstGeom prst="rect">
            <a:avLst/>
          </a:prstGeom>
        </p:spPr>
      </p:pic>
      <p:sp>
        <p:nvSpPr>
          <p:cNvPr id="6" name="íSḷiḑè">
            <a:extLst>
              <a:ext uri="{FF2B5EF4-FFF2-40B4-BE49-F238E27FC236}">
                <a16:creationId xmlns:a16="http://schemas.microsoft.com/office/drawing/2014/main" id="{33B1BCF3-144C-466F-A52F-9853EA28DABA}"/>
              </a:ext>
            </a:extLst>
          </p:cNvPr>
          <p:cNvSpPr/>
          <p:nvPr/>
        </p:nvSpPr>
        <p:spPr bwMode="auto">
          <a:xfrm>
            <a:off x="1068879" y="2898186"/>
            <a:ext cx="624238" cy="112071"/>
          </a:xfrm>
          <a:custGeom>
            <a:avLst/>
            <a:gdLst>
              <a:gd name="T0" fmla="+- 0 10800 961"/>
              <a:gd name="T1" fmla="*/ T0 w 19679"/>
              <a:gd name="T2" fmla="+- 0 10800 961"/>
              <a:gd name="T3" fmla="*/ 10800 h 19679"/>
              <a:gd name="T4" fmla="+- 0 10800 961"/>
              <a:gd name="T5" fmla="*/ T4 w 19679"/>
              <a:gd name="T6" fmla="+- 0 10800 961"/>
              <a:gd name="T7" fmla="*/ 10800 h 19679"/>
              <a:gd name="T8" fmla="+- 0 10800 961"/>
              <a:gd name="T9" fmla="*/ T8 w 19679"/>
              <a:gd name="T10" fmla="+- 0 10800 961"/>
              <a:gd name="T11" fmla="*/ 10800 h 19679"/>
              <a:gd name="T12" fmla="+- 0 10800 961"/>
              <a:gd name="T13" fmla="*/ T12 w 19679"/>
              <a:gd name="T14" fmla="+- 0 10800 961"/>
              <a:gd name="T15" fmla="*/ 10800 h 19679"/>
            </a:gdLst>
            <a:ahLst/>
            <a:cxnLst>
              <a:cxn ang="0">
                <a:pos x="T1" y="T3"/>
              </a:cxn>
              <a:cxn ang="0">
                <a:pos x="T5" y="T7"/>
              </a:cxn>
              <a:cxn ang="0">
                <a:pos x="T9" y="T11"/>
              </a:cxn>
              <a:cxn ang="0">
                <a:pos x="T13" y="T15"/>
              </a:cxn>
            </a:cxnLst>
            <a:rect l="0" t="0" r="r" b="b"/>
            <a:pathLst>
              <a:path w="19679" h="19679">
                <a:moveTo>
                  <a:pt x="16796" y="2881"/>
                </a:moveTo>
                <a:cubicBezTo>
                  <a:pt x="20639" y="6724"/>
                  <a:pt x="20639" y="12953"/>
                  <a:pt x="16796" y="16796"/>
                </a:cubicBezTo>
                <a:cubicBezTo>
                  <a:pt x="12953" y="20638"/>
                  <a:pt x="6724" y="20638"/>
                  <a:pt x="2881" y="16796"/>
                </a:cubicBezTo>
                <a:cubicBezTo>
                  <a:pt x="-961" y="12953"/>
                  <a:pt x="-961" y="6724"/>
                  <a:pt x="2881" y="2881"/>
                </a:cubicBezTo>
                <a:cubicBezTo>
                  <a:pt x="6724" y="-961"/>
                  <a:pt x="12953" y="-961"/>
                  <a:pt x="16796" y="2881"/>
                </a:cubicBezTo>
                <a:close/>
              </a:path>
            </a:pathLst>
          </a:custGeom>
          <a:solidFill>
            <a:srgbClr val="53585F">
              <a:alpha val="26889"/>
            </a:srgbClr>
          </a:solidFill>
          <a:ln>
            <a:noFill/>
          </a:ln>
          <a:effectLst/>
          <a:extLst>
            <a:ext uri="{91240B29-F687-4F45-9708-019B960494DF}">
              <a14:hiddenLine xmlns:a14="http://schemas.microsoft.com/office/drawing/2010/main" w="12700" cap="flat" cmpd="sng">
                <a:solidFill>
                  <a:srgbClr val="000000"/>
                </a:solidFill>
                <a:prstDash val="solid"/>
                <a:miter lim="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nchor="ctr"/>
          <a:lstStyle/>
          <a:p>
            <a:pPr algn="ctr"/>
            <a:endParaRPr/>
          </a:p>
        </p:txBody>
      </p:sp>
      <p:sp>
        <p:nvSpPr>
          <p:cNvPr id="7" name="işḷïḑè">
            <a:extLst>
              <a:ext uri="{FF2B5EF4-FFF2-40B4-BE49-F238E27FC236}">
                <a16:creationId xmlns:a16="http://schemas.microsoft.com/office/drawing/2014/main" id="{F9A34034-F514-4134-9D9B-7589A1FD2EEA}"/>
              </a:ext>
            </a:extLst>
          </p:cNvPr>
          <p:cNvSpPr/>
          <p:nvPr/>
        </p:nvSpPr>
        <p:spPr bwMode="auto">
          <a:xfrm>
            <a:off x="679068" y="1843857"/>
            <a:ext cx="1152621" cy="1166400"/>
          </a:xfrm>
          <a:prstGeom prst="ellipse">
            <a:avLst/>
          </a:prstGeom>
          <a:blipFill>
            <a:blip r:embed="rId3"/>
            <a:srcRect/>
            <a:stretch>
              <a:fillRect l="-26182" r="-25611"/>
            </a:stretch>
          </a:blipFill>
          <a:ln w="12700" cap="flat" cmpd="sng" algn="ctr">
            <a:noFill/>
            <a:prstDash val="solid"/>
            <a:miter lim="800000"/>
          </a:ln>
          <a:effectLst/>
          <a:extLst>
            <a:ext uri="{91240B29-F687-4F45-9708-019B960494DF}">
              <a14:hiddenLine xmlns:a14="http://schemas.microsoft.com/office/drawing/2010/main"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zh-CN" altLang="en-US" dirty="0">
              <a:solidFill>
                <a:schemeClr val="lt1"/>
              </a:solidFill>
            </a:endParaRPr>
          </a:p>
        </p:txBody>
      </p:sp>
      <p:sp>
        <p:nvSpPr>
          <p:cNvPr id="8" name="íṧ1íďe">
            <a:extLst>
              <a:ext uri="{FF2B5EF4-FFF2-40B4-BE49-F238E27FC236}">
                <a16:creationId xmlns:a16="http://schemas.microsoft.com/office/drawing/2014/main" id="{962ACCDD-4312-4143-BA47-C27618DD3C55}"/>
              </a:ext>
            </a:extLst>
          </p:cNvPr>
          <p:cNvSpPr/>
          <p:nvPr/>
        </p:nvSpPr>
        <p:spPr>
          <a:xfrm>
            <a:off x="1526816" y="1756926"/>
            <a:ext cx="533620" cy="540000"/>
          </a:xfrm>
          <a:prstGeom prst="ellipse">
            <a:avLst/>
          </a:prstGeom>
          <a:solidFill>
            <a:srgbClr val="FFC000"/>
          </a:solidFill>
          <a:ln w="3810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zh-CN"/>
            </a:defPPr>
            <a:lvl1pPr marL="0" algn="l" defTabSz="914377" rtl="0" eaLnBrk="1" latinLnBrk="0" hangingPunct="1">
              <a:defRPr sz="1800" kern="1200">
                <a:solidFill>
                  <a:schemeClr val="lt1"/>
                </a:solidFill>
              </a:defRPr>
            </a:lvl1pPr>
            <a:lvl2pPr marL="457189" algn="l" defTabSz="914377" rtl="0" eaLnBrk="1" latinLnBrk="0" hangingPunct="1">
              <a:defRPr sz="1800" kern="1200">
                <a:solidFill>
                  <a:schemeClr val="lt1"/>
                </a:solidFill>
              </a:defRPr>
            </a:lvl2pPr>
            <a:lvl3pPr marL="914377" algn="l" defTabSz="914377" rtl="0" eaLnBrk="1" latinLnBrk="0" hangingPunct="1">
              <a:defRPr sz="1800" kern="1200">
                <a:solidFill>
                  <a:schemeClr val="lt1"/>
                </a:solidFill>
              </a:defRPr>
            </a:lvl3pPr>
            <a:lvl4pPr marL="1371566" algn="l" defTabSz="914377" rtl="0" eaLnBrk="1" latinLnBrk="0" hangingPunct="1">
              <a:defRPr sz="1800" kern="1200">
                <a:solidFill>
                  <a:schemeClr val="lt1"/>
                </a:solidFill>
              </a:defRPr>
            </a:lvl4pPr>
            <a:lvl5pPr marL="1828754" algn="l" defTabSz="914377" rtl="0" eaLnBrk="1" latinLnBrk="0" hangingPunct="1">
              <a:defRPr sz="1800" kern="1200">
                <a:solidFill>
                  <a:schemeClr val="lt1"/>
                </a:solidFill>
              </a:defRPr>
            </a:lvl5pPr>
            <a:lvl6pPr marL="2285943" algn="l" defTabSz="914377" rtl="0" eaLnBrk="1" latinLnBrk="0" hangingPunct="1">
              <a:defRPr sz="1800" kern="1200">
                <a:solidFill>
                  <a:schemeClr val="lt1"/>
                </a:solidFill>
              </a:defRPr>
            </a:lvl6pPr>
            <a:lvl7pPr marL="2743131" algn="l" defTabSz="914377" rtl="0" eaLnBrk="1" latinLnBrk="0" hangingPunct="1">
              <a:defRPr sz="1800" kern="1200">
                <a:solidFill>
                  <a:schemeClr val="lt1"/>
                </a:solidFill>
              </a:defRPr>
            </a:lvl7pPr>
            <a:lvl8pPr marL="3200320" algn="l" defTabSz="914377" rtl="0" eaLnBrk="1" latinLnBrk="0" hangingPunct="1">
              <a:defRPr sz="1800" kern="1200">
                <a:solidFill>
                  <a:schemeClr val="lt1"/>
                </a:solidFill>
              </a:defRPr>
            </a:lvl8pPr>
            <a:lvl9pPr marL="3657509" algn="l" defTabSz="914377" rtl="0" eaLnBrk="1" latinLnBrk="0" hangingPunct="1">
              <a:defRPr sz="1800" kern="1200">
                <a:solidFill>
                  <a:schemeClr val="lt1"/>
                </a:solidFill>
              </a:defRPr>
            </a:lvl9pPr>
          </a:lstStyle>
          <a:p>
            <a:pPr algn="ctr"/>
            <a:endParaRPr dirty="0"/>
          </a:p>
        </p:txBody>
      </p:sp>
      <p:sp>
        <p:nvSpPr>
          <p:cNvPr id="9" name="íṣḷiḍê">
            <a:extLst>
              <a:ext uri="{FF2B5EF4-FFF2-40B4-BE49-F238E27FC236}">
                <a16:creationId xmlns:a16="http://schemas.microsoft.com/office/drawing/2014/main" id="{2E1F4F3B-058B-468A-BCD0-C8B676AC5371}"/>
              </a:ext>
            </a:extLst>
          </p:cNvPr>
          <p:cNvSpPr/>
          <p:nvPr/>
        </p:nvSpPr>
        <p:spPr>
          <a:xfrm>
            <a:off x="1662692" y="1899010"/>
            <a:ext cx="215910" cy="255828"/>
          </a:xfrm>
          <a:custGeom>
            <a:avLst/>
            <a:gdLst>
              <a:gd name="connsiteX0" fmla="*/ 315778 w 607639"/>
              <a:gd name="connsiteY0" fmla="*/ 173080 h 579502"/>
              <a:gd name="connsiteX1" fmla="*/ 315778 w 607639"/>
              <a:gd name="connsiteY1" fmla="*/ 266058 h 579502"/>
              <a:gd name="connsiteX2" fmla="*/ 303493 w 607639"/>
              <a:gd name="connsiteY2" fmla="*/ 278325 h 579502"/>
              <a:gd name="connsiteX3" fmla="*/ 210375 w 607639"/>
              <a:gd name="connsiteY3" fmla="*/ 278325 h 579502"/>
              <a:gd name="connsiteX4" fmla="*/ 303493 w 607639"/>
              <a:gd name="connsiteY4" fmla="*/ 359925 h 579502"/>
              <a:gd name="connsiteX5" fmla="*/ 397500 w 607639"/>
              <a:gd name="connsiteY5" fmla="*/ 266058 h 579502"/>
              <a:gd name="connsiteX6" fmla="*/ 315778 w 607639"/>
              <a:gd name="connsiteY6" fmla="*/ 173080 h 579502"/>
              <a:gd name="connsiteX7" fmla="*/ 249814 w 607639"/>
              <a:gd name="connsiteY7" fmla="*/ 160816 h 579502"/>
              <a:gd name="connsiteX8" fmla="*/ 198110 w 607639"/>
              <a:gd name="connsiteY8" fmla="*/ 212449 h 579502"/>
              <a:gd name="connsiteX9" fmla="*/ 249814 w 607639"/>
              <a:gd name="connsiteY9" fmla="*/ 212449 h 579502"/>
              <a:gd name="connsiteX10" fmla="*/ 303493 w 607639"/>
              <a:gd name="connsiteY10" fmla="*/ 147835 h 579502"/>
              <a:gd name="connsiteX11" fmla="*/ 421981 w 607639"/>
              <a:gd name="connsiteY11" fmla="*/ 266058 h 579502"/>
              <a:gd name="connsiteX12" fmla="*/ 303493 w 607639"/>
              <a:gd name="connsiteY12" fmla="*/ 384370 h 579502"/>
              <a:gd name="connsiteX13" fmla="*/ 185093 w 607639"/>
              <a:gd name="connsiteY13" fmla="*/ 266058 h 579502"/>
              <a:gd name="connsiteX14" fmla="*/ 197289 w 607639"/>
              <a:gd name="connsiteY14" fmla="*/ 253880 h 579502"/>
              <a:gd name="connsiteX15" fmla="*/ 291297 w 607639"/>
              <a:gd name="connsiteY15" fmla="*/ 253880 h 579502"/>
              <a:gd name="connsiteX16" fmla="*/ 291297 w 607639"/>
              <a:gd name="connsiteY16" fmla="*/ 160013 h 579502"/>
              <a:gd name="connsiteX17" fmla="*/ 303493 w 607639"/>
              <a:gd name="connsiteY17" fmla="*/ 147835 h 579502"/>
              <a:gd name="connsiteX18" fmla="*/ 262095 w 607639"/>
              <a:gd name="connsiteY18" fmla="*/ 135133 h 579502"/>
              <a:gd name="connsiteX19" fmla="*/ 274287 w 607639"/>
              <a:gd name="connsiteY19" fmla="*/ 147397 h 579502"/>
              <a:gd name="connsiteX20" fmla="*/ 274287 w 607639"/>
              <a:gd name="connsiteY20" fmla="*/ 224713 h 579502"/>
              <a:gd name="connsiteX21" fmla="*/ 262095 w 607639"/>
              <a:gd name="connsiteY21" fmla="*/ 236888 h 579502"/>
              <a:gd name="connsiteX22" fmla="*/ 184672 w 607639"/>
              <a:gd name="connsiteY22" fmla="*/ 236888 h 579502"/>
              <a:gd name="connsiteX23" fmla="*/ 172391 w 607639"/>
              <a:gd name="connsiteY23" fmla="*/ 224713 h 579502"/>
              <a:gd name="connsiteX24" fmla="*/ 262095 w 607639"/>
              <a:gd name="connsiteY24" fmla="*/ 135133 h 579502"/>
              <a:gd name="connsiteX25" fmla="*/ 58120 w 607639"/>
              <a:gd name="connsiteY25" fmla="*/ 108514 h 579502"/>
              <a:gd name="connsiteX26" fmla="*/ 58120 w 607639"/>
              <a:gd name="connsiteY26" fmla="*/ 413970 h 579502"/>
              <a:gd name="connsiteX27" fmla="*/ 549430 w 607639"/>
              <a:gd name="connsiteY27" fmla="*/ 413970 h 579502"/>
              <a:gd name="connsiteX28" fmla="*/ 549430 w 607639"/>
              <a:gd name="connsiteY28" fmla="*/ 108514 h 579502"/>
              <a:gd name="connsiteX29" fmla="*/ 27236 w 607639"/>
              <a:gd name="connsiteY29" fmla="*/ 56079 h 579502"/>
              <a:gd name="connsiteX30" fmla="*/ 27236 w 607639"/>
              <a:gd name="connsiteY30" fmla="*/ 81319 h 579502"/>
              <a:gd name="connsiteX31" fmla="*/ 580403 w 607639"/>
              <a:gd name="connsiteY31" fmla="*/ 81319 h 579502"/>
              <a:gd name="connsiteX32" fmla="*/ 580403 w 607639"/>
              <a:gd name="connsiteY32" fmla="*/ 56079 h 579502"/>
              <a:gd name="connsiteX33" fmla="*/ 303775 w 607639"/>
              <a:gd name="connsiteY33" fmla="*/ 0 h 579502"/>
              <a:gd name="connsiteX34" fmla="*/ 317393 w 607639"/>
              <a:gd name="connsiteY34" fmla="*/ 13597 h 579502"/>
              <a:gd name="connsiteX35" fmla="*/ 317393 w 607639"/>
              <a:gd name="connsiteY35" fmla="*/ 28884 h 579502"/>
              <a:gd name="connsiteX36" fmla="*/ 580403 w 607639"/>
              <a:gd name="connsiteY36" fmla="*/ 28884 h 579502"/>
              <a:gd name="connsiteX37" fmla="*/ 607639 w 607639"/>
              <a:gd name="connsiteY37" fmla="*/ 56079 h 579502"/>
              <a:gd name="connsiteX38" fmla="*/ 607639 w 607639"/>
              <a:gd name="connsiteY38" fmla="*/ 81319 h 579502"/>
              <a:gd name="connsiteX39" fmla="*/ 580403 w 607639"/>
              <a:gd name="connsiteY39" fmla="*/ 108514 h 579502"/>
              <a:gd name="connsiteX40" fmla="*/ 576665 w 607639"/>
              <a:gd name="connsiteY40" fmla="*/ 108514 h 579502"/>
              <a:gd name="connsiteX41" fmla="*/ 576665 w 607639"/>
              <a:gd name="connsiteY41" fmla="*/ 413970 h 579502"/>
              <a:gd name="connsiteX42" fmla="*/ 549430 w 607639"/>
              <a:gd name="connsiteY42" fmla="*/ 441165 h 579502"/>
              <a:gd name="connsiteX43" fmla="*/ 317393 w 607639"/>
              <a:gd name="connsiteY43" fmla="*/ 441165 h 579502"/>
              <a:gd name="connsiteX44" fmla="*/ 317393 w 607639"/>
              <a:gd name="connsiteY44" fmla="*/ 481069 h 579502"/>
              <a:gd name="connsiteX45" fmla="*/ 418236 w 607639"/>
              <a:gd name="connsiteY45" fmla="*/ 554923 h 579502"/>
              <a:gd name="connsiteX46" fmla="*/ 421173 w 607639"/>
              <a:gd name="connsiteY46" fmla="*/ 573942 h 579502"/>
              <a:gd name="connsiteX47" fmla="*/ 410225 w 607639"/>
              <a:gd name="connsiteY47" fmla="*/ 579452 h 579502"/>
              <a:gd name="connsiteX48" fmla="*/ 402215 w 607639"/>
              <a:gd name="connsiteY48" fmla="*/ 576874 h 579502"/>
              <a:gd name="connsiteX49" fmla="*/ 317393 w 607639"/>
              <a:gd name="connsiteY49" fmla="*/ 514752 h 579502"/>
              <a:gd name="connsiteX50" fmla="*/ 317393 w 607639"/>
              <a:gd name="connsiteY50" fmla="*/ 565854 h 579502"/>
              <a:gd name="connsiteX51" fmla="*/ 303775 w 607639"/>
              <a:gd name="connsiteY51" fmla="*/ 579452 h 579502"/>
              <a:gd name="connsiteX52" fmla="*/ 290157 w 607639"/>
              <a:gd name="connsiteY52" fmla="*/ 565854 h 579502"/>
              <a:gd name="connsiteX53" fmla="*/ 290157 w 607639"/>
              <a:gd name="connsiteY53" fmla="*/ 514752 h 579502"/>
              <a:gd name="connsiteX54" fmla="*/ 205424 w 607639"/>
              <a:gd name="connsiteY54" fmla="*/ 576874 h 579502"/>
              <a:gd name="connsiteX55" fmla="*/ 186377 w 607639"/>
              <a:gd name="connsiteY55" fmla="*/ 573942 h 579502"/>
              <a:gd name="connsiteX56" fmla="*/ 189314 w 607639"/>
              <a:gd name="connsiteY56" fmla="*/ 554923 h 579502"/>
              <a:gd name="connsiteX57" fmla="*/ 290157 w 607639"/>
              <a:gd name="connsiteY57" fmla="*/ 481069 h 579502"/>
              <a:gd name="connsiteX58" fmla="*/ 290157 w 607639"/>
              <a:gd name="connsiteY58" fmla="*/ 441165 h 579502"/>
              <a:gd name="connsiteX59" fmla="*/ 58120 w 607639"/>
              <a:gd name="connsiteY59" fmla="*/ 441165 h 579502"/>
              <a:gd name="connsiteX60" fmla="*/ 30885 w 607639"/>
              <a:gd name="connsiteY60" fmla="*/ 413970 h 579502"/>
              <a:gd name="connsiteX61" fmla="*/ 30885 w 607639"/>
              <a:gd name="connsiteY61" fmla="*/ 108514 h 579502"/>
              <a:gd name="connsiteX62" fmla="*/ 27236 w 607639"/>
              <a:gd name="connsiteY62" fmla="*/ 108514 h 579502"/>
              <a:gd name="connsiteX63" fmla="*/ 0 w 607639"/>
              <a:gd name="connsiteY63" fmla="*/ 81319 h 579502"/>
              <a:gd name="connsiteX64" fmla="*/ 0 w 607639"/>
              <a:gd name="connsiteY64" fmla="*/ 56079 h 579502"/>
              <a:gd name="connsiteX65" fmla="*/ 27236 w 607639"/>
              <a:gd name="connsiteY65" fmla="*/ 28884 h 579502"/>
              <a:gd name="connsiteX66" fmla="*/ 290157 w 607639"/>
              <a:gd name="connsiteY66" fmla="*/ 28884 h 579502"/>
              <a:gd name="connsiteX67" fmla="*/ 290157 w 607639"/>
              <a:gd name="connsiteY67" fmla="*/ 13597 h 579502"/>
              <a:gd name="connsiteX68" fmla="*/ 303775 w 607639"/>
              <a:gd name="connsiteY68" fmla="*/ 0 h 5795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07639" h="579502">
                <a:moveTo>
                  <a:pt x="315778" y="173080"/>
                </a:moveTo>
                <a:lnTo>
                  <a:pt x="315778" y="266058"/>
                </a:lnTo>
                <a:cubicBezTo>
                  <a:pt x="315778" y="272814"/>
                  <a:pt x="310258" y="278325"/>
                  <a:pt x="303493" y="278325"/>
                </a:cubicBezTo>
                <a:lnTo>
                  <a:pt x="210375" y="278325"/>
                </a:lnTo>
                <a:cubicBezTo>
                  <a:pt x="216429" y="324281"/>
                  <a:pt x="255866" y="359925"/>
                  <a:pt x="303493" y="359925"/>
                </a:cubicBezTo>
                <a:cubicBezTo>
                  <a:pt x="355303" y="359925"/>
                  <a:pt x="397500" y="317792"/>
                  <a:pt x="397500" y="266058"/>
                </a:cubicBezTo>
                <a:cubicBezTo>
                  <a:pt x="397500" y="218502"/>
                  <a:pt x="361802" y="179124"/>
                  <a:pt x="315778" y="173080"/>
                </a:cubicBezTo>
                <a:close/>
                <a:moveTo>
                  <a:pt x="249814" y="160816"/>
                </a:moveTo>
                <a:cubicBezTo>
                  <a:pt x="223740" y="165793"/>
                  <a:pt x="203093" y="186410"/>
                  <a:pt x="198110" y="212449"/>
                </a:cubicBezTo>
                <a:lnTo>
                  <a:pt x="249814" y="212449"/>
                </a:lnTo>
                <a:close/>
                <a:moveTo>
                  <a:pt x="303493" y="147835"/>
                </a:moveTo>
                <a:cubicBezTo>
                  <a:pt x="368835" y="147835"/>
                  <a:pt x="421981" y="200902"/>
                  <a:pt x="421981" y="266058"/>
                </a:cubicBezTo>
                <a:cubicBezTo>
                  <a:pt x="421981" y="331303"/>
                  <a:pt x="368835" y="384370"/>
                  <a:pt x="303493" y="384370"/>
                </a:cubicBezTo>
                <a:cubicBezTo>
                  <a:pt x="238239" y="384370"/>
                  <a:pt x="185093" y="331303"/>
                  <a:pt x="185093" y="266058"/>
                </a:cubicBezTo>
                <a:cubicBezTo>
                  <a:pt x="185093" y="259303"/>
                  <a:pt x="190523" y="253880"/>
                  <a:pt x="197289" y="253880"/>
                </a:cubicBezTo>
                <a:lnTo>
                  <a:pt x="291297" y="253880"/>
                </a:lnTo>
                <a:lnTo>
                  <a:pt x="291297" y="160013"/>
                </a:lnTo>
                <a:cubicBezTo>
                  <a:pt x="291297" y="153257"/>
                  <a:pt x="296727" y="147835"/>
                  <a:pt x="303493" y="147835"/>
                </a:cubicBezTo>
                <a:close/>
                <a:moveTo>
                  <a:pt x="262095" y="135133"/>
                </a:moveTo>
                <a:cubicBezTo>
                  <a:pt x="268859" y="135133"/>
                  <a:pt x="274287" y="140643"/>
                  <a:pt x="274287" y="147397"/>
                </a:cubicBezTo>
                <a:lnTo>
                  <a:pt x="274287" y="224713"/>
                </a:lnTo>
                <a:cubicBezTo>
                  <a:pt x="274287" y="231467"/>
                  <a:pt x="268859" y="236888"/>
                  <a:pt x="262095" y="236888"/>
                </a:cubicBezTo>
                <a:lnTo>
                  <a:pt x="184672" y="236888"/>
                </a:lnTo>
                <a:cubicBezTo>
                  <a:pt x="177909" y="236888"/>
                  <a:pt x="172391" y="231467"/>
                  <a:pt x="172391" y="224713"/>
                </a:cubicBezTo>
                <a:cubicBezTo>
                  <a:pt x="172391" y="175302"/>
                  <a:pt x="212616" y="135133"/>
                  <a:pt x="262095" y="135133"/>
                </a:cubicBezTo>
                <a:close/>
                <a:moveTo>
                  <a:pt x="58120" y="108514"/>
                </a:moveTo>
                <a:lnTo>
                  <a:pt x="58120" y="413970"/>
                </a:lnTo>
                <a:lnTo>
                  <a:pt x="549430" y="413970"/>
                </a:lnTo>
                <a:lnTo>
                  <a:pt x="549430" y="108514"/>
                </a:lnTo>
                <a:close/>
                <a:moveTo>
                  <a:pt x="27236" y="56079"/>
                </a:moveTo>
                <a:lnTo>
                  <a:pt x="27236" y="81319"/>
                </a:lnTo>
                <a:lnTo>
                  <a:pt x="580403" y="81319"/>
                </a:lnTo>
                <a:lnTo>
                  <a:pt x="580403" y="56079"/>
                </a:lnTo>
                <a:close/>
                <a:moveTo>
                  <a:pt x="303775" y="0"/>
                </a:moveTo>
                <a:cubicBezTo>
                  <a:pt x="311341" y="0"/>
                  <a:pt x="317393" y="6132"/>
                  <a:pt x="317393" y="13597"/>
                </a:cubicBezTo>
                <a:lnTo>
                  <a:pt x="317393" y="28884"/>
                </a:lnTo>
                <a:lnTo>
                  <a:pt x="580403" y="28884"/>
                </a:lnTo>
                <a:cubicBezTo>
                  <a:pt x="595356" y="28884"/>
                  <a:pt x="607639" y="41148"/>
                  <a:pt x="607639" y="56079"/>
                </a:cubicBezTo>
                <a:lnTo>
                  <a:pt x="607639" y="81319"/>
                </a:lnTo>
                <a:cubicBezTo>
                  <a:pt x="607639" y="96338"/>
                  <a:pt x="595356" y="108514"/>
                  <a:pt x="580403" y="108514"/>
                </a:cubicBezTo>
                <a:lnTo>
                  <a:pt x="576665" y="108514"/>
                </a:lnTo>
                <a:lnTo>
                  <a:pt x="576665" y="413970"/>
                </a:lnTo>
                <a:cubicBezTo>
                  <a:pt x="576665" y="428990"/>
                  <a:pt x="564472" y="441165"/>
                  <a:pt x="549430" y="441165"/>
                </a:cubicBezTo>
                <a:lnTo>
                  <a:pt x="317393" y="441165"/>
                </a:lnTo>
                <a:lnTo>
                  <a:pt x="317393" y="481069"/>
                </a:lnTo>
                <a:lnTo>
                  <a:pt x="418236" y="554923"/>
                </a:lnTo>
                <a:cubicBezTo>
                  <a:pt x="424377" y="559366"/>
                  <a:pt x="425623" y="567898"/>
                  <a:pt x="421173" y="573942"/>
                </a:cubicBezTo>
                <a:cubicBezTo>
                  <a:pt x="418503" y="577585"/>
                  <a:pt x="414409" y="579452"/>
                  <a:pt x="410225" y="579452"/>
                </a:cubicBezTo>
                <a:cubicBezTo>
                  <a:pt x="407466" y="579452"/>
                  <a:pt x="404618" y="578652"/>
                  <a:pt x="402215" y="576874"/>
                </a:cubicBezTo>
                <a:lnTo>
                  <a:pt x="317393" y="514752"/>
                </a:lnTo>
                <a:lnTo>
                  <a:pt x="317393" y="565854"/>
                </a:lnTo>
                <a:cubicBezTo>
                  <a:pt x="317393" y="573408"/>
                  <a:pt x="311341" y="579452"/>
                  <a:pt x="303775" y="579452"/>
                </a:cubicBezTo>
                <a:cubicBezTo>
                  <a:pt x="296299" y="579452"/>
                  <a:pt x="290157" y="573408"/>
                  <a:pt x="290157" y="565854"/>
                </a:cubicBezTo>
                <a:lnTo>
                  <a:pt x="290157" y="514752"/>
                </a:lnTo>
                <a:lnTo>
                  <a:pt x="205424" y="576874"/>
                </a:lnTo>
                <a:cubicBezTo>
                  <a:pt x="199372" y="581318"/>
                  <a:pt x="190827" y="579985"/>
                  <a:pt x="186377" y="573942"/>
                </a:cubicBezTo>
                <a:cubicBezTo>
                  <a:pt x="181927" y="567898"/>
                  <a:pt x="183262" y="559366"/>
                  <a:pt x="189314" y="554923"/>
                </a:cubicBezTo>
                <a:lnTo>
                  <a:pt x="290157" y="481069"/>
                </a:lnTo>
                <a:lnTo>
                  <a:pt x="290157" y="441165"/>
                </a:lnTo>
                <a:lnTo>
                  <a:pt x="58120" y="441165"/>
                </a:lnTo>
                <a:cubicBezTo>
                  <a:pt x="43167" y="441165"/>
                  <a:pt x="30885" y="428990"/>
                  <a:pt x="30885" y="413970"/>
                </a:cubicBezTo>
                <a:lnTo>
                  <a:pt x="30885" y="108514"/>
                </a:lnTo>
                <a:lnTo>
                  <a:pt x="27236" y="108514"/>
                </a:lnTo>
                <a:cubicBezTo>
                  <a:pt x="12194" y="108514"/>
                  <a:pt x="0" y="96338"/>
                  <a:pt x="0" y="81319"/>
                </a:cubicBezTo>
                <a:lnTo>
                  <a:pt x="0" y="56079"/>
                </a:lnTo>
                <a:cubicBezTo>
                  <a:pt x="0" y="41148"/>
                  <a:pt x="12194" y="28884"/>
                  <a:pt x="27236" y="28884"/>
                </a:cubicBezTo>
                <a:lnTo>
                  <a:pt x="290157" y="28884"/>
                </a:lnTo>
                <a:lnTo>
                  <a:pt x="290157" y="13597"/>
                </a:lnTo>
                <a:cubicBezTo>
                  <a:pt x="290157" y="6132"/>
                  <a:pt x="296299" y="0"/>
                  <a:pt x="303775" y="0"/>
                </a:cubicBezTo>
                <a:close/>
              </a:path>
            </a:pathLst>
          </a:custGeom>
          <a:solidFill>
            <a:schemeClr val="bg1"/>
          </a:solidFill>
          <a:ln>
            <a:noFill/>
          </a:ln>
          <a:effectLst/>
        </p:spPr>
        <p:txBody>
          <a:bodyPr anchor="ct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algn="ctr"/>
            <a:endParaRPr/>
          </a:p>
        </p:txBody>
      </p:sp>
      <p:sp>
        <p:nvSpPr>
          <p:cNvPr id="10" name="íśḻíďé">
            <a:extLst>
              <a:ext uri="{FF2B5EF4-FFF2-40B4-BE49-F238E27FC236}">
                <a16:creationId xmlns:a16="http://schemas.microsoft.com/office/drawing/2014/main" id="{E12042B5-55AB-40D8-9EA5-FB98EBB319F6}"/>
              </a:ext>
            </a:extLst>
          </p:cNvPr>
          <p:cNvSpPr txBox="1"/>
          <p:nvPr/>
        </p:nvSpPr>
        <p:spPr>
          <a:xfrm>
            <a:off x="155243" y="3097188"/>
            <a:ext cx="2200270" cy="873430"/>
          </a:xfrm>
          <a:prstGeom prst="rect">
            <a:avLst/>
          </a:prstGeom>
          <a:noFill/>
        </p:spPr>
        <p:txBody>
          <a:bodyPr wrap="none" rtlCol="0" anchor="ctr">
            <a:normAutofit/>
          </a:bodyPr>
          <a:lstStyle/>
          <a:p>
            <a:pPr lvl="0" defTabSz="914378">
              <a:spcBef>
                <a:spcPct val="0"/>
              </a:spcBef>
              <a:defRPr/>
            </a:pPr>
            <a:r>
              <a:rPr lang="zh-CN" altLang="en-US" sz="1600" b="1" dirty="0" smtClean="0"/>
              <a:t>数据大屏</a:t>
            </a:r>
            <a:endParaRPr lang="en-US" altLang="zh-CN" sz="1600" b="1" dirty="0" smtClean="0"/>
          </a:p>
          <a:p>
            <a:pPr lvl="1" defTabSz="914378">
              <a:spcBef>
                <a:spcPct val="0"/>
              </a:spcBef>
              <a:defRPr/>
            </a:pPr>
            <a:r>
              <a:rPr lang="en-US" altLang="zh-CN" sz="1200" b="1" dirty="0" smtClean="0">
                <a:latin typeface="+mn-ea"/>
              </a:rPr>
              <a:t>—— </a:t>
            </a:r>
            <a:r>
              <a:rPr lang="zh-CN" altLang="en-US" sz="1200" b="1" dirty="0" smtClean="0">
                <a:latin typeface="+mn-ea"/>
              </a:rPr>
              <a:t>实时统计</a:t>
            </a:r>
            <a:endParaRPr lang="en-US" altLang="zh-CN" sz="1200" b="1" dirty="0">
              <a:latin typeface="+mn-ea"/>
            </a:endParaRPr>
          </a:p>
          <a:p>
            <a:pPr lvl="1" defTabSz="914378">
              <a:spcBef>
                <a:spcPct val="0"/>
              </a:spcBef>
              <a:defRPr/>
            </a:pPr>
            <a:r>
              <a:rPr lang="en-US" altLang="zh-CN" sz="1200" b="1" dirty="0">
                <a:latin typeface="+mn-ea"/>
              </a:rPr>
              <a:t> </a:t>
            </a:r>
            <a:r>
              <a:rPr lang="en-US" altLang="zh-CN" sz="1200" b="1" dirty="0" smtClean="0">
                <a:latin typeface="+mn-ea"/>
              </a:rPr>
              <a:t>       </a:t>
            </a:r>
            <a:r>
              <a:rPr lang="zh-CN" altLang="en-US" sz="1200" b="1" dirty="0" smtClean="0">
                <a:latin typeface="+mn-ea"/>
              </a:rPr>
              <a:t>产线情况一目了然</a:t>
            </a:r>
            <a:r>
              <a:rPr lang="en-US" altLang="zh-CN" sz="1600" b="1" dirty="0" smtClean="0"/>
              <a:t>	</a:t>
            </a:r>
          </a:p>
        </p:txBody>
      </p:sp>
    </p:spTree>
    <p:extLst>
      <p:ext uri="{BB962C8B-B14F-4D97-AF65-F5344CB8AC3E}">
        <p14:creationId xmlns:p14="http://schemas.microsoft.com/office/powerpoint/2010/main" val="3379014216"/>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CC34BBEA-2043-49B5-B834-DC53BB639876}"/>
              </a:ext>
            </a:extLst>
          </p:cNvPr>
          <p:cNvSpPr>
            <a:spLocks noGrp="1"/>
          </p:cNvSpPr>
          <p:nvPr>
            <p:ph type="title"/>
          </p:nvPr>
        </p:nvSpPr>
        <p:spPr/>
        <p:txBody>
          <a:bodyPr/>
          <a:lstStyle/>
          <a:p>
            <a:r>
              <a:rPr lang="zh-CN" altLang="en-US" dirty="0" smtClean="0"/>
              <a:t>中央控制系统</a:t>
            </a:r>
            <a:endParaRPr lang="zh-CN" altLang="en-US" dirty="0"/>
          </a:p>
        </p:txBody>
      </p:sp>
      <p:sp>
        <p:nvSpPr>
          <p:cNvPr id="7" name="iSļïḍè">
            <a:extLst>
              <a:ext uri="{FF2B5EF4-FFF2-40B4-BE49-F238E27FC236}">
                <a16:creationId xmlns:a16="http://schemas.microsoft.com/office/drawing/2014/main" id="{1D6BC484-2CED-4D08-AB29-518D5707A806}"/>
              </a:ext>
            </a:extLst>
          </p:cNvPr>
          <p:cNvSpPr/>
          <p:nvPr/>
        </p:nvSpPr>
        <p:spPr bwMode="auto">
          <a:xfrm>
            <a:off x="5603941" y="1936070"/>
            <a:ext cx="3375000" cy="3505200"/>
          </a:xfrm>
          <a:prstGeom prst="blockArc">
            <a:avLst>
              <a:gd name="adj1" fmla="val 16200000"/>
              <a:gd name="adj2" fmla="val 5400000"/>
              <a:gd name="adj3" fmla="val 1600"/>
            </a:avLst>
          </a:prstGeom>
          <a:solidFill>
            <a:schemeClr val="bg1">
              <a:lumMod val="75000"/>
            </a:schemeClr>
          </a:solidFill>
          <a:ln w="38100">
            <a:noFill/>
          </a:ln>
          <a:extLst/>
        </p:spPr>
        <p:style>
          <a:lnRef idx="2">
            <a:schemeClr val="dk1"/>
          </a:lnRef>
          <a:fillRef idx="1">
            <a:schemeClr val="lt1"/>
          </a:fillRef>
          <a:effectRef idx="0">
            <a:schemeClr val="dk1"/>
          </a:effectRef>
          <a:fontRef idx="minor">
            <a:schemeClr val="dk1"/>
          </a:fontRef>
        </p:style>
        <p:txBody>
          <a:bodyPr rtlCol="0" anchor="ctr"/>
          <a:lstStyle/>
          <a:p>
            <a:pPr algn="ctr"/>
            <a:endParaRPr lang="zh-CN" altLang="en-US" dirty="0">
              <a:solidFill>
                <a:schemeClr val="dk1"/>
              </a:solidFill>
            </a:endParaRPr>
          </a:p>
        </p:txBody>
      </p:sp>
      <p:sp>
        <p:nvSpPr>
          <p:cNvPr id="33" name="íśḻíḍê">
            <a:extLst>
              <a:ext uri="{FF2B5EF4-FFF2-40B4-BE49-F238E27FC236}">
                <a16:creationId xmlns:a16="http://schemas.microsoft.com/office/drawing/2014/main" id="{52C28BB0-DBC7-40E4-87BF-90C8EE5FD5D1}"/>
              </a:ext>
            </a:extLst>
          </p:cNvPr>
          <p:cNvSpPr/>
          <p:nvPr/>
        </p:nvSpPr>
        <p:spPr>
          <a:xfrm>
            <a:off x="6364147" y="1795168"/>
            <a:ext cx="279708" cy="281804"/>
          </a:xfrm>
          <a:custGeom>
            <a:avLst/>
            <a:gdLst>
              <a:gd name="connsiteX0" fmla="*/ 386204 w 602205"/>
              <a:gd name="connsiteY0" fmla="*/ 222916 h 606722"/>
              <a:gd name="connsiteX1" fmla="*/ 516692 w 602205"/>
              <a:gd name="connsiteY1" fmla="*/ 222916 h 606722"/>
              <a:gd name="connsiteX2" fmla="*/ 545129 w 602205"/>
              <a:gd name="connsiteY2" fmla="*/ 231976 h 606722"/>
              <a:gd name="connsiteX3" fmla="*/ 594743 w 602205"/>
              <a:gd name="connsiteY3" fmla="*/ 270632 h 606722"/>
              <a:gd name="connsiteX4" fmla="*/ 602205 w 602205"/>
              <a:gd name="connsiteY4" fmla="*/ 285329 h 606722"/>
              <a:gd name="connsiteX5" fmla="*/ 594944 w 602205"/>
              <a:gd name="connsiteY5" fmla="*/ 300228 h 606722"/>
              <a:gd name="connsiteX6" fmla="*/ 545129 w 602205"/>
              <a:gd name="connsiteY6" fmla="*/ 340293 h 606722"/>
              <a:gd name="connsiteX7" fmla="*/ 516692 w 602205"/>
              <a:gd name="connsiteY7" fmla="*/ 351769 h 606722"/>
              <a:gd name="connsiteX8" fmla="*/ 386204 w 602205"/>
              <a:gd name="connsiteY8" fmla="*/ 351769 h 606722"/>
              <a:gd name="connsiteX9" fmla="*/ 85299 w 602205"/>
              <a:gd name="connsiteY9" fmla="*/ 131463 h 606722"/>
              <a:gd name="connsiteX10" fmla="*/ 216777 w 602205"/>
              <a:gd name="connsiteY10" fmla="*/ 131463 h 606722"/>
              <a:gd name="connsiteX11" fmla="*/ 216777 w 602205"/>
              <a:gd name="connsiteY11" fmla="*/ 260386 h 606722"/>
              <a:gd name="connsiteX12" fmla="*/ 85299 w 602205"/>
              <a:gd name="connsiteY12" fmla="*/ 260386 h 606722"/>
              <a:gd name="connsiteX13" fmla="*/ 57068 w 602205"/>
              <a:gd name="connsiteY13" fmla="*/ 248501 h 606722"/>
              <a:gd name="connsiteX14" fmla="*/ 7058 w 602205"/>
              <a:gd name="connsiteY14" fmla="*/ 206803 h 606722"/>
              <a:gd name="connsiteX15" fmla="*/ 0 w 602205"/>
              <a:gd name="connsiteY15" fmla="*/ 192903 h 606722"/>
              <a:gd name="connsiteX16" fmla="*/ 7260 w 602205"/>
              <a:gd name="connsiteY16" fmla="*/ 178802 h 606722"/>
              <a:gd name="connsiteX17" fmla="*/ 57068 w 602205"/>
              <a:gd name="connsiteY17" fmla="*/ 139924 h 606722"/>
              <a:gd name="connsiteX18" fmla="*/ 85299 w 602205"/>
              <a:gd name="connsiteY18" fmla="*/ 131463 h 606722"/>
              <a:gd name="connsiteX19" fmla="*/ 386204 w 602205"/>
              <a:gd name="connsiteY19" fmla="*/ 42904 h 606722"/>
              <a:gd name="connsiteX20" fmla="*/ 516692 w 602205"/>
              <a:gd name="connsiteY20" fmla="*/ 42904 h 606722"/>
              <a:gd name="connsiteX21" fmla="*/ 545129 w 602205"/>
              <a:gd name="connsiteY21" fmla="*/ 51964 h 606722"/>
              <a:gd name="connsiteX22" fmla="*/ 594743 w 602205"/>
              <a:gd name="connsiteY22" fmla="*/ 90620 h 606722"/>
              <a:gd name="connsiteX23" fmla="*/ 602205 w 602205"/>
              <a:gd name="connsiteY23" fmla="*/ 105317 h 606722"/>
              <a:gd name="connsiteX24" fmla="*/ 594944 w 602205"/>
              <a:gd name="connsiteY24" fmla="*/ 120216 h 606722"/>
              <a:gd name="connsiteX25" fmla="*/ 545129 w 602205"/>
              <a:gd name="connsiteY25" fmla="*/ 160281 h 606722"/>
              <a:gd name="connsiteX26" fmla="*/ 516692 w 602205"/>
              <a:gd name="connsiteY26" fmla="*/ 171757 h 606722"/>
              <a:gd name="connsiteX27" fmla="*/ 386204 w 602205"/>
              <a:gd name="connsiteY27" fmla="*/ 171757 h 606722"/>
              <a:gd name="connsiteX28" fmla="*/ 297432 w 602205"/>
              <a:gd name="connsiteY28" fmla="*/ 0 h 606722"/>
              <a:gd name="connsiteX29" fmla="*/ 337765 w 602205"/>
              <a:gd name="connsiteY29" fmla="*/ 40274 h 606722"/>
              <a:gd name="connsiteX30" fmla="*/ 337765 w 602205"/>
              <a:gd name="connsiteY30" fmla="*/ 496775 h 606722"/>
              <a:gd name="connsiteX31" fmla="*/ 419238 w 602205"/>
              <a:gd name="connsiteY31" fmla="*/ 496775 h 606722"/>
              <a:gd name="connsiteX32" fmla="*/ 455739 w 602205"/>
              <a:gd name="connsiteY32" fmla="*/ 515100 h 606722"/>
              <a:gd name="connsiteX33" fmla="*/ 497887 w 602205"/>
              <a:gd name="connsiteY33" fmla="*/ 572490 h 606722"/>
              <a:gd name="connsiteX34" fmla="*/ 500912 w 602205"/>
              <a:gd name="connsiteY34" fmla="*/ 595647 h 606722"/>
              <a:gd name="connsiteX35" fmla="*/ 480342 w 602205"/>
              <a:gd name="connsiteY35" fmla="*/ 606722 h 606722"/>
              <a:gd name="connsiteX36" fmla="*/ 121580 w 602205"/>
              <a:gd name="connsiteY36" fmla="*/ 606722 h 606722"/>
              <a:gd name="connsiteX37" fmla="*/ 101010 w 602205"/>
              <a:gd name="connsiteY37" fmla="*/ 595647 h 606722"/>
              <a:gd name="connsiteX38" fmla="*/ 104237 w 602205"/>
              <a:gd name="connsiteY38" fmla="*/ 572490 h 606722"/>
              <a:gd name="connsiteX39" fmla="*/ 146183 w 602205"/>
              <a:gd name="connsiteY39" fmla="*/ 515100 h 606722"/>
              <a:gd name="connsiteX40" fmla="*/ 182684 w 602205"/>
              <a:gd name="connsiteY40" fmla="*/ 496775 h 606722"/>
              <a:gd name="connsiteX41" fmla="*/ 257099 w 602205"/>
              <a:gd name="connsiteY41" fmla="*/ 496775 h 606722"/>
              <a:gd name="connsiteX42" fmla="*/ 257099 w 602205"/>
              <a:gd name="connsiteY42" fmla="*/ 40274 h 606722"/>
              <a:gd name="connsiteX43" fmla="*/ 297432 w 602205"/>
              <a:gd name="connsiteY43" fmla="*/ 0 h 6067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602205" h="606722">
                <a:moveTo>
                  <a:pt x="386204" y="222916"/>
                </a:moveTo>
                <a:lnTo>
                  <a:pt x="516692" y="222916"/>
                </a:lnTo>
                <a:cubicBezTo>
                  <a:pt x="525163" y="222916"/>
                  <a:pt x="537465" y="225936"/>
                  <a:pt x="545129" y="231976"/>
                </a:cubicBezTo>
                <a:lnTo>
                  <a:pt x="594743" y="270632"/>
                </a:lnTo>
                <a:cubicBezTo>
                  <a:pt x="599381" y="274256"/>
                  <a:pt x="602205" y="279692"/>
                  <a:pt x="602205" y="285329"/>
                </a:cubicBezTo>
                <a:cubicBezTo>
                  <a:pt x="602205" y="291168"/>
                  <a:pt x="599381" y="296604"/>
                  <a:pt x="594944" y="300228"/>
                </a:cubicBezTo>
                <a:lnTo>
                  <a:pt x="545129" y="340293"/>
                </a:lnTo>
                <a:cubicBezTo>
                  <a:pt x="539280" y="344924"/>
                  <a:pt x="526978" y="351769"/>
                  <a:pt x="516692" y="351769"/>
                </a:cubicBezTo>
                <a:lnTo>
                  <a:pt x="386204" y="351769"/>
                </a:lnTo>
                <a:close/>
                <a:moveTo>
                  <a:pt x="85299" y="131463"/>
                </a:moveTo>
                <a:lnTo>
                  <a:pt x="216777" y="131463"/>
                </a:lnTo>
                <a:lnTo>
                  <a:pt x="216777" y="260386"/>
                </a:lnTo>
                <a:lnTo>
                  <a:pt x="85299" y="260386"/>
                </a:lnTo>
                <a:cubicBezTo>
                  <a:pt x="74813" y="260386"/>
                  <a:pt x="62311" y="252530"/>
                  <a:pt x="57068" y="248501"/>
                </a:cubicBezTo>
                <a:lnTo>
                  <a:pt x="7058" y="206803"/>
                </a:lnTo>
                <a:cubicBezTo>
                  <a:pt x="2621" y="203177"/>
                  <a:pt x="0" y="198140"/>
                  <a:pt x="0" y="192903"/>
                </a:cubicBezTo>
                <a:cubicBezTo>
                  <a:pt x="0" y="187464"/>
                  <a:pt x="2621" y="182428"/>
                  <a:pt x="7260" y="178802"/>
                </a:cubicBezTo>
                <a:lnTo>
                  <a:pt x="57068" y="139924"/>
                </a:lnTo>
                <a:cubicBezTo>
                  <a:pt x="64327" y="134082"/>
                  <a:pt x="76426" y="131463"/>
                  <a:pt x="85299" y="131463"/>
                </a:cubicBezTo>
                <a:close/>
                <a:moveTo>
                  <a:pt x="386204" y="42904"/>
                </a:moveTo>
                <a:lnTo>
                  <a:pt x="516692" y="42904"/>
                </a:lnTo>
                <a:cubicBezTo>
                  <a:pt x="525163" y="42904"/>
                  <a:pt x="537667" y="46125"/>
                  <a:pt x="545129" y="51964"/>
                </a:cubicBezTo>
                <a:lnTo>
                  <a:pt x="594743" y="90620"/>
                </a:lnTo>
                <a:cubicBezTo>
                  <a:pt x="599381" y="94244"/>
                  <a:pt x="602205" y="99680"/>
                  <a:pt x="602205" y="105317"/>
                </a:cubicBezTo>
                <a:cubicBezTo>
                  <a:pt x="602205" y="111156"/>
                  <a:pt x="599381" y="116592"/>
                  <a:pt x="594944" y="120216"/>
                </a:cubicBezTo>
                <a:lnTo>
                  <a:pt x="545129" y="160281"/>
                </a:lnTo>
                <a:cubicBezTo>
                  <a:pt x="539280" y="164912"/>
                  <a:pt x="526978" y="171757"/>
                  <a:pt x="516692" y="171757"/>
                </a:cubicBezTo>
                <a:lnTo>
                  <a:pt x="386204" y="171757"/>
                </a:lnTo>
                <a:close/>
                <a:moveTo>
                  <a:pt x="297432" y="0"/>
                </a:moveTo>
                <a:cubicBezTo>
                  <a:pt x="319615" y="0"/>
                  <a:pt x="337765" y="18123"/>
                  <a:pt x="337765" y="40274"/>
                </a:cubicBezTo>
                <a:lnTo>
                  <a:pt x="337765" y="496775"/>
                </a:lnTo>
                <a:lnTo>
                  <a:pt x="419238" y="496775"/>
                </a:lnTo>
                <a:cubicBezTo>
                  <a:pt x="432346" y="496775"/>
                  <a:pt x="448076" y="504629"/>
                  <a:pt x="455739" y="515100"/>
                </a:cubicBezTo>
                <a:lnTo>
                  <a:pt x="497887" y="572490"/>
                </a:lnTo>
                <a:cubicBezTo>
                  <a:pt x="503332" y="580142"/>
                  <a:pt x="504542" y="588599"/>
                  <a:pt x="500912" y="595647"/>
                </a:cubicBezTo>
                <a:cubicBezTo>
                  <a:pt x="497282" y="602695"/>
                  <a:pt x="489820" y="606722"/>
                  <a:pt x="480342" y="606722"/>
                </a:cubicBezTo>
                <a:lnTo>
                  <a:pt x="121580" y="606722"/>
                </a:lnTo>
                <a:cubicBezTo>
                  <a:pt x="112102" y="606722"/>
                  <a:pt x="104640" y="602695"/>
                  <a:pt x="101010" y="595647"/>
                </a:cubicBezTo>
                <a:cubicBezTo>
                  <a:pt x="97380" y="588599"/>
                  <a:pt x="98590" y="580142"/>
                  <a:pt x="104237" y="572490"/>
                </a:cubicBezTo>
                <a:lnTo>
                  <a:pt x="146183" y="515100"/>
                </a:lnTo>
                <a:cubicBezTo>
                  <a:pt x="153846" y="504629"/>
                  <a:pt x="169576" y="496775"/>
                  <a:pt x="182684" y="496775"/>
                </a:cubicBezTo>
                <a:lnTo>
                  <a:pt x="257099" y="496775"/>
                </a:lnTo>
                <a:lnTo>
                  <a:pt x="257099" y="40274"/>
                </a:lnTo>
                <a:cubicBezTo>
                  <a:pt x="257099" y="18123"/>
                  <a:pt x="275249" y="0"/>
                  <a:pt x="297432" y="0"/>
                </a:cubicBezTo>
                <a:close/>
              </a:path>
            </a:pathLst>
          </a:custGeom>
          <a:solidFill>
            <a:srgbClr val="FFFFFF"/>
          </a:solidFill>
          <a:ln w="12700" cap="flat">
            <a:noFill/>
            <a:miter lim="400000"/>
          </a:ln>
          <a:effectLst/>
        </p:spPr>
        <p:txBody>
          <a:bodyPr wrap="square" lIns="19050" tIns="19050" rIns="19050" bIns="19050" numCol="1" anchor="ctr">
            <a:no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defTabSz="228600">
              <a:defRPr sz="3000">
                <a:solidFill>
                  <a:srgbClr val="FFFFFF"/>
                </a:solidFill>
                <a:effectLst>
                  <a:outerShdw blurRad="38100" dist="12700" dir="5400000" rotWithShape="0">
                    <a:srgbClr val="000000">
                      <a:alpha val="50000"/>
                    </a:srgbClr>
                  </a:outerShdw>
                </a:effectLst>
              </a:defRPr>
            </a:pPr>
            <a:endParaRPr sz="1500"/>
          </a:p>
        </p:txBody>
      </p:sp>
      <p:sp>
        <p:nvSpPr>
          <p:cNvPr id="23" name="iṧļidè">
            <a:extLst>
              <a:ext uri="{FF2B5EF4-FFF2-40B4-BE49-F238E27FC236}">
                <a16:creationId xmlns:a16="http://schemas.microsoft.com/office/drawing/2014/main" id="{390A5D76-BC50-41A2-9B99-4D7965A69659}"/>
              </a:ext>
            </a:extLst>
          </p:cNvPr>
          <p:cNvSpPr/>
          <p:nvPr/>
        </p:nvSpPr>
        <p:spPr>
          <a:xfrm>
            <a:off x="6364147" y="4764898"/>
            <a:ext cx="279708" cy="281804"/>
          </a:xfrm>
          <a:custGeom>
            <a:avLst/>
            <a:gdLst>
              <a:gd name="connsiteX0" fmla="*/ 386204 w 602205"/>
              <a:gd name="connsiteY0" fmla="*/ 222916 h 606722"/>
              <a:gd name="connsiteX1" fmla="*/ 516692 w 602205"/>
              <a:gd name="connsiteY1" fmla="*/ 222916 h 606722"/>
              <a:gd name="connsiteX2" fmla="*/ 545129 w 602205"/>
              <a:gd name="connsiteY2" fmla="*/ 231976 h 606722"/>
              <a:gd name="connsiteX3" fmla="*/ 594743 w 602205"/>
              <a:gd name="connsiteY3" fmla="*/ 270632 h 606722"/>
              <a:gd name="connsiteX4" fmla="*/ 602205 w 602205"/>
              <a:gd name="connsiteY4" fmla="*/ 285329 h 606722"/>
              <a:gd name="connsiteX5" fmla="*/ 594944 w 602205"/>
              <a:gd name="connsiteY5" fmla="*/ 300228 h 606722"/>
              <a:gd name="connsiteX6" fmla="*/ 545129 w 602205"/>
              <a:gd name="connsiteY6" fmla="*/ 340293 h 606722"/>
              <a:gd name="connsiteX7" fmla="*/ 516692 w 602205"/>
              <a:gd name="connsiteY7" fmla="*/ 351769 h 606722"/>
              <a:gd name="connsiteX8" fmla="*/ 386204 w 602205"/>
              <a:gd name="connsiteY8" fmla="*/ 351769 h 606722"/>
              <a:gd name="connsiteX9" fmla="*/ 85299 w 602205"/>
              <a:gd name="connsiteY9" fmla="*/ 131463 h 606722"/>
              <a:gd name="connsiteX10" fmla="*/ 216777 w 602205"/>
              <a:gd name="connsiteY10" fmla="*/ 131463 h 606722"/>
              <a:gd name="connsiteX11" fmla="*/ 216777 w 602205"/>
              <a:gd name="connsiteY11" fmla="*/ 260386 h 606722"/>
              <a:gd name="connsiteX12" fmla="*/ 85299 w 602205"/>
              <a:gd name="connsiteY12" fmla="*/ 260386 h 606722"/>
              <a:gd name="connsiteX13" fmla="*/ 57068 w 602205"/>
              <a:gd name="connsiteY13" fmla="*/ 248501 h 606722"/>
              <a:gd name="connsiteX14" fmla="*/ 7058 w 602205"/>
              <a:gd name="connsiteY14" fmla="*/ 206803 h 606722"/>
              <a:gd name="connsiteX15" fmla="*/ 0 w 602205"/>
              <a:gd name="connsiteY15" fmla="*/ 192903 h 606722"/>
              <a:gd name="connsiteX16" fmla="*/ 7260 w 602205"/>
              <a:gd name="connsiteY16" fmla="*/ 178802 h 606722"/>
              <a:gd name="connsiteX17" fmla="*/ 57068 w 602205"/>
              <a:gd name="connsiteY17" fmla="*/ 139924 h 606722"/>
              <a:gd name="connsiteX18" fmla="*/ 85299 w 602205"/>
              <a:gd name="connsiteY18" fmla="*/ 131463 h 606722"/>
              <a:gd name="connsiteX19" fmla="*/ 386204 w 602205"/>
              <a:gd name="connsiteY19" fmla="*/ 42904 h 606722"/>
              <a:gd name="connsiteX20" fmla="*/ 516692 w 602205"/>
              <a:gd name="connsiteY20" fmla="*/ 42904 h 606722"/>
              <a:gd name="connsiteX21" fmla="*/ 545129 w 602205"/>
              <a:gd name="connsiteY21" fmla="*/ 51964 h 606722"/>
              <a:gd name="connsiteX22" fmla="*/ 594743 w 602205"/>
              <a:gd name="connsiteY22" fmla="*/ 90620 h 606722"/>
              <a:gd name="connsiteX23" fmla="*/ 602205 w 602205"/>
              <a:gd name="connsiteY23" fmla="*/ 105317 h 606722"/>
              <a:gd name="connsiteX24" fmla="*/ 594944 w 602205"/>
              <a:gd name="connsiteY24" fmla="*/ 120216 h 606722"/>
              <a:gd name="connsiteX25" fmla="*/ 545129 w 602205"/>
              <a:gd name="connsiteY25" fmla="*/ 160281 h 606722"/>
              <a:gd name="connsiteX26" fmla="*/ 516692 w 602205"/>
              <a:gd name="connsiteY26" fmla="*/ 171757 h 606722"/>
              <a:gd name="connsiteX27" fmla="*/ 386204 w 602205"/>
              <a:gd name="connsiteY27" fmla="*/ 171757 h 606722"/>
              <a:gd name="connsiteX28" fmla="*/ 297432 w 602205"/>
              <a:gd name="connsiteY28" fmla="*/ 0 h 606722"/>
              <a:gd name="connsiteX29" fmla="*/ 337765 w 602205"/>
              <a:gd name="connsiteY29" fmla="*/ 40274 h 606722"/>
              <a:gd name="connsiteX30" fmla="*/ 337765 w 602205"/>
              <a:gd name="connsiteY30" fmla="*/ 496775 h 606722"/>
              <a:gd name="connsiteX31" fmla="*/ 419238 w 602205"/>
              <a:gd name="connsiteY31" fmla="*/ 496775 h 606722"/>
              <a:gd name="connsiteX32" fmla="*/ 455739 w 602205"/>
              <a:gd name="connsiteY32" fmla="*/ 515100 h 606722"/>
              <a:gd name="connsiteX33" fmla="*/ 497887 w 602205"/>
              <a:gd name="connsiteY33" fmla="*/ 572490 h 606722"/>
              <a:gd name="connsiteX34" fmla="*/ 500912 w 602205"/>
              <a:gd name="connsiteY34" fmla="*/ 595647 h 606722"/>
              <a:gd name="connsiteX35" fmla="*/ 480342 w 602205"/>
              <a:gd name="connsiteY35" fmla="*/ 606722 h 606722"/>
              <a:gd name="connsiteX36" fmla="*/ 121580 w 602205"/>
              <a:gd name="connsiteY36" fmla="*/ 606722 h 606722"/>
              <a:gd name="connsiteX37" fmla="*/ 101010 w 602205"/>
              <a:gd name="connsiteY37" fmla="*/ 595647 h 606722"/>
              <a:gd name="connsiteX38" fmla="*/ 104237 w 602205"/>
              <a:gd name="connsiteY38" fmla="*/ 572490 h 606722"/>
              <a:gd name="connsiteX39" fmla="*/ 146183 w 602205"/>
              <a:gd name="connsiteY39" fmla="*/ 515100 h 606722"/>
              <a:gd name="connsiteX40" fmla="*/ 182684 w 602205"/>
              <a:gd name="connsiteY40" fmla="*/ 496775 h 606722"/>
              <a:gd name="connsiteX41" fmla="*/ 257099 w 602205"/>
              <a:gd name="connsiteY41" fmla="*/ 496775 h 606722"/>
              <a:gd name="connsiteX42" fmla="*/ 257099 w 602205"/>
              <a:gd name="connsiteY42" fmla="*/ 40274 h 606722"/>
              <a:gd name="connsiteX43" fmla="*/ 297432 w 602205"/>
              <a:gd name="connsiteY43" fmla="*/ 0 h 6067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602205" h="606722">
                <a:moveTo>
                  <a:pt x="386204" y="222916"/>
                </a:moveTo>
                <a:lnTo>
                  <a:pt x="516692" y="222916"/>
                </a:lnTo>
                <a:cubicBezTo>
                  <a:pt x="525163" y="222916"/>
                  <a:pt x="537465" y="225936"/>
                  <a:pt x="545129" y="231976"/>
                </a:cubicBezTo>
                <a:lnTo>
                  <a:pt x="594743" y="270632"/>
                </a:lnTo>
                <a:cubicBezTo>
                  <a:pt x="599381" y="274256"/>
                  <a:pt x="602205" y="279692"/>
                  <a:pt x="602205" y="285329"/>
                </a:cubicBezTo>
                <a:cubicBezTo>
                  <a:pt x="602205" y="291168"/>
                  <a:pt x="599381" y="296604"/>
                  <a:pt x="594944" y="300228"/>
                </a:cubicBezTo>
                <a:lnTo>
                  <a:pt x="545129" y="340293"/>
                </a:lnTo>
                <a:cubicBezTo>
                  <a:pt x="539280" y="344924"/>
                  <a:pt x="526978" y="351769"/>
                  <a:pt x="516692" y="351769"/>
                </a:cubicBezTo>
                <a:lnTo>
                  <a:pt x="386204" y="351769"/>
                </a:lnTo>
                <a:close/>
                <a:moveTo>
                  <a:pt x="85299" y="131463"/>
                </a:moveTo>
                <a:lnTo>
                  <a:pt x="216777" y="131463"/>
                </a:lnTo>
                <a:lnTo>
                  <a:pt x="216777" y="260386"/>
                </a:lnTo>
                <a:lnTo>
                  <a:pt x="85299" y="260386"/>
                </a:lnTo>
                <a:cubicBezTo>
                  <a:pt x="74813" y="260386"/>
                  <a:pt x="62311" y="252530"/>
                  <a:pt x="57068" y="248501"/>
                </a:cubicBezTo>
                <a:lnTo>
                  <a:pt x="7058" y="206803"/>
                </a:lnTo>
                <a:cubicBezTo>
                  <a:pt x="2621" y="203177"/>
                  <a:pt x="0" y="198140"/>
                  <a:pt x="0" y="192903"/>
                </a:cubicBezTo>
                <a:cubicBezTo>
                  <a:pt x="0" y="187464"/>
                  <a:pt x="2621" y="182428"/>
                  <a:pt x="7260" y="178802"/>
                </a:cubicBezTo>
                <a:lnTo>
                  <a:pt x="57068" y="139924"/>
                </a:lnTo>
                <a:cubicBezTo>
                  <a:pt x="64327" y="134082"/>
                  <a:pt x="76426" y="131463"/>
                  <a:pt x="85299" y="131463"/>
                </a:cubicBezTo>
                <a:close/>
                <a:moveTo>
                  <a:pt x="386204" y="42904"/>
                </a:moveTo>
                <a:lnTo>
                  <a:pt x="516692" y="42904"/>
                </a:lnTo>
                <a:cubicBezTo>
                  <a:pt x="525163" y="42904"/>
                  <a:pt x="537667" y="46125"/>
                  <a:pt x="545129" y="51964"/>
                </a:cubicBezTo>
                <a:lnTo>
                  <a:pt x="594743" y="90620"/>
                </a:lnTo>
                <a:cubicBezTo>
                  <a:pt x="599381" y="94244"/>
                  <a:pt x="602205" y="99680"/>
                  <a:pt x="602205" y="105317"/>
                </a:cubicBezTo>
                <a:cubicBezTo>
                  <a:pt x="602205" y="111156"/>
                  <a:pt x="599381" y="116592"/>
                  <a:pt x="594944" y="120216"/>
                </a:cubicBezTo>
                <a:lnTo>
                  <a:pt x="545129" y="160281"/>
                </a:lnTo>
                <a:cubicBezTo>
                  <a:pt x="539280" y="164912"/>
                  <a:pt x="526978" y="171757"/>
                  <a:pt x="516692" y="171757"/>
                </a:cubicBezTo>
                <a:lnTo>
                  <a:pt x="386204" y="171757"/>
                </a:lnTo>
                <a:close/>
                <a:moveTo>
                  <a:pt x="297432" y="0"/>
                </a:moveTo>
                <a:cubicBezTo>
                  <a:pt x="319615" y="0"/>
                  <a:pt x="337765" y="18123"/>
                  <a:pt x="337765" y="40274"/>
                </a:cubicBezTo>
                <a:lnTo>
                  <a:pt x="337765" y="496775"/>
                </a:lnTo>
                <a:lnTo>
                  <a:pt x="419238" y="496775"/>
                </a:lnTo>
                <a:cubicBezTo>
                  <a:pt x="432346" y="496775"/>
                  <a:pt x="448076" y="504629"/>
                  <a:pt x="455739" y="515100"/>
                </a:cubicBezTo>
                <a:lnTo>
                  <a:pt x="497887" y="572490"/>
                </a:lnTo>
                <a:cubicBezTo>
                  <a:pt x="503332" y="580142"/>
                  <a:pt x="504542" y="588599"/>
                  <a:pt x="500912" y="595647"/>
                </a:cubicBezTo>
                <a:cubicBezTo>
                  <a:pt x="497282" y="602695"/>
                  <a:pt x="489820" y="606722"/>
                  <a:pt x="480342" y="606722"/>
                </a:cubicBezTo>
                <a:lnTo>
                  <a:pt x="121580" y="606722"/>
                </a:lnTo>
                <a:cubicBezTo>
                  <a:pt x="112102" y="606722"/>
                  <a:pt x="104640" y="602695"/>
                  <a:pt x="101010" y="595647"/>
                </a:cubicBezTo>
                <a:cubicBezTo>
                  <a:pt x="97380" y="588599"/>
                  <a:pt x="98590" y="580142"/>
                  <a:pt x="104237" y="572490"/>
                </a:cubicBezTo>
                <a:lnTo>
                  <a:pt x="146183" y="515100"/>
                </a:lnTo>
                <a:cubicBezTo>
                  <a:pt x="153846" y="504629"/>
                  <a:pt x="169576" y="496775"/>
                  <a:pt x="182684" y="496775"/>
                </a:cubicBezTo>
                <a:lnTo>
                  <a:pt x="257099" y="496775"/>
                </a:lnTo>
                <a:lnTo>
                  <a:pt x="257099" y="40274"/>
                </a:lnTo>
                <a:cubicBezTo>
                  <a:pt x="257099" y="18123"/>
                  <a:pt x="275249" y="0"/>
                  <a:pt x="297432" y="0"/>
                </a:cubicBezTo>
                <a:close/>
              </a:path>
            </a:pathLst>
          </a:custGeom>
          <a:solidFill>
            <a:srgbClr val="FFFFFF"/>
          </a:solidFill>
          <a:ln w="12700" cap="flat">
            <a:noFill/>
            <a:miter lim="400000"/>
          </a:ln>
          <a:effectLst/>
        </p:spPr>
        <p:txBody>
          <a:bodyPr wrap="square" lIns="19050" tIns="19050" rIns="19050" bIns="19050" numCol="1" anchor="ctr">
            <a:no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defTabSz="228600">
              <a:defRPr sz="3000">
                <a:solidFill>
                  <a:srgbClr val="FFFFFF"/>
                </a:solidFill>
                <a:effectLst>
                  <a:outerShdw blurRad="38100" dist="12700" dir="5400000" rotWithShape="0">
                    <a:srgbClr val="000000">
                      <a:alpha val="50000"/>
                    </a:srgbClr>
                  </a:outerShdw>
                </a:effectLst>
              </a:defRPr>
            </a:pPr>
            <a:endParaRPr sz="1500"/>
          </a:p>
        </p:txBody>
      </p:sp>
      <p:graphicFrame>
        <p:nvGraphicFramePr>
          <p:cNvPr id="29" name="内容占位符 4"/>
          <p:cNvGraphicFramePr>
            <a:graphicFrameLocks/>
          </p:cNvGraphicFramePr>
          <p:nvPr>
            <p:extLst>
              <p:ext uri="{D42A27DB-BD31-4B8C-83A1-F6EECF244321}">
                <p14:modId xmlns:p14="http://schemas.microsoft.com/office/powerpoint/2010/main" val="5562909"/>
              </p:ext>
            </p:extLst>
          </p:nvPr>
        </p:nvGraphicFramePr>
        <p:xfrm>
          <a:off x="1092173" y="1540664"/>
          <a:ext cx="9625135" cy="41910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435940740"/>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D6E62891-401F-43D7-B095-CA3438463851}"/>
              </a:ext>
            </a:extLst>
          </p:cNvPr>
          <p:cNvSpPr>
            <a:spLocks noGrp="1"/>
          </p:cNvSpPr>
          <p:nvPr>
            <p:ph type="title"/>
          </p:nvPr>
        </p:nvSpPr>
        <p:spPr/>
        <p:txBody>
          <a:bodyPr/>
          <a:lstStyle/>
          <a:p>
            <a:r>
              <a:rPr lang="zh-CN" altLang="en-US" dirty="0" smtClean="0"/>
              <a:t>报警机制</a:t>
            </a:r>
            <a:endParaRPr lang="zh-CN" altLang="en-US" dirty="0"/>
          </a:p>
        </p:txBody>
      </p:sp>
      <p:sp>
        <p:nvSpPr>
          <p:cNvPr id="6" name="îSľíde">
            <a:extLst>
              <a:ext uri="{FF2B5EF4-FFF2-40B4-BE49-F238E27FC236}">
                <a16:creationId xmlns:a16="http://schemas.microsoft.com/office/drawing/2014/main" id="{6244A2C2-C5DA-432E-8A38-4869A6E11036}"/>
              </a:ext>
            </a:extLst>
          </p:cNvPr>
          <p:cNvSpPr/>
          <p:nvPr/>
        </p:nvSpPr>
        <p:spPr bwMode="auto">
          <a:xfrm>
            <a:off x="3653671" y="4330248"/>
            <a:ext cx="1467639" cy="1466069"/>
          </a:xfrm>
          <a:prstGeom prst="ellipse">
            <a:avLst/>
          </a:prstGeom>
          <a:solidFill>
            <a:schemeClr val="bg1">
              <a:lumMod val="85000"/>
            </a:schemeClr>
          </a:solidFill>
          <a:ln w="38100">
            <a:noFill/>
          </a:ln>
          <a:extLst/>
        </p:spPr>
        <p:style>
          <a:lnRef idx="2">
            <a:schemeClr val="dk1"/>
          </a:lnRef>
          <a:fillRef idx="1">
            <a:schemeClr val="lt1"/>
          </a:fillRef>
          <a:effectRef idx="0">
            <a:schemeClr val="dk1"/>
          </a:effectRef>
          <a:fontRef idx="minor">
            <a:schemeClr val="dk1"/>
          </a:fontRef>
        </p:style>
        <p:txBody>
          <a:bodyPr wrap="none" rtlCol="0" anchor="ctr">
            <a:normAutofit/>
          </a:bodyPr>
          <a:lstStyle/>
          <a:p>
            <a:pPr algn="ctr"/>
            <a:r>
              <a:rPr lang="zh-CN" altLang="en-US" b="1" dirty="0" smtClean="0">
                <a:solidFill>
                  <a:schemeClr val="tx1"/>
                </a:solidFill>
              </a:rPr>
              <a:t>接驳台停？</a:t>
            </a:r>
            <a:endParaRPr lang="en-US" altLang="zh-CN" b="1" dirty="0" smtClean="0">
              <a:solidFill>
                <a:schemeClr val="tx1"/>
              </a:solidFill>
            </a:endParaRPr>
          </a:p>
          <a:p>
            <a:pPr algn="ctr"/>
            <a:r>
              <a:rPr lang="zh-CN" altLang="en-US" b="1" dirty="0" smtClean="0">
                <a:solidFill>
                  <a:schemeClr val="tx1"/>
                </a:solidFill>
              </a:rPr>
              <a:t>报警灯亮？</a:t>
            </a:r>
            <a:endParaRPr lang="zh-CN" altLang="en-US" b="1" dirty="0">
              <a:solidFill>
                <a:schemeClr val="tx1"/>
              </a:solidFill>
            </a:endParaRPr>
          </a:p>
        </p:txBody>
      </p:sp>
      <p:sp>
        <p:nvSpPr>
          <p:cNvPr id="7" name="íṥḻiḓè">
            <a:extLst>
              <a:ext uri="{FF2B5EF4-FFF2-40B4-BE49-F238E27FC236}">
                <a16:creationId xmlns:a16="http://schemas.microsoft.com/office/drawing/2014/main" id="{842487CC-44A4-4C69-9456-BEBDACFDBDBA}"/>
              </a:ext>
            </a:extLst>
          </p:cNvPr>
          <p:cNvSpPr/>
          <p:nvPr/>
        </p:nvSpPr>
        <p:spPr bwMode="auto">
          <a:xfrm>
            <a:off x="5488580" y="4385426"/>
            <a:ext cx="1358904" cy="1355711"/>
          </a:xfrm>
          <a:prstGeom prst="ellipse">
            <a:avLst/>
          </a:prstGeom>
          <a:solidFill>
            <a:schemeClr val="accent2"/>
          </a:solidFill>
          <a:ln w="38100">
            <a:noFill/>
          </a:ln>
          <a:extLst/>
        </p:spPr>
        <p:style>
          <a:lnRef idx="2">
            <a:schemeClr val="dk1"/>
          </a:lnRef>
          <a:fillRef idx="1">
            <a:schemeClr val="lt1"/>
          </a:fillRef>
          <a:effectRef idx="0">
            <a:schemeClr val="dk1"/>
          </a:effectRef>
          <a:fontRef idx="minor">
            <a:schemeClr val="dk1"/>
          </a:fontRef>
        </p:style>
        <p:txBody>
          <a:bodyPr wrap="none" rtlCol="0" anchor="ctr">
            <a:normAutofit/>
          </a:bodyPr>
          <a:lstStyle/>
          <a:p>
            <a:pPr algn="ctr"/>
            <a:r>
              <a:rPr lang="zh-CN" altLang="en-US" b="1" dirty="0" smtClean="0">
                <a:solidFill>
                  <a:schemeClr val="bg1"/>
                </a:solidFill>
              </a:rPr>
              <a:t>解决问题</a:t>
            </a:r>
            <a:endParaRPr lang="zh-CN" altLang="en-US" b="1" dirty="0">
              <a:solidFill>
                <a:schemeClr val="bg1"/>
              </a:solidFill>
            </a:endParaRPr>
          </a:p>
        </p:txBody>
      </p:sp>
      <p:sp>
        <p:nvSpPr>
          <p:cNvPr id="9" name="îṡľíḍe">
            <a:extLst>
              <a:ext uri="{FF2B5EF4-FFF2-40B4-BE49-F238E27FC236}">
                <a16:creationId xmlns:a16="http://schemas.microsoft.com/office/drawing/2014/main" id="{8A9F2031-D4F1-4013-B592-C3B3E8F369E1}"/>
              </a:ext>
            </a:extLst>
          </p:cNvPr>
          <p:cNvSpPr/>
          <p:nvPr/>
        </p:nvSpPr>
        <p:spPr bwMode="auto">
          <a:xfrm>
            <a:off x="7173802" y="4324302"/>
            <a:ext cx="1405788" cy="1450304"/>
          </a:xfrm>
          <a:prstGeom prst="ellipse">
            <a:avLst/>
          </a:prstGeom>
          <a:solidFill>
            <a:schemeClr val="bg1">
              <a:lumMod val="85000"/>
            </a:schemeClr>
          </a:solidFill>
          <a:ln w="38100">
            <a:noFill/>
          </a:ln>
          <a:extLst/>
        </p:spPr>
        <p:style>
          <a:lnRef idx="2">
            <a:schemeClr val="dk1"/>
          </a:lnRef>
          <a:fillRef idx="1">
            <a:schemeClr val="lt1"/>
          </a:fillRef>
          <a:effectRef idx="0">
            <a:schemeClr val="dk1"/>
          </a:effectRef>
          <a:fontRef idx="minor">
            <a:schemeClr val="dk1"/>
          </a:fontRef>
        </p:style>
        <p:txBody>
          <a:bodyPr wrap="none" rtlCol="0" anchor="ctr">
            <a:normAutofit/>
          </a:bodyPr>
          <a:lstStyle/>
          <a:p>
            <a:pPr algn="ctr"/>
            <a:r>
              <a:rPr lang="zh-CN" altLang="en-US" b="1" dirty="0" smtClean="0">
                <a:solidFill>
                  <a:schemeClr val="tx1"/>
                </a:solidFill>
              </a:rPr>
              <a:t>接驳台恢复</a:t>
            </a:r>
            <a:endParaRPr lang="en-US" altLang="zh-CN" b="1" dirty="0" smtClean="0">
              <a:solidFill>
                <a:schemeClr val="tx1"/>
              </a:solidFill>
            </a:endParaRPr>
          </a:p>
          <a:p>
            <a:pPr algn="ctr"/>
            <a:r>
              <a:rPr lang="zh-CN" altLang="en-US" b="1" dirty="0" smtClean="0">
                <a:solidFill>
                  <a:schemeClr val="tx1"/>
                </a:solidFill>
              </a:rPr>
              <a:t>报警灯恢复</a:t>
            </a:r>
            <a:endParaRPr lang="zh-CN" altLang="en-US" b="1" dirty="0">
              <a:solidFill>
                <a:schemeClr val="tx1"/>
              </a:solidFill>
            </a:endParaRPr>
          </a:p>
        </p:txBody>
      </p:sp>
      <p:sp>
        <p:nvSpPr>
          <p:cNvPr id="10" name="ïş1îḑé">
            <a:extLst>
              <a:ext uri="{FF2B5EF4-FFF2-40B4-BE49-F238E27FC236}">
                <a16:creationId xmlns:a16="http://schemas.microsoft.com/office/drawing/2014/main" id="{2D16DF5D-39A1-4C81-B913-9FC494AB5F08}"/>
              </a:ext>
            </a:extLst>
          </p:cNvPr>
          <p:cNvSpPr/>
          <p:nvPr/>
        </p:nvSpPr>
        <p:spPr bwMode="auto">
          <a:xfrm rot="2936373" flipV="1">
            <a:off x="3696829" y="1905002"/>
            <a:ext cx="14416" cy="1920505"/>
          </a:xfrm>
          <a:prstGeom prst="line">
            <a:avLst/>
          </a:prstGeom>
          <a:noFill/>
          <a:ln w="15875">
            <a:solidFill>
              <a:schemeClr val="hlink"/>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0" tIns="0" rIns="0" bIns="0" anchor="ctr"/>
          <a:lstStyle/>
          <a:p>
            <a:endParaRPr lang="zh-CN" altLang="en-US"/>
          </a:p>
        </p:txBody>
      </p:sp>
      <p:sp>
        <p:nvSpPr>
          <p:cNvPr id="11" name="ïṣľîḓe">
            <a:extLst>
              <a:ext uri="{FF2B5EF4-FFF2-40B4-BE49-F238E27FC236}">
                <a16:creationId xmlns:a16="http://schemas.microsoft.com/office/drawing/2014/main" id="{07D0A0A2-8D61-4846-8A1C-031EBEDB4B87}"/>
              </a:ext>
            </a:extLst>
          </p:cNvPr>
          <p:cNvSpPr/>
          <p:nvPr/>
        </p:nvSpPr>
        <p:spPr bwMode="auto">
          <a:xfrm flipH="1" flipV="1">
            <a:off x="4427878" y="2242500"/>
            <a:ext cx="11662" cy="2081802"/>
          </a:xfrm>
          <a:prstGeom prst="line">
            <a:avLst/>
          </a:prstGeom>
          <a:noFill/>
          <a:ln w="15875">
            <a:solidFill>
              <a:schemeClr val="hlink"/>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0" tIns="0" rIns="0" bIns="0" anchor="ctr"/>
          <a:lstStyle/>
          <a:p>
            <a:endParaRPr lang="zh-CN" altLang="en-US"/>
          </a:p>
        </p:txBody>
      </p:sp>
      <p:sp>
        <p:nvSpPr>
          <p:cNvPr id="12" name="išľíḓê">
            <a:extLst>
              <a:ext uri="{FF2B5EF4-FFF2-40B4-BE49-F238E27FC236}">
                <a16:creationId xmlns:a16="http://schemas.microsoft.com/office/drawing/2014/main" id="{DC0079DC-B201-4A7B-99BD-A3294BC4938E}"/>
              </a:ext>
            </a:extLst>
          </p:cNvPr>
          <p:cNvSpPr/>
          <p:nvPr/>
        </p:nvSpPr>
        <p:spPr bwMode="auto">
          <a:xfrm flipH="1" flipV="1">
            <a:off x="6117527" y="2242500"/>
            <a:ext cx="11021" cy="2142926"/>
          </a:xfrm>
          <a:prstGeom prst="line">
            <a:avLst/>
          </a:prstGeom>
          <a:noFill/>
          <a:ln w="15875">
            <a:solidFill>
              <a:schemeClr val="hlink"/>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0" tIns="0" rIns="0" bIns="0" anchor="ctr"/>
          <a:lstStyle/>
          <a:p>
            <a:endParaRPr lang="zh-CN" altLang="en-US"/>
          </a:p>
        </p:txBody>
      </p:sp>
      <p:sp>
        <p:nvSpPr>
          <p:cNvPr id="14" name="îṣľídê">
            <a:extLst>
              <a:ext uri="{FF2B5EF4-FFF2-40B4-BE49-F238E27FC236}">
                <a16:creationId xmlns:a16="http://schemas.microsoft.com/office/drawing/2014/main" id="{E1489225-0828-46D4-8B99-98ECA84D4A82}"/>
              </a:ext>
            </a:extLst>
          </p:cNvPr>
          <p:cNvSpPr/>
          <p:nvPr/>
        </p:nvSpPr>
        <p:spPr bwMode="auto">
          <a:xfrm flipH="1" flipV="1">
            <a:off x="7746863" y="2242500"/>
            <a:ext cx="21520" cy="2142926"/>
          </a:xfrm>
          <a:prstGeom prst="line">
            <a:avLst/>
          </a:prstGeom>
          <a:noFill/>
          <a:ln w="15875">
            <a:solidFill>
              <a:schemeClr val="hlink"/>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0" tIns="0" rIns="0" bIns="0" anchor="ctr"/>
          <a:lstStyle/>
          <a:p>
            <a:endParaRPr lang="zh-CN" altLang="en-US"/>
          </a:p>
        </p:txBody>
      </p:sp>
      <p:sp>
        <p:nvSpPr>
          <p:cNvPr id="15" name="íśļiḍe">
            <a:extLst>
              <a:ext uri="{FF2B5EF4-FFF2-40B4-BE49-F238E27FC236}">
                <a16:creationId xmlns:a16="http://schemas.microsoft.com/office/drawing/2014/main" id="{90FACE17-9FB1-4C5A-9F6E-83EE092FF9A6}"/>
              </a:ext>
            </a:extLst>
          </p:cNvPr>
          <p:cNvSpPr/>
          <p:nvPr/>
        </p:nvSpPr>
        <p:spPr bwMode="auto">
          <a:xfrm>
            <a:off x="5121311" y="5063281"/>
            <a:ext cx="367270" cy="0"/>
          </a:xfrm>
          <a:prstGeom prst="line">
            <a:avLst/>
          </a:prstGeom>
          <a:noFill/>
          <a:ln w="38100">
            <a:solidFill>
              <a:srgbClr val="FFC000"/>
            </a:solidFill>
            <a:round/>
            <a:headEnd/>
            <a:tailEnd type="triangle" w="med" len="lg"/>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0" tIns="0" rIns="0" bIns="0" anchor="ctr"/>
          <a:lstStyle/>
          <a:p>
            <a:endParaRPr lang="zh-CN" altLang="en-US"/>
          </a:p>
        </p:txBody>
      </p:sp>
      <p:sp>
        <p:nvSpPr>
          <p:cNvPr id="18" name="íṩļíḓè">
            <a:extLst>
              <a:ext uri="{FF2B5EF4-FFF2-40B4-BE49-F238E27FC236}">
                <a16:creationId xmlns:a16="http://schemas.microsoft.com/office/drawing/2014/main" id="{C3465446-4CD6-43EB-938E-DFBDF137A2B5}"/>
              </a:ext>
            </a:extLst>
          </p:cNvPr>
          <p:cNvSpPr/>
          <p:nvPr/>
        </p:nvSpPr>
        <p:spPr bwMode="auto">
          <a:xfrm rot="1460961">
            <a:off x="2915431" y="4555541"/>
            <a:ext cx="820009" cy="219747"/>
          </a:xfrm>
          <a:prstGeom prst="line">
            <a:avLst/>
          </a:prstGeom>
          <a:noFill/>
          <a:ln w="57150">
            <a:solidFill>
              <a:schemeClr val="bg1">
                <a:lumMod val="75000"/>
              </a:schemeClr>
            </a:solidFill>
            <a:round/>
            <a:headEnd/>
            <a:tailEnd type="triangle" w="med" len="lg"/>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0" tIns="0" rIns="0" bIns="0" anchor="ctr"/>
          <a:lstStyle/>
          <a:p>
            <a:endParaRPr lang="zh-CN" altLang="en-US"/>
          </a:p>
        </p:txBody>
      </p:sp>
      <p:sp>
        <p:nvSpPr>
          <p:cNvPr id="19" name="íṥḷîďê">
            <a:extLst>
              <a:ext uri="{FF2B5EF4-FFF2-40B4-BE49-F238E27FC236}">
                <a16:creationId xmlns:a16="http://schemas.microsoft.com/office/drawing/2014/main" id="{AA8C3C2E-1506-4A03-8681-68411D1DD3D2}"/>
              </a:ext>
            </a:extLst>
          </p:cNvPr>
          <p:cNvSpPr/>
          <p:nvPr/>
        </p:nvSpPr>
        <p:spPr bwMode="auto">
          <a:xfrm rot="18663627" flipH="1" flipV="1">
            <a:off x="8457949" y="1913277"/>
            <a:ext cx="0" cy="1903956"/>
          </a:xfrm>
          <a:prstGeom prst="line">
            <a:avLst/>
          </a:prstGeom>
          <a:noFill/>
          <a:ln w="15875">
            <a:solidFill>
              <a:schemeClr val="hlink"/>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0" tIns="0" rIns="0" bIns="0" anchor="ctr"/>
          <a:lstStyle/>
          <a:p>
            <a:endParaRPr lang="zh-CN" altLang="en-US"/>
          </a:p>
        </p:txBody>
      </p:sp>
      <p:sp>
        <p:nvSpPr>
          <p:cNvPr id="20" name="iṡļîḋè">
            <a:extLst>
              <a:ext uri="{FF2B5EF4-FFF2-40B4-BE49-F238E27FC236}">
                <a16:creationId xmlns:a16="http://schemas.microsoft.com/office/drawing/2014/main" id="{FE63D39D-660A-4F29-B667-EE93D1FC9544}"/>
              </a:ext>
            </a:extLst>
          </p:cNvPr>
          <p:cNvSpPr/>
          <p:nvPr/>
        </p:nvSpPr>
        <p:spPr bwMode="auto">
          <a:xfrm>
            <a:off x="4004441" y="1334238"/>
            <a:ext cx="4142130" cy="920752"/>
          </a:xfrm>
          <a:prstGeom prst="rect">
            <a:avLst/>
          </a:prstGeom>
          <a:solidFill>
            <a:schemeClr val="accent1"/>
          </a:solidFill>
          <a:ln>
            <a:noFill/>
          </a:ln>
          <a:effectLst/>
          <a:extLst/>
        </p:spPr>
        <p:txBody>
          <a:bodyPr wrap="none" lIns="90000" tIns="46800" rIns="90000" bIns="46800" anchor="ctr">
            <a:normAutofit/>
          </a:bodyPr>
          <a:lstStyle>
            <a:lvl1pPr>
              <a:defRPr sz="1300" b="1">
                <a:solidFill>
                  <a:srgbClr val="000000"/>
                </a:solidFill>
              </a:defRPr>
            </a:lvl1pPr>
            <a:lvl2pPr marL="742950" indent="-285750">
              <a:defRPr sz="1300" b="1">
                <a:solidFill>
                  <a:srgbClr val="000000"/>
                </a:solidFill>
              </a:defRPr>
            </a:lvl2pPr>
            <a:lvl3pPr marL="1143000" indent="-228600">
              <a:defRPr sz="1300" b="1">
                <a:solidFill>
                  <a:srgbClr val="000000"/>
                </a:solidFill>
              </a:defRPr>
            </a:lvl3pPr>
            <a:lvl4pPr marL="1600200" indent="-228600">
              <a:defRPr sz="1300" b="1">
                <a:solidFill>
                  <a:srgbClr val="000000"/>
                </a:solidFill>
              </a:defRPr>
            </a:lvl4pPr>
            <a:lvl5pPr marL="2057400" indent="-228600">
              <a:defRPr sz="1300" b="1">
                <a:solidFill>
                  <a:srgbClr val="000000"/>
                </a:solidFill>
              </a:defRPr>
            </a:lvl5pPr>
            <a:lvl6pPr marL="2514600" indent="-228600" eaLnBrk="0" fontAlgn="base" hangingPunct="0">
              <a:spcBef>
                <a:spcPct val="0"/>
              </a:spcBef>
              <a:spcAft>
                <a:spcPct val="0"/>
              </a:spcAft>
              <a:defRPr sz="1300" b="1">
                <a:solidFill>
                  <a:srgbClr val="000000"/>
                </a:solidFill>
              </a:defRPr>
            </a:lvl6pPr>
            <a:lvl7pPr marL="2971800" indent="-228600" eaLnBrk="0" fontAlgn="base" hangingPunct="0">
              <a:spcBef>
                <a:spcPct val="0"/>
              </a:spcBef>
              <a:spcAft>
                <a:spcPct val="0"/>
              </a:spcAft>
              <a:defRPr sz="1300" b="1">
                <a:solidFill>
                  <a:srgbClr val="000000"/>
                </a:solidFill>
              </a:defRPr>
            </a:lvl7pPr>
            <a:lvl8pPr marL="3429000" indent="-228600" eaLnBrk="0" fontAlgn="base" hangingPunct="0">
              <a:spcBef>
                <a:spcPct val="0"/>
              </a:spcBef>
              <a:spcAft>
                <a:spcPct val="0"/>
              </a:spcAft>
              <a:defRPr sz="1300" b="1">
                <a:solidFill>
                  <a:srgbClr val="000000"/>
                </a:solidFill>
              </a:defRPr>
            </a:lvl8pPr>
            <a:lvl9pPr marL="3886200" indent="-228600" eaLnBrk="0" fontAlgn="base" hangingPunct="0">
              <a:spcBef>
                <a:spcPct val="0"/>
              </a:spcBef>
              <a:spcAft>
                <a:spcPct val="0"/>
              </a:spcAft>
              <a:defRPr sz="1300" b="1">
                <a:solidFill>
                  <a:srgbClr val="000000"/>
                </a:solidFill>
              </a:defRPr>
            </a:lvl9pPr>
          </a:lstStyle>
          <a:p>
            <a:pPr algn="ctr">
              <a:spcBef>
                <a:spcPct val="0"/>
              </a:spcBef>
            </a:pPr>
            <a:r>
              <a:rPr lang="zh-CN" altLang="en-US" sz="2800" dirty="0" smtClean="0">
                <a:solidFill>
                  <a:schemeClr val="bg1"/>
                </a:solidFill>
              </a:rPr>
              <a:t>报警流程</a:t>
            </a:r>
            <a:endParaRPr lang="en-US" altLang="zh-CN" sz="2800" dirty="0">
              <a:solidFill>
                <a:schemeClr val="bg1"/>
              </a:solidFill>
            </a:endParaRPr>
          </a:p>
        </p:txBody>
      </p:sp>
      <p:sp>
        <p:nvSpPr>
          <p:cNvPr id="21" name="ísľiḍe">
            <a:extLst>
              <a:ext uri="{FF2B5EF4-FFF2-40B4-BE49-F238E27FC236}">
                <a16:creationId xmlns:a16="http://schemas.microsoft.com/office/drawing/2014/main" id="{AD76474E-28E3-4391-8384-50DA3E70BBAC}"/>
              </a:ext>
            </a:extLst>
          </p:cNvPr>
          <p:cNvSpPr/>
          <p:nvPr/>
        </p:nvSpPr>
        <p:spPr bwMode="auto">
          <a:xfrm rot="20139039" flipV="1">
            <a:off x="8493729" y="4623179"/>
            <a:ext cx="859339" cy="140476"/>
          </a:xfrm>
          <a:prstGeom prst="line">
            <a:avLst/>
          </a:prstGeom>
          <a:noFill/>
          <a:ln w="57150">
            <a:solidFill>
              <a:schemeClr val="bg1">
                <a:lumMod val="75000"/>
              </a:schemeClr>
            </a:solidFill>
            <a:round/>
            <a:headEnd/>
            <a:tailEnd type="triangle" w="med" len="lg"/>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0" tIns="0" rIns="0" bIns="0" anchor="ctr"/>
          <a:lstStyle/>
          <a:p>
            <a:endParaRPr lang="zh-CN" altLang="en-US"/>
          </a:p>
        </p:txBody>
      </p:sp>
      <p:sp>
        <p:nvSpPr>
          <p:cNvPr id="22" name="ï$ļîḑè">
            <a:extLst>
              <a:ext uri="{FF2B5EF4-FFF2-40B4-BE49-F238E27FC236}">
                <a16:creationId xmlns:a16="http://schemas.microsoft.com/office/drawing/2014/main" id="{AE3A08F8-DE12-49BD-ADE8-B7F6BAF82AF5}"/>
              </a:ext>
            </a:extLst>
          </p:cNvPr>
          <p:cNvSpPr/>
          <p:nvPr/>
        </p:nvSpPr>
        <p:spPr bwMode="auto">
          <a:xfrm>
            <a:off x="1568312" y="3289943"/>
            <a:ext cx="1553386" cy="1467668"/>
          </a:xfrm>
          <a:prstGeom prst="ellipse">
            <a:avLst/>
          </a:prstGeom>
          <a:solidFill>
            <a:schemeClr val="accent2"/>
          </a:solidFill>
          <a:ln w="38100">
            <a:noFill/>
          </a:ln>
          <a:extLst/>
        </p:spPr>
        <p:style>
          <a:lnRef idx="2">
            <a:schemeClr val="dk1"/>
          </a:lnRef>
          <a:fillRef idx="1">
            <a:schemeClr val="lt1"/>
          </a:fillRef>
          <a:effectRef idx="0">
            <a:schemeClr val="dk1"/>
          </a:effectRef>
          <a:fontRef idx="minor">
            <a:schemeClr val="dk1"/>
          </a:fontRef>
        </p:style>
        <p:txBody>
          <a:bodyPr wrap="none" rtlCol="0" anchor="ctr">
            <a:normAutofit/>
          </a:bodyPr>
          <a:lstStyle/>
          <a:p>
            <a:pPr algn="ctr"/>
            <a:r>
              <a:rPr lang="zh-CN" altLang="en-US" b="1" dirty="0" smtClean="0">
                <a:solidFill>
                  <a:schemeClr val="bg1"/>
                </a:solidFill>
              </a:rPr>
              <a:t>出错</a:t>
            </a:r>
            <a:endParaRPr lang="zh-CN" altLang="en-US" b="1" dirty="0">
              <a:solidFill>
                <a:schemeClr val="bg1"/>
              </a:solidFill>
            </a:endParaRPr>
          </a:p>
        </p:txBody>
      </p:sp>
      <p:sp>
        <p:nvSpPr>
          <p:cNvPr id="23" name="ï$1idé">
            <a:extLst>
              <a:ext uri="{FF2B5EF4-FFF2-40B4-BE49-F238E27FC236}">
                <a16:creationId xmlns:a16="http://schemas.microsoft.com/office/drawing/2014/main" id="{DF8A7B65-1D25-4CDE-8EB6-14F32C10EEB1}"/>
              </a:ext>
            </a:extLst>
          </p:cNvPr>
          <p:cNvSpPr/>
          <p:nvPr/>
        </p:nvSpPr>
        <p:spPr bwMode="auto">
          <a:xfrm>
            <a:off x="9036958" y="3201651"/>
            <a:ext cx="1407373" cy="1448120"/>
          </a:xfrm>
          <a:prstGeom prst="ellipse">
            <a:avLst/>
          </a:prstGeom>
          <a:solidFill>
            <a:schemeClr val="accent2"/>
          </a:solidFill>
          <a:ln w="38100">
            <a:noFill/>
          </a:ln>
          <a:extLst/>
        </p:spPr>
        <p:style>
          <a:lnRef idx="2">
            <a:schemeClr val="dk1"/>
          </a:lnRef>
          <a:fillRef idx="1">
            <a:schemeClr val="lt1"/>
          </a:fillRef>
          <a:effectRef idx="0">
            <a:schemeClr val="dk1"/>
          </a:effectRef>
          <a:fontRef idx="minor">
            <a:schemeClr val="dk1"/>
          </a:fontRef>
        </p:style>
        <p:txBody>
          <a:bodyPr wrap="none" rtlCol="0" anchor="ctr">
            <a:normAutofit/>
          </a:bodyPr>
          <a:lstStyle/>
          <a:p>
            <a:pPr algn="ctr"/>
            <a:r>
              <a:rPr lang="zh-CN" altLang="en-US" b="1" dirty="0" smtClean="0">
                <a:solidFill>
                  <a:schemeClr val="bg1"/>
                </a:solidFill>
              </a:rPr>
              <a:t>结束</a:t>
            </a:r>
            <a:endParaRPr lang="zh-CN" altLang="en-US" b="1" dirty="0">
              <a:solidFill>
                <a:schemeClr val="bg1"/>
              </a:solidFill>
            </a:endParaRPr>
          </a:p>
        </p:txBody>
      </p:sp>
      <p:sp>
        <p:nvSpPr>
          <p:cNvPr id="31" name="íśļiḍe">
            <a:extLst>
              <a:ext uri="{FF2B5EF4-FFF2-40B4-BE49-F238E27FC236}">
                <a16:creationId xmlns:a16="http://schemas.microsoft.com/office/drawing/2014/main" id="{90FACE17-9FB1-4C5A-9F6E-83EE092FF9A6}"/>
              </a:ext>
            </a:extLst>
          </p:cNvPr>
          <p:cNvSpPr/>
          <p:nvPr/>
        </p:nvSpPr>
        <p:spPr bwMode="auto">
          <a:xfrm>
            <a:off x="6847485" y="5063281"/>
            <a:ext cx="326318" cy="0"/>
          </a:xfrm>
          <a:prstGeom prst="line">
            <a:avLst/>
          </a:prstGeom>
          <a:noFill/>
          <a:ln w="38100">
            <a:solidFill>
              <a:srgbClr val="FFC000"/>
            </a:solidFill>
            <a:round/>
            <a:headEnd/>
            <a:tailEnd type="triangle" w="med" len="lg"/>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0" tIns="0" rIns="0" bIns="0" anchor="ctr"/>
          <a:lstStyle/>
          <a:p>
            <a:endParaRPr lang="zh-CN" altLang="en-US"/>
          </a:p>
        </p:txBody>
      </p:sp>
    </p:spTree>
    <p:extLst>
      <p:ext uri="{BB962C8B-B14F-4D97-AF65-F5344CB8AC3E}">
        <p14:creationId xmlns:p14="http://schemas.microsoft.com/office/powerpoint/2010/main" val="2411469073"/>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中央控制系统</a:t>
            </a:r>
            <a:r>
              <a:rPr lang="en-US" altLang="zh-CN" dirty="0"/>
              <a:t>——</a:t>
            </a:r>
            <a:r>
              <a:rPr lang="zh-CN" altLang="en-US" dirty="0"/>
              <a:t>报警</a:t>
            </a:r>
          </a:p>
        </p:txBody>
      </p:sp>
      <p:grpSp>
        <p:nvGrpSpPr>
          <p:cNvPr id="6" name="íṩľíḋe"/>
          <p:cNvGrpSpPr/>
          <p:nvPr/>
        </p:nvGrpSpPr>
        <p:grpSpPr>
          <a:xfrm>
            <a:off x="4573156" y="3475729"/>
            <a:ext cx="3026694" cy="1285740"/>
            <a:chOff x="3868401" y="2619360"/>
            <a:chExt cx="4476949" cy="1619283"/>
          </a:xfrm>
        </p:grpSpPr>
        <p:sp>
          <p:nvSpPr>
            <p:cNvPr id="17" name="î$ļiḋé"/>
            <p:cNvSpPr/>
            <p:nvPr/>
          </p:nvSpPr>
          <p:spPr>
            <a:xfrm>
              <a:off x="6147753" y="2619360"/>
              <a:ext cx="2197597" cy="1619283"/>
            </a:xfrm>
            <a:prstGeom prst="homePlate">
              <a:avLst/>
            </a:prstGeom>
            <a:solidFill>
              <a:schemeClr val="accent1"/>
            </a:solidFill>
            <a:ln w="76200">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chorCtr="0">
              <a:normAutofit/>
            </a:bodyPr>
            <a:lstStyle/>
            <a:p>
              <a:pPr lvl="0" defTabSz="914378">
                <a:spcBef>
                  <a:spcPct val="0"/>
                </a:spcBef>
                <a:defRPr/>
              </a:pPr>
              <a:r>
                <a:rPr lang="zh-CN" altLang="en-US" b="1" dirty="0" smtClean="0">
                  <a:solidFill>
                    <a:schemeClr val="bg1"/>
                  </a:solidFill>
                </a:rPr>
                <a:t>成功通过</a:t>
              </a:r>
              <a:endParaRPr lang="zh-CN" altLang="en-US" b="1" dirty="0">
                <a:solidFill>
                  <a:schemeClr val="bg1"/>
                </a:solidFill>
              </a:endParaRPr>
            </a:p>
          </p:txBody>
        </p:sp>
        <p:sp>
          <p:nvSpPr>
            <p:cNvPr id="18" name="iṡ1ïḍê"/>
            <p:cNvSpPr/>
            <p:nvPr/>
          </p:nvSpPr>
          <p:spPr>
            <a:xfrm flipH="1">
              <a:off x="3868401" y="2619360"/>
              <a:ext cx="2197597" cy="1619283"/>
            </a:xfrm>
            <a:prstGeom prst="homePlate">
              <a:avLst/>
            </a:prstGeom>
            <a:solidFill>
              <a:schemeClr val="tx1">
                <a:lumMod val="50000"/>
                <a:lumOff val="50000"/>
              </a:schemeClr>
            </a:solidFill>
            <a:ln w="76200">
              <a:noFill/>
            </a:ln>
          </p:spPr>
          <p:style>
            <a:lnRef idx="2">
              <a:schemeClr val="accent1">
                <a:shade val="50000"/>
              </a:schemeClr>
            </a:lnRef>
            <a:fillRef idx="1">
              <a:schemeClr val="accent1"/>
            </a:fillRef>
            <a:effectRef idx="0">
              <a:schemeClr val="accent1"/>
            </a:effectRef>
            <a:fontRef idx="minor">
              <a:schemeClr val="lt1"/>
            </a:fontRef>
          </p:style>
          <p:txBody>
            <a:bodyPr wrap="none" lIns="91440" tIns="45720" rIns="91440" bIns="45720" anchor="ctr" anchorCtr="0">
              <a:normAutofit/>
            </a:bodyPr>
            <a:lstStyle/>
            <a:p>
              <a:pPr lvl="0" algn="r" defTabSz="914378">
                <a:spcBef>
                  <a:spcPct val="0"/>
                </a:spcBef>
                <a:defRPr/>
              </a:pPr>
              <a:r>
                <a:rPr lang="zh-CN" altLang="en-US" sz="2000" b="1" dirty="0" smtClean="0">
                  <a:solidFill>
                    <a:schemeClr val="bg1"/>
                  </a:solidFill>
                </a:rPr>
                <a:t>出错报警</a:t>
              </a:r>
              <a:endParaRPr lang="zh-CN" altLang="en-US" sz="2000" b="1" dirty="0">
                <a:solidFill>
                  <a:schemeClr val="bg1"/>
                </a:solidFill>
              </a:endParaRPr>
            </a:p>
          </p:txBody>
        </p:sp>
      </p:grpSp>
      <p:grpSp>
        <p:nvGrpSpPr>
          <p:cNvPr id="3" name="组合 2"/>
          <p:cNvGrpSpPr/>
          <p:nvPr/>
        </p:nvGrpSpPr>
        <p:grpSpPr>
          <a:xfrm>
            <a:off x="658812" y="2718122"/>
            <a:ext cx="3859071" cy="2894304"/>
            <a:chOff x="658812" y="2718122"/>
            <a:chExt cx="3859071" cy="2894304"/>
          </a:xfrm>
        </p:grpSpPr>
        <p:pic>
          <p:nvPicPr>
            <p:cNvPr id="19" name="图片 18"/>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658812" y="2718122"/>
              <a:ext cx="3859071" cy="2894304"/>
            </a:xfrm>
            <a:prstGeom prst="rect">
              <a:avLst/>
            </a:prstGeom>
          </p:spPr>
        </p:pic>
        <p:sp>
          <p:nvSpPr>
            <p:cNvPr id="21" name="椭圆 20"/>
            <p:cNvSpPr/>
            <p:nvPr/>
          </p:nvSpPr>
          <p:spPr>
            <a:xfrm>
              <a:off x="2588347" y="3572445"/>
              <a:ext cx="421076" cy="412529"/>
            </a:xfrm>
            <a:prstGeom prst="ellipse">
              <a:avLst/>
            </a:prstGeom>
            <a:noFill/>
            <a:ln>
              <a:solidFill>
                <a:srgbClr val="CC4A4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4" name="组合 3"/>
          <p:cNvGrpSpPr/>
          <p:nvPr/>
        </p:nvGrpSpPr>
        <p:grpSpPr>
          <a:xfrm>
            <a:off x="7661414" y="2726358"/>
            <a:ext cx="3859073" cy="2894305"/>
            <a:chOff x="7661414" y="2726358"/>
            <a:chExt cx="3859073" cy="2894305"/>
          </a:xfrm>
        </p:grpSpPr>
        <p:pic>
          <p:nvPicPr>
            <p:cNvPr id="20" name="图片 19"/>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7661414" y="2726358"/>
              <a:ext cx="3859073" cy="2894305"/>
            </a:xfrm>
            <a:prstGeom prst="rect">
              <a:avLst/>
            </a:prstGeom>
          </p:spPr>
        </p:pic>
        <p:sp>
          <p:nvSpPr>
            <p:cNvPr id="22" name="椭圆 21"/>
            <p:cNvSpPr/>
            <p:nvPr/>
          </p:nvSpPr>
          <p:spPr>
            <a:xfrm>
              <a:off x="9894251" y="3366180"/>
              <a:ext cx="421076" cy="412529"/>
            </a:xfrm>
            <a:prstGeom prst="ellipse">
              <a:avLst/>
            </a:prstGeom>
            <a:no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23" name="iŝḻidè">
            <a:extLst>
              <a:ext uri="{FF2B5EF4-FFF2-40B4-BE49-F238E27FC236}">
                <a16:creationId xmlns:a16="http://schemas.microsoft.com/office/drawing/2014/main" id="{590695B0-FE9F-45F7-A281-47E4028E6A7F}"/>
              </a:ext>
            </a:extLst>
          </p:cNvPr>
          <p:cNvSpPr/>
          <p:nvPr/>
        </p:nvSpPr>
        <p:spPr>
          <a:xfrm>
            <a:off x="780371" y="1294935"/>
            <a:ext cx="1545013" cy="1326190"/>
          </a:xfrm>
          <a:prstGeom prst="hexagon">
            <a:avLst>
              <a:gd name="adj" fmla="val 25000"/>
              <a:gd name="vf" fmla="val 115470"/>
            </a:avLst>
          </a:prstGeom>
          <a:blipFill>
            <a:blip r:embed="rId4" cstate="email">
              <a:extLst>
                <a:ext uri="{28A0092B-C50C-407E-A947-70E740481C1C}">
                  <a14:useLocalDpi xmlns:a14="http://schemas.microsoft.com/office/drawing/2010/main"/>
                </a:ext>
              </a:extLst>
            </a:blip>
            <a:srcRect/>
            <a:stretch>
              <a:fillRect t="1360"/>
            </a:stretch>
          </a:blip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a:lstStyle/>
          <a:p>
            <a:endParaRPr lang="zh-CN" altLang="en-US"/>
          </a:p>
        </p:txBody>
      </p:sp>
      <p:sp>
        <p:nvSpPr>
          <p:cNvPr id="24" name="íśḻíďé">
            <a:extLst>
              <a:ext uri="{FF2B5EF4-FFF2-40B4-BE49-F238E27FC236}">
                <a16:creationId xmlns:a16="http://schemas.microsoft.com/office/drawing/2014/main" id="{E12042B5-55AB-40D8-9EA5-FB98EBB319F6}"/>
              </a:ext>
            </a:extLst>
          </p:cNvPr>
          <p:cNvSpPr txBox="1"/>
          <p:nvPr/>
        </p:nvSpPr>
        <p:spPr>
          <a:xfrm>
            <a:off x="2581333" y="1614202"/>
            <a:ext cx="1991823" cy="873430"/>
          </a:xfrm>
          <a:prstGeom prst="rect">
            <a:avLst/>
          </a:prstGeom>
          <a:noFill/>
        </p:spPr>
        <p:txBody>
          <a:bodyPr wrap="none" rtlCol="0" anchor="ctr">
            <a:normAutofit/>
          </a:bodyPr>
          <a:lstStyle/>
          <a:p>
            <a:pPr lvl="0" defTabSz="914378">
              <a:spcBef>
                <a:spcPct val="0"/>
              </a:spcBef>
              <a:defRPr/>
            </a:pPr>
            <a:r>
              <a:rPr lang="en-US" altLang="zh-CN" sz="1600" b="1" dirty="0" smtClean="0"/>
              <a:t>SMT</a:t>
            </a:r>
            <a:r>
              <a:rPr lang="zh-CN" altLang="en-US" sz="1600" b="1" dirty="0" smtClean="0"/>
              <a:t>中央控制系统</a:t>
            </a:r>
            <a:endParaRPr lang="en-US" altLang="zh-CN" sz="1600" b="1" dirty="0" smtClean="0"/>
          </a:p>
          <a:p>
            <a:pPr lvl="0" defTabSz="914378">
              <a:spcBef>
                <a:spcPct val="0"/>
              </a:spcBef>
              <a:defRPr/>
            </a:pPr>
            <a:r>
              <a:rPr lang="en-US" altLang="zh-CN" sz="1600" b="1" dirty="0"/>
              <a:t>	</a:t>
            </a:r>
            <a:r>
              <a:rPr lang="en-US" altLang="zh-CN" sz="1600" b="1" dirty="0" smtClean="0"/>
              <a:t>——</a:t>
            </a:r>
            <a:r>
              <a:rPr lang="zh-CN" altLang="en-US" sz="1600" b="1" dirty="0" smtClean="0"/>
              <a:t>报警实景图</a:t>
            </a:r>
            <a:endParaRPr lang="en-US" altLang="zh-CN" sz="1600" b="1" dirty="0" smtClean="0"/>
          </a:p>
          <a:p>
            <a:pPr lvl="1" defTabSz="914378">
              <a:spcBef>
                <a:spcPct val="0"/>
              </a:spcBef>
              <a:defRPr/>
            </a:pPr>
            <a:r>
              <a:rPr lang="en-US" altLang="zh-CN" sz="1200" b="1" dirty="0" smtClean="0">
                <a:latin typeface="+mn-ea"/>
              </a:rPr>
              <a:t>	</a:t>
            </a:r>
            <a:endParaRPr lang="en-US" altLang="zh-CN" sz="1600" b="1" dirty="0" smtClean="0"/>
          </a:p>
        </p:txBody>
      </p:sp>
    </p:spTree>
    <p:extLst>
      <p:ext uri="{BB962C8B-B14F-4D97-AF65-F5344CB8AC3E}">
        <p14:creationId xmlns:p14="http://schemas.microsoft.com/office/powerpoint/2010/main" val="2987282982"/>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smtClean="0"/>
              <a:t>发料流程对比</a:t>
            </a:r>
            <a:endParaRPr lang="zh-CN" altLang="en-US" dirty="0"/>
          </a:p>
        </p:txBody>
      </p:sp>
      <p:grpSp>
        <p:nvGrpSpPr>
          <p:cNvPr id="43" name="组合 42"/>
          <p:cNvGrpSpPr/>
          <p:nvPr/>
        </p:nvGrpSpPr>
        <p:grpSpPr>
          <a:xfrm>
            <a:off x="775023" y="1811978"/>
            <a:ext cx="10745464" cy="4177160"/>
            <a:chOff x="669396" y="2468233"/>
            <a:chExt cx="10745464" cy="4177160"/>
          </a:xfrm>
        </p:grpSpPr>
        <p:grpSp>
          <p:nvGrpSpPr>
            <p:cNvPr id="42" name="组合 41"/>
            <p:cNvGrpSpPr/>
            <p:nvPr/>
          </p:nvGrpSpPr>
          <p:grpSpPr>
            <a:xfrm>
              <a:off x="669396" y="2468233"/>
              <a:ext cx="10745464" cy="4177160"/>
              <a:chOff x="669396" y="2468233"/>
              <a:chExt cx="10745464" cy="4177160"/>
            </a:xfrm>
          </p:grpSpPr>
          <p:sp>
            <p:nvSpPr>
              <p:cNvPr id="36" name="iṧ1íḋé">
                <a:extLst>
                  <a:ext uri="{FF2B5EF4-FFF2-40B4-BE49-F238E27FC236}">
                    <a16:creationId xmlns:a16="http://schemas.microsoft.com/office/drawing/2014/main" id="{F53B91B8-097D-4F46-8705-4AA9356BFCD5}"/>
                  </a:ext>
                </a:extLst>
              </p:cNvPr>
              <p:cNvSpPr txBox="1"/>
              <p:nvPr/>
            </p:nvSpPr>
            <p:spPr>
              <a:xfrm>
                <a:off x="9828231" y="2494047"/>
                <a:ext cx="1586629" cy="372966"/>
              </a:xfrm>
              <a:prstGeom prst="rect">
                <a:avLst/>
              </a:prstGeom>
              <a:noFill/>
            </p:spPr>
            <p:txBody>
              <a:bodyPr wrap="square" rtlCol="0" anchor="b">
                <a:normAutofit/>
              </a:bodyPr>
              <a:lstStyle/>
              <a:p>
                <a:pPr lvl="0" defTabSz="914378">
                  <a:spcBef>
                    <a:spcPct val="0"/>
                  </a:spcBef>
                  <a:defRPr/>
                </a:pPr>
                <a:r>
                  <a:rPr lang="zh-CN" altLang="en-US" b="1" dirty="0" smtClean="0">
                    <a:solidFill>
                      <a:schemeClr val="tx1">
                        <a:lumMod val="75000"/>
                        <a:lumOff val="25000"/>
                      </a:schemeClr>
                    </a:solidFill>
                  </a:rPr>
                  <a:t>产线收料</a:t>
                </a:r>
                <a:endParaRPr lang="zh-CN" altLang="en-US" b="1" dirty="0">
                  <a:solidFill>
                    <a:schemeClr val="tx1">
                      <a:lumMod val="75000"/>
                      <a:lumOff val="25000"/>
                    </a:schemeClr>
                  </a:solidFill>
                </a:endParaRPr>
              </a:p>
            </p:txBody>
          </p:sp>
          <p:grpSp>
            <p:nvGrpSpPr>
              <p:cNvPr id="41" name="组合 40"/>
              <p:cNvGrpSpPr/>
              <p:nvPr/>
            </p:nvGrpSpPr>
            <p:grpSpPr>
              <a:xfrm>
                <a:off x="669396" y="2468233"/>
                <a:ext cx="10469958" cy="4177160"/>
                <a:chOff x="669396" y="2468233"/>
                <a:chExt cx="10469958" cy="4177160"/>
              </a:xfrm>
            </p:grpSpPr>
            <p:cxnSp>
              <p:nvCxnSpPr>
                <p:cNvPr id="32" name="直接连接符 31">
                  <a:extLst>
                    <a:ext uri="{FF2B5EF4-FFF2-40B4-BE49-F238E27FC236}">
                      <a16:creationId xmlns:a16="http://schemas.microsoft.com/office/drawing/2014/main" id="{BA136589-445A-48D7-A528-75A163DF9456}"/>
                    </a:ext>
                  </a:extLst>
                </p:cNvPr>
                <p:cNvCxnSpPr>
                  <a:cxnSpLocks/>
                </p:cNvCxnSpPr>
                <p:nvPr/>
              </p:nvCxnSpPr>
              <p:spPr>
                <a:xfrm flipH="1">
                  <a:off x="6618932" y="4823358"/>
                  <a:ext cx="271410" cy="876257"/>
                </a:xfrm>
                <a:prstGeom prst="line">
                  <a:avLst/>
                </a:prstGeom>
                <a:ln w="152400" cap="rnd">
                  <a:solidFill>
                    <a:schemeClr val="tx1">
                      <a:lumMod val="20000"/>
                      <a:lumOff val="80000"/>
                    </a:schemeClr>
                  </a:solidFill>
                  <a:round/>
                </a:ln>
              </p:spPr>
              <p:style>
                <a:lnRef idx="1">
                  <a:schemeClr val="accent1"/>
                </a:lnRef>
                <a:fillRef idx="0">
                  <a:schemeClr val="accent1"/>
                </a:fillRef>
                <a:effectRef idx="0">
                  <a:schemeClr val="accent1"/>
                </a:effectRef>
                <a:fontRef idx="minor">
                  <a:schemeClr val="tx1"/>
                </a:fontRef>
              </p:style>
            </p:cxnSp>
            <p:sp>
              <p:nvSpPr>
                <p:cNvPr id="31" name="îṩlíďê">
                  <a:extLst>
                    <a:ext uri="{FF2B5EF4-FFF2-40B4-BE49-F238E27FC236}">
                      <a16:creationId xmlns:a16="http://schemas.microsoft.com/office/drawing/2014/main" id="{02FACDCD-811C-4398-BD9C-160DE312E8E2}"/>
                    </a:ext>
                  </a:extLst>
                </p:cNvPr>
                <p:cNvSpPr/>
                <p:nvPr/>
              </p:nvSpPr>
              <p:spPr>
                <a:xfrm>
                  <a:off x="6528392" y="5435995"/>
                  <a:ext cx="723900" cy="723894"/>
                </a:xfrm>
                <a:prstGeom prst="ellipse">
                  <a:avLst/>
                </a:prstGeom>
                <a:solidFill>
                  <a:srgbClr val="00B0F0"/>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anchor="ctr">
                  <a:normAutofit/>
                </a:bodyPr>
                <a:lstStyle>
                  <a:defPPr>
                    <a:defRPr lang="zh-CN"/>
                  </a:defPPr>
                  <a:lvl1pPr marL="0" algn="l" defTabSz="914377" rtl="0" eaLnBrk="1" latinLnBrk="0" hangingPunct="1">
                    <a:defRPr sz="1800" kern="1200">
                      <a:solidFill>
                        <a:schemeClr val="lt1"/>
                      </a:solidFill>
                    </a:defRPr>
                  </a:lvl1pPr>
                  <a:lvl2pPr marL="457189" algn="l" defTabSz="914377" rtl="0" eaLnBrk="1" latinLnBrk="0" hangingPunct="1">
                    <a:defRPr sz="1800" kern="1200">
                      <a:solidFill>
                        <a:schemeClr val="lt1"/>
                      </a:solidFill>
                    </a:defRPr>
                  </a:lvl2pPr>
                  <a:lvl3pPr marL="914377" algn="l" defTabSz="914377" rtl="0" eaLnBrk="1" latinLnBrk="0" hangingPunct="1">
                    <a:defRPr sz="1800" kern="1200">
                      <a:solidFill>
                        <a:schemeClr val="lt1"/>
                      </a:solidFill>
                    </a:defRPr>
                  </a:lvl3pPr>
                  <a:lvl4pPr marL="1371566" algn="l" defTabSz="914377" rtl="0" eaLnBrk="1" latinLnBrk="0" hangingPunct="1">
                    <a:defRPr sz="1800" kern="1200">
                      <a:solidFill>
                        <a:schemeClr val="lt1"/>
                      </a:solidFill>
                    </a:defRPr>
                  </a:lvl4pPr>
                  <a:lvl5pPr marL="1828754" algn="l" defTabSz="914377" rtl="0" eaLnBrk="1" latinLnBrk="0" hangingPunct="1">
                    <a:defRPr sz="1800" kern="1200">
                      <a:solidFill>
                        <a:schemeClr val="lt1"/>
                      </a:solidFill>
                    </a:defRPr>
                  </a:lvl5pPr>
                  <a:lvl6pPr marL="2285943" algn="l" defTabSz="914377" rtl="0" eaLnBrk="1" latinLnBrk="0" hangingPunct="1">
                    <a:defRPr sz="1800" kern="1200">
                      <a:solidFill>
                        <a:schemeClr val="lt1"/>
                      </a:solidFill>
                    </a:defRPr>
                  </a:lvl6pPr>
                  <a:lvl7pPr marL="2743131" algn="l" defTabSz="914377" rtl="0" eaLnBrk="1" latinLnBrk="0" hangingPunct="1">
                    <a:defRPr sz="1800" kern="1200">
                      <a:solidFill>
                        <a:schemeClr val="lt1"/>
                      </a:solidFill>
                    </a:defRPr>
                  </a:lvl7pPr>
                  <a:lvl8pPr marL="3200320" algn="l" defTabSz="914377" rtl="0" eaLnBrk="1" latinLnBrk="0" hangingPunct="1">
                    <a:defRPr sz="1800" kern="1200">
                      <a:solidFill>
                        <a:schemeClr val="lt1"/>
                      </a:solidFill>
                    </a:defRPr>
                  </a:lvl8pPr>
                  <a:lvl9pPr marL="3657509" algn="l" defTabSz="914377" rtl="0" eaLnBrk="1" latinLnBrk="0" hangingPunct="1">
                    <a:defRPr sz="1800" kern="1200">
                      <a:solidFill>
                        <a:schemeClr val="lt1"/>
                      </a:solidFill>
                    </a:defRPr>
                  </a:lvl9pPr>
                </a:lstStyle>
                <a:p>
                  <a:pPr algn="ctr"/>
                  <a:r>
                    <a:rPr lang="zh-CN" altLang="en-US" dirty="0" smtClean="0">
                      <a:latin typeface="Impact" panose="020B0806030902050204" pitchFamily="34" charset="0"/>
                    </a:rPr>
                    <a:t>核料</a:t>
                  </a:r>
                  <a:endParaRPr dirty="0">
                    <a:latin typeface="Impact" panose="020B0806030902050204" pitchFamily="34" charset="0"/>
                  </a:endParaRPr>
                </a:p>
              </p:txBody>
            </p:sp>
            <p:grpSp>
              <p:nvGrpSpPr>
                <p:cNvPr id="40" name="组合 39"/>
                <p:cNvGrpSpPr/>
                <p:nvPr/>
              </p:nvGrpSpPr>
              <p:grpSpPr>
                <a:xfrm>
                  <a:off x="669396" y="2468233"/>
                  <a:ext cx="10469958" cy="3691656"/>
                  <a:chOff x="669396" y="2468233"/>
                  <a:chExt cx="10469958" cy="3691656"/>
                </a:xfrm>
              </p:grpSpPr>
              <p:grpSp>
                <p:nvGrpSpPr>
                  <p:cNvPr id="5" name="eb9ba11a-87f2-480a-92a1-33ab3fd45950"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p:cNvGrpSpPr>
                    <a:grpSpLocks noChangeAspect="1"/>
                  </p:cNvGrpSpPr>
                  <p:nvPr>
                    <p:custDataLst>
                      <p:tags r:id="rId1"/>
                    </p:custDataLst>
                  </p:nvPr>
                </p:nvGrpSpPr>
                <p:grpSpPr>
                  <a:xfrm>
                    <a:off x="669396" y="2468233"/>
                    <a:ext cx="10469958" cy="3691656"/>
                    <a:chOff x="669396" y="2468233"/>
                    <a:chExt cx="10469958" cy="3691656"/>
                  </a:xfrm>
                </p:grpSpPr>
                <p:grpSp>
                  <p:nvGrpSpPr>
                    <p:cNvPr id="6" name="í$ḻïḍe">
                      <a:extLst>
                        <a:ext uri="{FF2B5EF4-FFF2-40B4-BE49-F238E27FC236}">
                          <a16:creationId xmlns:a16="http://schemas.microsoft.com/office/drawing/2014/main" id="{D2B43229-8AF3-4CB7-8AD6-0BC57495054A}"/>
                        </a:ext>
                      </a:extLst>
                    </p:cNvPr>
                    <p:cNvGrpSpPr/>
                    <p:nvPr/>
                  </p:nvGrpSpPr>
                  <p:grpSpPr>
                    <a:xfrm>
                      <a:off x="3732231" y="3369624"/>
                      <a:ext cx="2726604" cy="1096861"/>
                      <a:chOff x="669396" y="2758996"/>
                      <a:chExt cx="2726604" cy="1096861"/>
                    </a:xfrm>
                  </p:grpSpPr>
                  <p:sp>
                    <p:nvSpPr>
                      <p:cNvPr id="28" name="ïṥļíḑé">
                        <a:extLst>
                          <a:ext uri="{FF2B5EF4-FFF2-40B4-BE49-F238E27FC236}">
                            <a16:creationId xmlns:a16="http://schemas.microsoft.com/office/drawing/2014/main" id="{D3CEEF8B-96C4-416A-AED4-8116016B8025}"/>
                          </a:ext>
                        </a:extLst>
                      </p:cNvPr>
                      <p:cNvSpPr txBox="1"/>
                      <p:nvPr/>
                    </p:nvSpPr>
                    <p:spPr>
                      <a:xfrm>
                        <a:off x="669396" y="3131963"/>
                        <a:ext cx="2726604" cy="723894"/>
                      </a:xfrm>
                      <a:prstGeom prst="rect">
                        <a:avLst/>
                      </a:prstGeom>
                      <a:noFill/>
                    </p:spPr>
                    <p:txBody>
                      <a:bodyPr wrap="square" lIns="90000" tIns="46800" rIns="90000" bIns="46800" rtlCol="0">
                        <a:normAutofit/>
                      </a:bodyPr>
                      <a:lstStyle/>
                      <a:p>
                        <a:pPr>
                          <a:lnSpc>
                            <a:spcPct val="120000"/>
                          </a:lnSpc>
                        </a:pPr>
                        <a:endParaRPr lang="en-US" altLang="zh-CN" sz="900" dirty="0"/>
                      </a:p>
                    </p:txBody>
                  </p:sp>
                  <p:sp>
                    <p:nvSpPr>
                      <p:cNvPr id="29" name="iśḷiḍê">
                        <a:extLst>
                          <a:ext uri="{FF2B5EF4-FFF2-40B4-BE49-F238E27FC236}">
                            <a16:creationId xmlns:a16="http://schemas.microsoft.com/office/drawing/2014/main" id="{625C5F23-C6FE-4FED-A8A2-1922EFB1980B}"/>
                          </a:ext>
                        </a:extLst>
                      </p:cNvPr>
                      <p:cNvSpPr txBox="1"/>
                      <p:nvPr/>
                    </p:nvSpPr>
                    <p:spPr>
                      <a:xfrm>
                        <a:off x="669396" y="2758996"/>
                        <a:ext cx="2726604" cy="372966"/>
                      </a:xfrm>
                      <a:prstGeom prst="rect">
                        <a:avLst/>
                      </a:prstGeom>
                      <a:noFill/>
                    </p:spPr>
                    <p:txBody>
                      <a:bodyPr wrap="square" rtlCol="0" anchor="b">
                        <a:normAutofit/>
                      </a:bodyPr>
                      <a:lstStyle/>
                      <a:p>
                        <a:pPr lvl="0" defTabSz="914378">
                          <a:spcBef>
                            <a:spcPct val="0"/>
                          </a:spcBef>
                          <a:defRPr/>
                        </a:pPr>
                        <a:r>
                          <a:rPr lang="zh-CN" altLang="en-US" b="1" dirty="0" smtClean="0">
                            <a:solidFill>
                              <a:srgbClr val="00B0F0"/>
                            </a:solidFill>
                          </a:rPr>
                          <a:t>人工核料</a:t>
                        </a:r>
                        <a:endParaRPr lang="zh-CN" altLang="en-US" b="1" dirty="0">
                          <a:solidFill>
                            <a:srgbClr val="00B0F0"/>
                          </a:solidFill>
                        </a:endParaRPr>
                      </a:p>
                    </p:txBody>
                  </p:sp>
                </p:grpSp>
                <p:cxnSp>
                  <p:nvCxnSpPr>
                    <p:cNvPr id="7" name="直接连接符 6">
                      <a:extLst>
                        <a:ext uri="{FF2B5EF4-FFF2-40B4-BE49-F238E27FC236}">
                          <a16:creationId xmlns:a16="http://schemas.microsoft.com/office/drawing/2014/main" id="{A5A1D8F8-8BBA-478A-A988-8BC1D2455B34}"/>
                        </a:ext>
                      </a:extLst>
                    </p:cNvPr>
                    <p:cNvCxnSpPr>
                      <a:cxnSpLocks/>
                    </p:cNvCxnSpPr>
                    <p:nvPr/>
                  </p:nvCxnSpPr>
                  <p:spPr>
                    <a:xfrm flipH="1">
                      <a:off x="6896463" y="3858768"/>
                      <a:ext cx="305201" cy="941832"/>
                    </a:xfrm>
                    <a:prstGeom prst="line">
                      <a:avLst/>
                    </a:prstGeom>
                    <a:ln w="152400" cap="rnd">
                      <a:solidFill>
                        <a:schemeClr val="tx1">
                          <a:lumMod val="20000"/>
                          <a:lumOff val="80000"/>
                        </a:schemeClr>
                      </a:solidFill>
                      <a:round/>
                    </a:ln>
                  </p:spPr>
                  <p:style>
                    <a:lnRef idx="1">
                      <a:schemeClr val="accent1"/>
                    </a:lnRef>
                    <a:fillRef idx="0">
                      <a:schemeClr val="accent1"/>
                    </a:fillRef>
                    <a:effectRef idx="0">
                      <a:schemeClr val="accent1"/>
                    </a:effectRef>
                    <a:fontRef idx="minor">
                      <a:schemeClr val="tx1"/>
                    </a:fontRef>
                  </p:style>
                </p:cxnSp>
                <p:cxnSp>
                  <p:nvCxnSpPr>
                    <p:cNvPr id="8" name="直接连接符 7">
                      <a:extLst>
                        <a:ext uri="{FF2B5EF4-FFF2-40B4-BE49-F238E27FC236}">
                          <a16:creationId xmlns:a16="http://schemas.microsoft.com/office/drawing/2014/main" id="{BA136589-445A-48D7-A528-75A163DF9456}"/>
                        </a:ext>
                      </a:extLst>
                    </p:cNvPr>
                    <p:cNvCxnSpPr>
                      <a:cxnSpLocks/>
                    </p:cNvCxnSpPr>
                    <p:nvPr/>
                  </p:nvCxnSpPr>
                  <p:spPr>
                    <a:xfrm flipH="1">
                      <a:off x="3879593" y="4843751"/>
                      <a:ext cx="271410" cy="876257"/>
                    </a:xfrm>
                    <a:prstGeom prst="line">
                      <a:avLst/>
                    </a:prstGeom>
                    <a:ln w="152400" cap="rnd">
                      <a:solidFill>
                        <a:schemeClr val="tx1">
                          <a:lumMod val="20000"/>
                          <a:lumOff val="80000"/>
                        </a:schemeClr>
                      </a:solidFill>
                      <a:round/>
                    </a:ln>
                  </p:spPr>
                  <p:style>
                    <a:lnRef idx="1">
                      <a:schemeClr val="accent1"/>
                    </a:lnRef>
                    <a:fillRef idx="0">
                      <a:schemeClr val="accent1"/>
                    </a:fillRef>
                    <a:effectRef idx="0">
                      <a:schemeClr val="accent1"/>
                    </a:effectRef>
                    <a:fontRef idx="minor">
                      <a:schemeClr val="tx1"/>
                    </a:fontRef>
                  </p:style>
                </p:cxnSp>
                <p:cxnSp>
                  <p:nvCxnSpPr>
                    <p:cNvPr id="9" name="直接连接符 8">
                      <a:extLst>
                        <a:ext uri="{FF2B5EF4-FFF2-40B4-BE49-F238E27FC236}">
                          <a16:creationId xmlns:a16="http://schemas.microsoft.com/office/drawing/2014/main" id="{11A6D17D-FCC1-4761-8331-9593F4A7D812}"/>
                        </a:ext>
                      </a:extLst>
                    </p:cNvPr>
                    <p:cNvCxnSpPr>
                      <a:stCxn id="12" idx="6"/>
                      <a:endCxn id="31" idx="2"/>
                    </p:cNvCxnSpPr>
                    <p:nvPr/>
                  </p:nvCxnSpPr>
                  <p:spPr>
                    <a:xfrm>
                      <a:off x="1502204" y="5797942"/>
                      <a:ext cx="5026188" cy="0"/>
                    </a:xfrm>
                    <a:prstGeom prst="line">
                      <a:avLst/>
                    </a:prstGeom>
                    <a:ln w="152400" cap="rnd">
                      <a:solidFill>
                        <a:schemeClr val="tx1">
                          <a:lumMod val="20000"/>
                          <a:lumOff val="80000"/>
                        </a:schemeClr>
                      </a:solidFill>
                      <a:round/>
                      <a:tailEnd type="arrow" w="sm" len="sm"/>
                    </a:ln>
                  </p:spPr>
                  <p:style>
                    <a:lnRef idx="1">
                      <a:schemeClr val="accent1"/>
                    </a:lnRef>
                    <a:fillRef idx="0">
                      <a:schemeClr val="accent1"/>
                    </a:fillRef>
                    <a:effectRef idx="0">
                      <a:schemeClr val="accent1"/>
                    </a:effectRef>
                    <a:fontRef idx="minor">
                      <a:schemeClr val="tx1"/>
                    </a:fontRef>
                  </p:style>
                </p:cxnSp>
                <p:cxnSp>
                  <p:nvCxnSpPr>
                    <p:cNvPr id="10" name="直接连接符 9">
                      <a:extLst>
                        <a:ext uri="{FF2B5EF4-FFF2-40B4-BE49-F238E27FC236}">
                          <a16:creationId xmlns:a16="http://schemas.microsoft.com/office/drawing/2014/main" id="{1D65AEF2-392B-4502-8EB4-54BF09655759}"/>
                        </a:ext>
                      </a:extLst>
                    </p:cNvPr>
                    <p:cNvCxnSpPr>
                      <a:cxnSpLocks/>
                      <a:stCxn id="13" idx="6"/>
                    </p:cNvCxnSpPr>
                    <p:nvPr/>
                  </p:nvCxnSpPr>
                  <p:spPr>
                    <a:xfrm>
                      <a:off x="4558027" y="4800600"/>
                      <a:ext cx="2377389" cy="6661"/>
                    </a:xfrm>
                    <a:prstGeom prst="line">
                      <a:avLst/>
                    </a:prstGeom>
                    <a:ln w="152400" cap="rnd">
                      <a:solidFill>
                        <a:schemeClr val="tx1">
                          <a:lumMod val="20000"/>
                          <a:lumOff val="80000"/>
                        </a:schemeClr>
                      </a:solidFill>
                      <a:round/>
                      <a:tailEnd type="arrow" w="sm" len="sm"/>
                    </a:ln>
                  </p:spPr>
                  <p:style>
                    <a:lnRef idx="1">
                      <a:schemeClr val="accent1"/>
                    </a:lnRef>
                    <a:fillRef idx="0">
                      <a:schemeClr val="accent1"/>
                    </a:fillRef>
                    <a:effectRef idx="0">
                      <a:schemeClr val="accent1"/>
                    </a:effectRef>
                    <a:fontRef idx="minor">
                      <a:schemeClr val="tx1"/>
                    </a:fontRef>
                  </p:style>
                </p:cxnSp>
                <p:cxnSp>
                  <p:nvCxnSpPr>
                    <p:cNvPr id="11" name="直接连接符 10">
                      <a:extLst>
                        <a:ext uri="{FF2B5EF4-FFF2-40B4-BE49-F238E27FC236}">
                          <a16:creationId xmlns:a16="http://schemas.microsoft.com/office/drawing/2014/main" id="{ABC8CCA5-CF98-4115-81EA-DB86764A96F1}"/>
                        </a:ext>
                      </a:extLst>
                    </p:cNvPr>
                    <p:cNvCxnSpPr>
                      <a:cxnSpLocks/>
                      <a:stCxn id="14" idx="6"/>
                      <a:endCxn id="15" idx="2"/>
                    </p:cNvCxnSpPr>
                    <p:nvPr/>
                  </p:nvCxnSpPr>
                  <p:spPr>
                    <a:xfrm flipV="1">
                      <a:off x="7606537" y="3815593"/>
                      <a:ext cx="2357488" cy="2001"/>
                    </a:xfrm>
                    <a:prstGeom prst="line">
                      <a:avLst/>
                    </a:prstGeom>
                    <a:ln w="152400" cap="rnd">
                      <a:solidFill>
                        <a:schemeClr val="tx1">
                          <a:lumMod val="20000"/>
                          <a:lumOff val="80000"/>
                        </a:schemeClr>
                      </a:solidFill>
                      <a:round/>
                      <a:tailEnd type="arrow" w="sm" len="sm"/>
                    </a:ln>
                  </p:spPr>
                  <p:style>
                    <a:lnRef idx="1">
                      <a:schemeClr val="accent1"/>
                    </a:lnRef>
                    <a:fillRef idx="0">
                      <a:schemeClr val="accent1"/>
                    </a:fillRef>
                    <a:effectRef idx="0">
                      <a:schemeClr val="accent1"/>
                    </a:effectRef>
                    <a:fontRef idx="minor">
                      <a:schemeClr val="tx1"/>
                    </a:fontRef>
                  </p:style>
                </p:cxnSp>
                <p:sp>
                  <p:nvSpPr>
                    <p:cNvPr id="12" name="î$líḑê">
                      <a:extLst>
                        <a:ext uri="{FF2B5EF4-FFF2-40B4-BE49-F238E27FC236}">
                          <a16:creationId xmlns:a16="http://schemas.microsoft.com/office/drawing/2014/main" id="{192B4765-9F3F-4759-83F7-8FB6386A1E20}"/>
                        </a:ext>
                      </a:extLst>
                    </p:cNvPr>
                    <p:cNvSpPr/>
                    <p:nvPr/>
                  </p:nvSpPr>
                  <p:spPr>
                    <a:xfrm>
                      <a:off x="778304" y="5435995"/>
                      <a:ext cx="723900" cy="723894"/>
                    </a:xfrm>
                    <a:prstGeom prst="ellipse">
                      <a:avLst/>
                    </a:prstGeom>
                    <a:solidFill>
                      <a:schemeClr val="accent1"/>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anchor="ctr">
                      <a:normAutofit/>
                    </a:bodyPr>
                    <a:lstStyle>
                      <a:defPPr>
                        <a:defRPr lang="zh-CN"/>
                      </a:defPPr>
                      <a:lvl1pPr marL="0" algn="l" defTabSz="914377" rtl="0" eaLnBrk="1" latinLnBrk="0" hangingPunct="1">
                        <a:defRPr sz="1800" kern="1200">
                          <a:solidFill>
                            <a:schemeClr val="lt1"/>
                          </a:solidFill>
                        </a:defRPr>
                      </a:lvl1pPr>
                      <a:lvl2pPr marL="457189" algn="l" defTabSz="914377" rtl="0" eaLnBrk="1" latinLnBrk="0" hangingPunct="1">
                        <a:defRPr sz="1800" kern="1200">
                          <a:solidFill>
                            <a:schemeClr val="lt1"/>
                          </a:solidFill>
                        </a:defRPr>
                      </a:lvl2pPr>
                      <a:lvl3pPr marL="914377" algn="l" defTabSz="914377" rtl="0" eaLnBrk="1" latinLnBrk="0" hangingPunct="1">
                        <a:defRPr sz="1800" kern="1200">
                          <a:solidFill>
                            <a:schemeClr val="lt1"/>
                          </a:solidFill>
                        </a:defRPr>
                      </a:lvl3pPr>
                      <a:lvl4pPr marL="1371566" algn="l" defTabSz="914377" rtl="0" eaLnBrk="1" latinLnBrk="0" hangingPunct="1">
                        <a:defRPr sz="1800" kern="1200">
                          <a:solidFill>
                            <a:schemeClr val="lt1"/>
                          </a:solidFill>
                        </a:defRPr>
                      </a:lvl4pPr>
                      <a:lvl5pPr marL="1828754" algn="l" defTabSz="914377" rtl="0" eaLnBrk="1" latinLnBrk="0" hangingPunct="1">
                        <a:defRPr sz="1800" kern="1200">
                          <a:solidFill>
                            <a:schemeClr val="lt1"/>
                          </a:solidFill>
                        </a:defRPr>
                      </a:lvl5pPr>
                      <a:lvl6pPr marL="2285943" algn="l" defTabSz="914377" rtl="0" eaLnBrk="1" latinLnBrk="0" hangingPunct="1">
                        <a:defRPr sz="1800" kern="1200">
                          <a:solidFill>
                            <a:schemeClr val="lt1"/>
                          </a:solidFill>
                        </a:defRPr>
                      </a:lvl6pPr>
                      <a:lvl7pPr marL="2743131" algn="l" defTabSz="914377" rtl="0" eaLnBrk="1" latinLnBrk="0" hangingPunct="1">
                        <a:defRPr sz="1800" kern="1200">
                          <a:solidFill>
                            <a:schemeClr val="lt1"/>
                          </a:solidFill>
                        </a:defRPr>
                      </a:lvl7pPr>
                      <a:lvl8pPr marL="3200320" algn="l" defTabSz="914377" rtl="0" eaLnBrk="1" latinLnBrk="0" hangingPunct="1">
                        <a:defRPr sz="1800" kern="1200">
                          <a:solidFill>
                            <a:schemeClr val="lt1"/>
                          </a:solidFill>
                        </a:defRPr>
                      </a:lvl8pPr>
                      <a:lvl9pPr marL="3657509" algn="l" defTabSz="914377" rtl="0" eaLnBrk="1" latinLnBrk="0" hangingPunct="1">
                        <a:defRPr sz="1800" kern="1200">
                          <a:solidFill>
                            <a:schemeClr val="lt1"/>
                          </a:solidFill>
                        </a:defRPr>
                      </a:lvl9pPr>
                    </a:lstStyle>
                    <a:p>
                      <a:pPr algn="ctr"/>
                      <a:r>
                        <a:rPr lang="zh-CN" altLang="en-US" dirty="0" smtClean="0">
                          <a:latin typeface="Impact" panose="020B0806030902050204" pitchFamily="34" charset="0"/>
                        </a:rPr>
                        <a:t>取料</a:t>
                      </a:r>
                      <a:endParaRPr dirty="0">
                        <a:latin typeface="Impact" panose="020B0806030902050204" pitchFamily="34" charset="0"/>
                      </a:endParaRPr>
                    </a:p>
                  </p:txBody>
                </p:sp>
                <p:sp>
                  <p:nvSpPr>
                    <p:cNvPr id="13" name="îṩlíďê">
                      <a:extLst>
                        <a:ext uri="{FF2B5EF4-FFF2-40B4-BE49-F238E27FC236}">
                          <a16:creationId xmlns:a16="http://schemas.microsoft.com/office/drawing/2014/main" id="{02FACDCD-811C-4398-BD9C-160DE312E8E2}"/>
                        </a:ext>
                      </a:extLst>
                    </p:cNvPr>
                    <p:cNvSpPr/>
                    <p:nvPr/>
                  </p:nvSpPr>
                  <p:spPr>
                    <a:xfrm>
                      <a:off x="3834127" y="4438653"/>
                      <a:ext cx="723900" cy="723894"/>
                    </a:xfrm>
                    <a:prstGeom prst="ellipse">
                      <a:avLst/>
                    </a:prstGeom>
                    <a:solidFill>
                      <a:srgbClr val="00B0F0"/>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anchor="ctr">
                      <a:normAutofit/>
                    </a:bodyPr>
                    <a:lstStyle>
                      <a:defPPr>
                        <a:defRPr lang="zh-CN"/>
                      </a:defPPr>
                      <a:lvl1pPr marL="0" algn="l" defTabSz="914377" rtl="0" eaLnBrk="1" latinLnBrk="0" hangingPunct="1">
                        <a:defRPr sz="1800" kern="1200">
                          <a:solidFill>
                            <a:schemeClr val="lt1"/>
                          </a:solidFill>
                        </a:defRPr>
                      </a:lvl1pPr>
                      <a:lvl2pPr marL="457189" algn="l" defTabSz="914377" rtl="0" eaLnBrk="1" latinLnBrk="0" hangingPunct="1">
                        <a:defRPr sz="1800" kern="1200">
                          <a:solidFill>
                            <a:schemeClr val="lt1"/>
                          </a:solidFill>
                        </a:defRPr>
                      </a:lvl2pPr>
                      <a:lvl3pPr marL="914377" algn="l" defTabSz="914377" rtl="0" eaLnBrk="1" latinLnBrk="0" hangingPunct="1">
                        <a:defRPr sz="1800" kern="1200">
                          <a:solidFill>
                            <a:schemeClr val="lt1"/>
                          </a:solidFill>
                        </a:defRPr>
                      </a:lvl3pPr>
                      <a:lvl4pPr marL="1371566" algn="l" defTabSz="914377" rtl="0" eaLnBrk="1" latinLnBrk="0" hangingPunct="1">
                        <a:defRPr sz="1800" kern="1200">
                          <a:solidFill>
                            <a:schemeClr val="lt1"/>
                          </a:solidFill>
                        </a:defRPr>
                      </a:lvl4pPr>
                      <a:lvl5pPr marL="1828754" algn="l" defTabSz="914377" rtl="0" eaLnBrk="1" latinLnBrk="0" hangingPunct="1">
                        <a:defRPr sz="1800" kern="1200">
                          <a:solidFill>
                            <a:schemeClr val="lt1"/>
                          </a:solidFill>
                        </a:defRPr>
                      </a:lvl5pPr>
                      <a:lvl6pPr marL="2285943" algn="l" defTabSz="914377" rtl="0" eaLnBrk="1" latinLnBrk="0" hangingPunct="1">
                        <a:defRPr sz="1800" kern="1200">
                          <a:solidFill>
                            <a:schemeClr val="lt1"/>
                          </a:solidFill>
                        </a:defRPr>
                      </a:lvl6pPr>
                      <a:lvl7pPr marL="2743131" algn="l" defTabSz="914377" rtl="0" eaLnBrk="1" latinLnBrk="0" hangingPunct="1">
                        <a:defRPr sz="1800" kern="1200">
                          <a:solidFill>
                            <a:schemeClr val="lt1"/>
                          </a:solidFill>
                        </a:defRPr>
                      </a:lvl7pPr>
                      <a:lvl8pPr marL="3200320" algn="l" defTabSz="914377" rtl="0" eaLnBrk="1" latinLnBrk="0" hangingPunct="1">
                        <a:defRPr sz="1800" kern="1200">
                          <a:solidFill>
                            <a:schemeClr val="lt1"/>
                          </a:solidFill>
                        </a:defRPr>
                      </a:lvl8pPr>
                      <a:lvl9pPr marL="3657509" algn="l" defTabSz="914377" rtl="0" eaLnBrk="1" latinLnBrk="0" hangingPunct="1">
                        <a:defRPr sz="1800" kern="1200">
                          <a:solidFill>
                            <a:schemeClr val="lt1"/>
                          </a:solidFill>
                        </a:defRPr>
                      </a:lvl9pPr>
                    </a:lstStyle>
                    <a:p>
                      <a:pPr algn="ctr"/>
                      <a:r>
                        <a:rPr lang="zh-CN" altLang="en-US" dirty="0" smtClean="0">
                          <a:latin typeface="Impact" panose="020B0806030902050204" pitchFamily="34" charset="0"/>
                        </a:rPr>
                        <a:t>核料</a:t>
                      </a:r>
                      <a:endParaRPr dirty="0">
                        <a:latin typeface="Impact" panose="020B0806030902050204" pitchFamily="34" charset="0"/>
                      </a:endParaRPr>
                    </a:p>
                  </p:txBody>
                </p:sp>
                <p:sp>
                  <p:nvSpPr>
                    <p:cNvPr id="14" name="îś1iḍè">
                      <a:extLst>
                        <a:ext uri="{FF2B5EF4-FFF2-40B4-BE49-F238E27FC236}">
                          <a16:creationId xmlns:a16="http://schemas.microsoft.com/office/drawing/2014/main" id="{02F95AB7-F5F6-46EB-A451-0BD58FBDBE25}"/>
                        </a:ext>
                      </a:extLst>
                    </p:cNvPr>
                    <p:cNvSpPr/>
                    <p:nvPr/>
                  </p:nvSpPr>
                  <p:spPr>
                    <a:xfrm>
                      <a:off x="6882637" y="3455647"/>
                      <a:ext cx="723900" cy="723894"/>
                    </a:xfrm>
                    <a:prstGeom prst="ellipse">
                      <a:avLst/>
                    </a:prstGeom>
                    <a:solidFill>
                      <a:schemeClr val="accent1"/>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anchor="ctr">
                      <a:normAutofit/>
                    </a:bodyPr>
                    <a:lstStyle>
                      <a:defPPr>
                        <a:defRPr lang="zh-CN"/>
                      </a:defPPr>
                      <a:lvl1pPr marL="0" algn="l" defTabSz="914377" rtl="0" eaLnBrk="1" latinLnBrk="0" hangingPunct="1">
                        <a:defRPr sz="1800" kern="1200">
                          <a:solidFill>
                            <a:schemeClr val="lt1"/>
                          </a:solidFill>
                        </a:defRPr>
                      </a:lvl1pPr>
                      <a:lvl2pPr marL="457189" algn="l" defTabSz="914377" rtl="0" eaLnBrk="1" latinLnBrk="0" hangingPunct="1">
                        <a:defRPr sz="1800" kern="1200">
                          <a:solidFill>
                            <a:schemeClr val="lt1"/>
                          </a:solidFill>
                        </a:defRPr>
                      </a:lvl2pPr>
                      <a:lvl3pPr marL="914377" algn="l" defTabSz="914377" rtl="0" eaLnBrk="1" latinLnBrk="0" hangingPunct="1">
                        <a:defRPr sz="1800" kern="1200">
                          <a:solidFill>
                            <a:schemeClr val="lt1"/>
                          </a:solidFill>
                        </a:defRPr>
                      </a:lvl3pPr>
                      <a:lvl4pPr marL="1371566" algn="l" defTabSz="914377" rtl="0" eaLnBrk="1" latinLnBrk="0" hangingPunct="1">
                        <a:defRPr sz="1800" kern="1200">
                          <a:solidFill>
                            <a:schemeClr val="lt1"/>
                          </a:solidFill>
                        </a:defRPr>
                      </a:lvl4pPr>
                      <a:lvl5pPr marL="1828754" algn="l" defTabSz="914377" rtl="0" eaLnBrk="1" latinLnBrk="0" hangingPunct="1">
                        <a:defRPr sz="1800" kern="1200">
                          <a:solidFill>
                            <a:schemeClr val="lt1"/>
                          </a:solidFill>
                        </a:defRPr>
                      </a:lvl5pPr>
                      <a:lvl6pPr marL="2285943" algn="l" defTabSz="914377" rtl="0" eaLnBrk="1" latinLnBrk="0" hangingPunct="1">
                        <a:defRPr sz="1800" kern="1200">
                          <a:solidFill>
                            <a:schemeClr val="lt1"/>
                          </a:solidFill>
                        </a:defRPr>
                      </a:lvl6pPr>
                      <a:lvl7pPr marL="2743131" algn="l" defTabSz="914377" rtl="0" eaLnBrk="1" latinLnBrk="0" hangingPunct="1">
                        <a:defRPr sz="1800" kern="1200">
                          <a:solidFill>
                            <a:schemeClr val="lt1"/>
                          </a:solidFill>
                        </a:defRPr>
                      </a:lvl7pPr>
                      <a:lvl8pPr marL="3200320" algn="l" defTabSz="914377" rtl="0" eaLnBrk="1" latinLnBrk="0" hangingPunct="1">
                        <a:defRPr sz="1800" kern="1200">
                          <a:solidFill>
                            <a:schemeClr val="lt1"/>
                          </a:solidFill>
                        </a:defRPr>
                      </a:lvl8pPr>
                      <a:lvl9pPr marL="3657509" algn="l" defTabSz="914377" rtl="0" eaLnBrk="1" latinLnBrk="0" hangingPunct="1">
                        <a:defRPr sz="1800" kern="1200">
                          <a:solidFill>
                            <a:schemeClr val="lt1"/>
                          </a:solidFill>
                        </a:defRPr>
                      </a:lvl9pPr>
                    </a:lstStyle>
                    <a:p>
                      <a:pPr algn="ctr"/>
                      <a:r>
                        <a:rPr lang="zh-CN" altLang="en-US" dirty="0" smtClean="0">
                          <a:latin typeface="Impact" panose="020B0806030902050204" pitchFamily="34" charset="0"/>
                        </a:rPr>
                        <a:t>发料</a:t>
                      </a:r>
                      <a:endParaRPr dirty="0">
                        <a:latin typeface="Impact" panose="020B0806030902050204" pitchFamily="34" charset="0"/>
                      </a:endParaRPr>
                    </a:p>
                  </p:txBody>
                </p:sp>
                <p:sp>
                  <p:nvSpPr>
                    <p:cNvPr id="15" name="i$ļïdê">
                      <a:extLst>
                        <a:ext uri="{FF2B5EF4-FFF2-40B4-BE49-F238E27FC236}">
                          <a16:creationId xmlns:a16="http://schemas.microsoft.com/office/drawing/2014/main" id="{89EDFFFD-99F9-44E3-A25B-751C26ACA19B}"/>
                        </a:ext>
                      </a:extLst>
                    </p:cNvPr>
                    <p:cNvSpPr/>
                    <p:nvPr/>
                  </p:nvSpPr>
                  <p:spPr>
                    <a:xfrm>
                      <a:off x="9964025" y="3453646"/>
                      <a:ext cx="723900" cy="723894"/>
                    </a:xfrm>
                    <a:prstGeom prst="ellipse">
                      <a:avLst/>
                    </a:prstGeom>
                    <a:solidFill>
                      <a:schemeClr val="accent3"/>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anchor="ctr">
                      <a:normAutofit/>
                    </a:bodyPr>
                    <a:lstStyle>
                      <a:defPPr>
                        <a:defRPr lang="zh-CN"/>
                      </a:defPPr>
                      <a:lvl1pPr marL="0" algn="l" defTabSz="914377" rtl="0" eaLnBrk="1" latinLnBrk="0" hangingPunct="1">
                        <a:defRPr sz="1800" kern="1200">
                          <a:solidFill>
                            <a:schemeClr val="lt1"/>
                          </a:solidFill>
                        </a:defRPr>
                      </a:lvl1pPr>
                      <a:lvl2pPr marL="457189" algn="l" defTabSz="914377" rtl="0" eaLnBrk="1" latinLnBrk="0" hangingPunct="1">
                        <a:defRPr sz="1800" kern="1200">
                          <a:solidFill>
                            <a:schemeClr val="lt1"/>
                          </a:solidFill>
                        </a:defRPr>
                      </a:lvl2pPr>
                      <a:lvl3pPr marL="914377" algn="l" defTabSz="914377" rtl="0" eaLnBrk="1" latinLnBrk="0" hangingPunct="1">
                        <a:defRPr sz="1800" kern="1200">
                          <a:solidFill>
                            <a:schemeClr val="lt1"/>
                          </a:solidFill>
                        </a:defRPr>
                      </a:lvl3pPr>
                      <a:lvl4pPr marL="1371566" algn="l" defTabSz="914377" rtl="0" eaLnBrk="1" latinLnBrk="0" hangingPunct="1">
                        <a:defRPr sz="1800" kern="1200">
                          <a:solidFill>
                            <a:schemeClr val="lt1"/>
                          </a:solidFill>
                        </a:defRPr>
                      </a:lvl4pPr>
                      <a:lvl5pPr marL="1828754" algn="l" defTabSz="914377" rtl="0" eaLnBrk="1" latinLnBrk="0" hangingPunct="1">
                        <a:defRPr sz="1800" kern="1200">
                          <a:solidFill>
                            <a:schemeClr val="lt1"/>
                          </a:solidFill>
                        </a:defRPr>
                      </a:lvl5pPr>
                      <a:lvl6pPr marL="2285943" algn="l" defTabSz="914377" rtl="0" eaLnBrk="1" latinLnBrk="0" hangingPunct="1">
                        <a:defRPr sz="1800" kern="1200">
                          <a:solidFill>
                            <a:schemeClr val="lt1"/>
                          </a:solidFill>
                        </a:defRPr>
                      </a:lvl6pPr>
                      <a:lvl7pPr marL="2743131" algn="l" defTabSz="914377" rtl="0" eaLnBrk="1" latinLnBrk="0" hangingPunct="1">
                        <a:defRPr sz="1800" kern="1200">
                          <a:solidFill>
                            <a:schemeClr val="lt1"/>
                          </a:solidFill>
                        </a:defRPr>
                      </a:lvl7pPr>
                      <a:lvl8pPr marL="3200320" algn="l" defTabSz="914377" rtl="0" eaLnBrk="1" latinLnBrk="0" hangingPunct="1">
                        <a:defRPr sz="1800" kern="1200">
                          <a:solidFill>
                            <a:schemeClr val="lt1"/>
                          </a:solidFill>
                        </a:defRPr>
                      </a:lvl8pPr>
                      <a:lvl9pPr marL="3657509" algn="l" defTabSz="914377" rtl="0" eaLnBrk="1" latinLnBrk="0" hangingPunct="1">
                        <a:defRPr sz="1800" kern="1200">
                          <a:solidFill>
                            <a:schemeClr val="lt1"/>
                          </a:solidFill>
                        </a:defRPr>
                      </a:lvl9pPr>
                    </a:lstStyle>
                    <a:p>
                      <a:pPr algn="ctr"/>
                      <a:r>
                        <a:rPr lang="zh-CN" altLang="en-US" dirty="0" smtClean="0">
                          <a:latin typeface="Impact" panose="020B0806030902050204" pitchFamily="34" charset="0"/>
                        </a:rPr>
                        <a:t>产线</a:t>
                      </a:r>
                      <a:endParaRPr dirty="0">
                        <a:latin typeface="Impact" panose="020B0806030902050204" pitchFamily="34" charset="0"/>
                      </a:endParaRPr>
                    </a:p>
                  </p:txBody>
                </p:sp>
                <p:sp>
                  <p:nvSpPr>
                    <p:cNvPr id="26" name="îśľíḑê">
                      <a:extLst>
                        <a:ext uri="{FF2B5EF4-FFF2-40B4-BE49-F238E27FC236}">
                          <a16:creationId xmlns:a16="http://schemas.microsoft.com/office/drawing/2014/main" id="{8A71189F-8904-4951-B4FC-381094B54451}"/>
                        </a:ext>
                      </a:extLst>
                    </p:cNvPr>
                    <p:cNvSpPr txBox="1"/>
                    <p:nvPr/>
                  </p:nvSpPr>
                  <p:spPr>
                    <a:xfrm>
                      <a:off x="669396" y="4612899"/>
                      <a:ext cx="2726604" cy="727317"/>
                    </a:xfrm>
                    <a:prstGeom prst="rect">
                      <a:avLst/>
                    </a:prstGeom>
                    <a:noFill/>
                  </p:spPr>
                  <p:txBody>
                    <a:bodyPr wrap="square" rtlCol="0" anchor="b">
                      <a:normAutofit/>
                    </a:bodyPr>
                    <a:lstStyle/>
                    <a:p>
                      <a:pPr lvl="0" defTabSz="914378">
                        <a:spcBef>
                          <a:spcPct val="0"/>
                        </a:spcBef>
                        <a:defRPr/>
                      </a:pPr>
                      <a:r>
                        <a:rPr lang="zh-CN" altLang="en-US" b="1" dirty="0" smtClean="0">
                          <a:solidFill>
                            <a:schemeClr val="accent1"/>
                          </a:solidFill>
                        </a:rPr>
                        <a:t>根据套料单</a:t>
                      </a:r>
                      <a:endParaRPr lang="en-US" altLang="zh-CN" b="1" dirty="0" smtClean="0">
                        <a:solidFill>
                          <a:schemeClr val="accent1"/>
                        </a:solidFill>
                      </a:endParaRPr>
                    </a:p>
                    <a:p>
                      <a:pPr lvl="0" defTabSz="914378">
                        <a:spcBef>
                          <a:spcPct val="0"/>
                        </a:spcBef>
                        <a:defRPr/>
                      </a:pPr>
                      <a:r>
                        <a:rPr lang="zh-CN" altLang="en-US" b="1" dirty="0" smtClean="0">
                          <a:solidFill>
                            <a:schemeClr val="accent1"/>
                          </a:solidFill>
                        </a:rPr>
                        <a:t>仓库取料</a:t>
                      </a:r>
                      <a:endParaRPr lang="zh-CN" altLang="en-US" b="1" dirty="0">
                        <a:solidFill>
                          <a:schemeClr val="accent1"/>
                        </a:solidFill>
                      </a:endParaRPr>
                    </a:p>
                  </p:txBody>
                </p:sp>
                <p:sp>
                  <p:nvSpPr>
                    <p:cNvPr id="23" name="iṧ1íḋé">
                      <a:extLst>
                        <a:ext uri="{FF2B5EF4-FFF2-40B4-BE49-F238E27FC236}">
                          <a16:creationId xmlns:a16="http://schemas.microsoft.com/office/drawing/2014/main" id="{F53B91B8-097D-4F46-8705-4AA9356BFCD5}"/>
                        </a:ext>
                      </a:extLst>
                    </p:cNvPr>
                    <p:cNvSpPr txBox="1"/>
                    <p:nvPr/>
                  </p:nvSpPr>
                  <p:spPr>
                    <a:xfrm>
                      <a:off x="6882637" y="3013089"/>
                      <a:ext cx="2726604" cy="372966"/>
                    </a:xfrm>
                    <a:prstGeom prst="rect">
                      <a:avLst/>
                    </a:prstGeom>
                    <a:noFill/>
                  </p:spPr>
                  <p:txBody>
                    <a:bodyPr wrap="square" rtlCol="0" anchor="b">
                      <a:normAutofit/>
                    </a:bodyPr>
                    <a:lstStyle/>
                    <a:p>
                      <a:pPr lvl="0" defTabSz="914378">
                        <a:spcBef>
                          <a:spcPct val="0"/>
                        </a:spcBef>
                        <a:defRPr/>
                      </a:pPr>
                      <a:r>
                        <a:rPr lang="zh-CN" altLang="en-US" b="1" dirty="0" smtClean="0">
                          <a:solidFill>
                            <a:schemeClr val="accent1"/>
                          </a:solidFill>
                        </a:rPr>
                        <a:t>发料到产线</a:t>
                      </a:r>
                      <a:endParaRPr lang="zh-CN" altLang="en-US" b="1" dirty="0">
                        <a:solidFill>
                          <a:schemeClr val="accent1"/>
                        </a:solidFill>
                      </a:endParaRPr>
                    </a:p>
                  </p:txBody>
                </p:sp>
                <p:cxnSp>
                  <p:nvCxnSpPr>
                    <p:cNvPr id="18" name="直接连接符 17">
                      <a:extLst>
                        <a:ext uri="{FF2B5EF4-FFF2-40B4-BE49-F238E27FC236}">
                          <a16:creationId xmlns:a16="http://schemas.microsoft.com/office/drawing/2014/main" id="{6DC193BF-B8E9-4B1B-B469-CB9ECF52825F}"/>
                        </a:ext>
                      </a:extLst>
                    </p:cNvPr>
                    <p:cNvCxnSpPr>
                      <a:cxnSpLocks/>
                      <a:stCxn id="15" idx="0"/>
                    </p:cNvCxnSpPr>
                    <p:nvPr/>
                  </p:nvCxnSpPr>
                  <p:spPr>
                    <a:xfrm flipV="1">
                      <a:off x="10325975" y="2853993"/>
                      <a:ext cx="0" cy="599653"/>
                    </a:xfrm>
                    <a:prstGeom prst="line">
                      <a:avLst/>
                    </a:prstGeom>
                    <a:ln w="3175" cap="rnd">
                      <a:solidFill>
                        <a:schemeClr val="bg1">
                          <a:lumMod val="75000"/>
                        </a:schemeClr>
                      </a:solidFill>
                      <a:round/>
                      <a:headEnd type="none"/>
                      <a:tailEnd type="none" w="med" len="med"/>
                    </a:ln>
                  </p:spPr>
                  <p:style>
                    <a:lnRef idx="1">
                      <a:schemeClr val="accent1"/>
                    </a:lnRef>
                    <a:fillRef idx="0">
                      <a:schemeClr val="accent1"/>
                    </a:fillRef>
                    <a:effectRef idx="0">
                      <a:schemeClr val="accent1"/>
                    </a:effectRef>
                    <a:fontRef idx="minor">
                      <a:schemeClr val="tx1"/>
                    </a:fontRef>
                  </p:style>
                </p:cxnSp>
                <p:cxnSp>
                  <p:nvCxnSpPr>
                    <p:cNvPr id="19" name="直接连接符 18">
                      <a:extLst>
                        <a:ext uri="{FF2B5EF4-FFF2-40B4-BE49-F238E27FC236}">
                          <a16:creationId xmlns:a16="http://schemas.microsoft.com/office/drawing/2014/main" id="{3DB4483F-10B1-4B14-94CB-11B5D2972977}"/>
                        </a:ext>
                      </a:extLst>
                    </p:cNvPr>
                    <p:cNvCxnSpPr>
                      <a:cxnSpLocks/>
                    </p:cNvCxnSpPr>
                    <p:nvPr/>
                  </p:nvCxnSpPr>
                  <p:spPr>
                    <a:xfrm>
                      <a:off x="9585858" y="2468233"/>
                      <a:ext cx="1553496" cy="0"/>
                    </a:xfrm>
                    <a:prstGeom prst="line">
                      <a:avLst/>
                    </a:prstGeom>
                    <a:ln w="3175" cap="rnd">
                      <a:solidFill>
                        <a:schemeClr val="bg1">
                          <a:lumMod val="75000"/>
                        </a:schemeClr>
                      </a:solidFill>
                      <a:round/>
                      <a:headEnd type="none"/>
                      <a:tailEnd type="none" w="med" len="med"/>
                    </a:ln>
                  </p:spPr>
                  <p:style>
                    <a:lnRef idx="1">
                      <a:schemeClr val="accent1"/>
                    </a:lnRef>
                    <a:fillRef idx="0">
                      <a:schemeClr val="accent1"/>
                    </a:fillRef>
                    <a:effectRef idx="0">
                      <a:schemeClr val="accent1"/>
                    </a:effectRef>
                    <a:fontRef idx="minor">
                      <a:schemeClr val="tx1"/>
                    </a:fontRef>
                  </p:style>
                </p:cxnSp>
              </p:grpSp>
              <p:sp>
                <p:nvSpPr>
                  <p:cNvPr id="33" name="矩形 32"/>
                  <p:cNvSpPr/>
                  <p:nvPr/>
                </p:nvSpPr>
                <p:spPr>
                  <a:xfrm>
                    <a:off x="3732231" y="3794044"/>
                    <a:ext cx="6096000" cy="523220"/>
                  </a:xfrm>
                  <a:prstGeom prst="rect">
                    <a:avLst/>
                  </a:prstGeom>
                </p:spPr>
                <p:txBody>
                  <a:bodyPr>
                    <a:spAutoFit/>
                  </a:bodyPr>
                  <a:lstStyle/>
                  <a:p>
                    <a:pPr marL="171450" indent="-171450">
                      <a:buFont typeface="Arial" panose="020B0604020202020204" pitchFamily="34" charset="0"/>
                      <a:buChar char="•"/>
                    </a:pPr>
                    <a:r>
                      <a:rPr lang="zh-CN" altLang="en-US" sz="1400" dirty="0"/>
                      <a:t>人员对比效率低</a:t>
                    </a:r>
                  </a:p>
                  <a:p>
                    <a:pPr marL="171450" indent="-171450">
                      <a:buFont typeface="Arial" panose="020B0604020202020204" pitchFamily="34" charset="0"/>
                      <a:buChar char="•"/>
                    </a:pPr>
                    <a:r>
                      <a:rPr lang="zh-CN" altLang="en-US" sz="1400" dirty="0"/>
                      <a:t>料号的相似度高容易导致对比结果出错</a:t>
                    </a:r>
                  </a:p>
                </p:txBody>
              </p:sp>
            </p:grpSp>
            <p:sp>
              <p:nvSpPr>
                <p:cNvPr id="37" name="ïṥļíḑé">
                  <a:extLst>
                    <a:ext uri="{FF2B5EF4-FFF2-40B4-BE49-F238E27FC236}">
                      <a16:creationId xmlns:a16="http://schemas.microsoft.com/office/drawing/2014/main" id="{D3CEEF8B-96C4-416A-AED4-8116016B8025}"/>
                    </a:ext>
                  </a:extLst>
                </p:cNvPr>
                <p:cNvSpPr txBox="1"/>
                <p:nvPr/>
              </p:nvSpPr>
              <p:spPr>
                <a:xfrm>
                  <a:off x="7237421" y="5921499"/>
                  <a:ext cx="2726604" cy="723894"/>
                </a:xfrm>
                <a:prstGeom prst="rect">
                  <a:avLst/>
                </a:prstGeom>
                <a:noFill/>
              </p:spPr>
              <p:txBody>
                <a:bodyPr wrap="square" lIns="90000" tIns="46800" rIns="90000" bIns="46800" rtlCol="0">
                  <a:normAutofit/>
                </a:bodyPr>
                <a:lstStyle/>
                <a:p>
                  <a:pPr marL="171450" lvl="0" indent="-171450">
                    <a:buFont typeface="Arial" panose="020B0604020202020204" pitchFamily="34" charset="0"/>
                    <a:buChar char="•"/>
                  </a:pPr>
                  <a:r>
                    <a:rPr lang="zh-CN" altLang="en-US" sz="1100" dirty="0"/>
                    <a:t>速度快，瞬间得到结果</a:t>
                  </a:r>
                </a:p>
                <a:p>
                  <a:pPr marL="171450" lvl="0" indent="-171450">
                    <a:buFont typeface="Arial" panose="020B0604020202020204" pitchFamily="34" charset="0"/>
                    <a:buChar char="•"/>
                  </a:pPr>
                  <a:r>
                    <a:rPr lang="zh-CN" altLang="en-US" sz="1100" dirty="0"/>
                    <a:t>软件对比不出错</a:t>
                  </a:r>
                </a:p>
              </p:txBody>
            </p:sp>
            <p:sp>
              <p:nvSpPr>
                <p:cNvPr id="38" name="iśḷiḍê">
                  <a:extLst>
                    <a:ext uri="{FF2B5EF4-FFF2-40B4-BE49-F238E27FC236}">
                      <a16:creationId xmlns:a16="http://schemas.microsoft.com/office/drawing/2014/main" id="{625C5F23-C6FE-4FED-A8A2-1922EFB1980B}"/>
                    </a:ext>
                  </a:extLst>
                </p:cNvPr>
                <p:cNvSpPr txBox="1"/>
                <p:nvPr/>
              </p:nvSpPr>
              <p:spPr>
                <a:xfrm>
                  <a:off x="7237421" y="5548532"/>
                  <a:ext cx="2726604" cy="372966"/>
                </a:xfrm>
                <a:prstGeom prst="rect">
                  <a:avLst/>
                </a:prstGeom>
                <a:noFill/>
              </p:spPr>
              <p:txBody>
                <a:bodyPr wrap="square" rtlCol="0" anchor="b">
                  <a:normAutofit/>
                </a:bodyPr>
                <a:lstStyle/>
                <a:p>
                  <a:pPr lvl="0" defTabSz="914378">
                    <a:spcBef>
                      <a:spcPct val="0"/>
                    </a:spcBef>
                    <a:defRPr/>
                  </a:pPr>
                  <a:r>
                    <a:rPr lang="zh-CN" altLang="en-US" b="1" dirty="0">
                      <a:solidFill>
                        <a:srgbClr val="00B0F0"/>
                      </a:solidFill>
                    </a:rPr>
                    <a:t>机器</a:t>
                  </a:r>
                  <a:r>
                    <a:rPr lang="zh-CN" altLang="en-US" b="1" dirty="0" smtClean="0">
                      <a:solidFill>
                        <a:srgbClr val="00B0F0"/>
                      </a:solidFill>
                    </a:rPr>
                    <a:t>核料</a:t>
                  </a:r>
                  <a:endParaRPr lang="zh-CN" altLang="en-US" b="1" dirty="0">
                    <a:solidFill>
                      <a:srgbClr val="00B0F0"/>
                    </a:solidFill>
                  </a:endParaRPr>
                </a:p>
              </p:txBody>
            </p:sp>
          </p:grpSp>
        </p:grpSp>
        <p:sp>
          <p:nvSpPr>
            <p:cNvPr id="39" name="x-mark_1766"/>
            <p:cNvSpPr>
              <a:spLocks noChangeAspect="1"/>
            </p:cNvSpPr>
            <p:nvPr/>
          </p:nvSpPr>
          <p:spPr bwMode="auto">
            <a:xfrm>
              <a:off x="5281678" y="4495204"/>
              <a:ext cx="609685" cy="608636"/>
            </a:xfrm>
            <a:custGeom>
              <a:avLst/>
              <a:gdLst>
                <a:gd name="T0" fmla="*/ 373 w 373"/>
                <a:gd name="T1" fmla="*/ 299 h 373"/>
                <a:gd name="T2" fmla="*/ 261 w 373"/>
                <a:gd name="T3" fmla="*/ 187 h 373"/>
                <a:gd name="T4" fmla="*/ 373 w 373"/>
                <a:gd name="T5" fmla="*/ 75 h 373"/>
                <a:gd name="T6" fmla="*/ 299 w 373"/>
                <a:gd name="T7" fmla="*/ 0 h 373"/>
                <a:gd name="T8" fmla="*/ 187 w 373"/>
                <a:gd name="T9" fmla="*/ 112 h 373"/>
                <a:gd name="T10" fmla="*/ 75 w 373"/>
                <a:gd name="T11" fmla="*/ 0 h 373"/>
                <a:gd name="T12" fmla="*/ 0 w 373"/>
                <a:gd name="T13" fmla="*/ 75 h 373"/>
                <a:gd name="T14" fmla="*/ 112 w 373"/>
                <a:gd name="T15" fmla="*/ 187 h 373"/>
                <a:gd name="T16" fmla="*/ 0 w 373"/>
                <a:gd name="T17" fmla="*/ 299 h 373"/>
                <a:gd name="T18" fmla="*/ 75 w 373"/>
                <a:gd name="T19" fmla="*/ 373 h 373"/>
                <a:gd name="T20" fmla="*/ 187 w 373"/>
                <a:gd name="T21" fmla="*/ 261 h 373"/>
                <a:gd name="T22" fmla="*/ 299 w 373"/>
                <a:gd name="T23" fmla="*/ 373 h 373"/>
                <a:gd name="T24" fmla="*/ 373 w 373"/>
                <a:gd name="T25" fmla="*/ 299 h 3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73" h="373">
                  <a:moveTo>
                    <a:pt x="373" y="299"/>
                  </a:moveTo>
                  <a:lnTo>
                    <a:pt x="261" y="187"/>
                  </a:lnTo>
                  <a:lnTo>
                    <a:pt x="373" y="75"/>
                  </a:lnTo>
                  <a:lnTo>
                    <a:pt x="299" y="0"/>
                  </a:lnTo>
                  <a:lnTo>
                    <a:pt x="187" y="112"/>
                  </a:lnTo>
                  <a:lnTo>
                    <a:pt x="75" y="0"/>
                  </a:lnTo>
                  <a:lnTo>
                    <a:pt x="0" y="75"/>
                  </a:lnTo>
                  <a:lnTo>
                    <a:pt x="112" y="187"/>
                  </a:lnTo>
                  <a:lnTo>
                    <a:pt x="0" y="299"/>
                  </a:lnTo>
                  <a:lnTo>
                    <a:pt x="75" y="373"/>
                  </a:lnTo>
                  <a:lnTo>
                    <a:pt x="187" y="261"/>
                  </a:lnTo>
                  <a:lnTo>
                    <a:pt x="299" y="373"/>
                  </a:lnTo>
                  <a:lnTo>
                    <a:pt x="373" y="299"/>
                  </a:lnTo>
                  <a:close/>
                </a:path>
              </a:pathLst>
            </a:custGeom>
            <a:solidFill>
              <a:srgbClr val="FF0000"/>
            </a:solidFill>
            <a:ln>
              <a:noFill/>
            </a:ln>
          </p:spPr>
        </p:sp>
      </p:grpSp>
    </p:spTree>
    <p:extLst>
      <p:ext uri="{BB962C8B-B14F-4D97-AF65-F5344CB8AC3E}">
        <p14:creationId xmlns:p14="http://schemas.microsoft.com/office/powerpoint/2010/main" val="3481510534"/>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上</a:t>
            </a:r>
            <a:r>
              <a:rPr lang="zh-CN" altLang="en-US" dirty="0" smtClean="0"/>
              <a:t>料</a:t>
            </a:r>
            <a:r>
              <a:rPr lang="zh-CN" altLang="en-US" dirty="0"/>
              <a:t>流程对比</a:t>
            </a:r>
          </a:p>
        </p:txBody>
      </p:sp>
      <p:grpSp>
        <p:nvGrpSpPr>
          <p:cNvPr id="3" name="组合 2"/>
          <p:cNvGrpSpPr/>
          <p:nvPr/>
        </p:nvGrpSpPr>
        <p:grpSpPr>
          <a:xfrm>
            <a:off x="2181722" y="1436149"/>
            <a:ext cx="8025769" cy="4392545"/>
            <a:chOff x="2181722" y="1436149"/>
            <a:chExt cx="8025769" cy="4392545"/>
          </a:xfrm>
        </p:grpSpPr>
        <p:grpSp>
          <p:nvGrpSpPr>
            <p:cNvPr id="61" name="组合 60"/>
            <p:cNvGrpSpPr/>
            <p:nvPr/>
          </p:nvGrpSpPr>
          <p:grpSpPr>
            <a:xfrm>
              <a:off x="2181722" y="1446002"/>
              <a:ext cx="7875419" cy="4382692"/>
              <a:chOff x="173880" y="1834058"/>
              <a:chExt cx="7875419" cy="4382692"/>
            </a:xfrm>
          </p:grpSpPr>
          <p:sp>
            <p:nvSpPr>
              <p:cNvPr id="52" name="矩形 51"/>
              <p:cNvSpPr/>
              <p:nvPr/>
            </p:nvSpPr>
            <p:spPr>
              <a:xfrm>
                <a:off x="637340" y="3396936"/>
                <a:ext cx="2838501" cy="307777"/>
              </a:xfrm>
              <a:prstGeom prst="rect">
                <a:avLst/>
              </a:prstGeom>
            </p:spPr>
            <p:txBody>
              <a:bodyPr wrap="square">
                <a:spAutoFit/>
              </a:bodyPr>
              <a:lstStyle/>
              <a:p>
                <a:pPr marL="171450" indent="-171450">
                  <a:buFont typeface="Arial" panose="020B0604020202020204" pitchFamily="34" charset="0"/>
                  <a:buChar char="•"/>
                </a:pPr>
                <a:r>
                  <a:rPr lang="zh-CN" altLang="en-US" sz="1400" dirty="0" smtClean="0"/>
                  <a:t>容易看偏</a:t>
                </a:r>
                <a:endParaRPr lang="en-US" altLang="zh-CN" sz="1400" dirty="0"/>
              </a:p>
            </p:txBody>
          </p:sp>
          <p:grpSp>
            <p:nvGrpSpPr>
              <p:cNvPr id="60" name="组合 59"/>
              <p:cNvGrpSpPr/>
              <p:nvPr/>
            </p:nvGrpSpPr>
            <p:grpSpPr>
              <a:xfrm>
                <a:off x="173880" y="1834058"/>
                <a:ext cx="7875419" cy="4382692"/>
                <a:chOff x="173880" y="1834058"/>
                <a:chExt cx="7875419" cy="4382692"/>
              </a:xfrm>
            </p:grpSpPr>
            <p:grpSp>
              <p:nvGrpSpPr>
                <p:cNvPr id="58" name="组合 57"/>
                <p:cNvGrpSpPr/>
                <p:nvPr/>
              </p:nvGrpSpPr>
              <p:grpSpPr>
                <a:xfrm>
                  <a:off x="173880" y="1834058"/>
                  <a:ext cx="7875419" cy="4382692"/>
                  <a:chOff x="173880" y="1834058"/>
                  <a:chExt cx="7875419" cy="4382692"/>
                </a:xfrm>
              </p:grpSpPr>
              <p:grpSp>
                <p:nvGrpSpPr>
                  <p:cNvPr id="57" name="组合 56"/>
                  <p:cNvGrpSpPr/>
                  <p:nvPr/>
                </p:nvGrpSpPr>
                <p:grpSpPr>
                  <a:xfrm>
                    <a:off x="173880" y="1834058"/>
                    <a:ext cx="7875419" cy="4382692"/>
                    <a:chOff x="173880" y="1834058"/>
                    <a:chExt cx="7875419" cy="4382692"/>
                  </a:xfrm>
                </p:grpSpPr>
                <p:cxnSp>
                  <p:nvCxnSpPr>
                    <p:cNvPr id="44" name="直接连接符 43">
                      <a:extLst>
                        <a:ext uri="{FF2B5EF4-FFF2-40B4-BE49-F238E27FC236}">
                          <a16:creationId xmlns:a16="http://schemas.microsoft.com/office/drawing/2014/main" id="{11A6D17D-FCC1-4761-8331-9593F4A7D812}"/>
                        </a:ext>
                      </a:extLst>
                    </p:cNvPr>
                    <p:cNvCxnSpPr>
                      <a:stCxn id="45" idx="6"/>
                      <a:endCxn id="31" idx="2"/>
                    </p:cNvCxnSpPr>
                    <p:nvPr/>
                  </p:nvCxnSpPr>
                  <p:spPr>
                    <a:xfrm>
                      <a:off x="937486" y="5854803"/>
                      <a:ext cx="2422149" cy="0"/>
                    </a:xfrm>
                    <a:prstGeom prst="line">
                      <a:avLst/>
                    </a:prstGeom>
                    <a:ln w="152400" cap="rnd">
                      <a:solidFill>
                        <a:schemeClr val="tx1">
                          <a:lumMod val="20000"/>
                          <a:lumOff val="80000"/>
                        </a:schemeClr>
                      </a:solidFill>
                      <a:round/>
                      <a:tailEnd type="arrow" w="sm" len="sm"/>
                    </a:ln>
                  </p:spPr>
                  <p:style>
                    <a:lnRef idx="1">
                      <a:schemeClr val="accent1"/>
                    </a:lnRef>
                    <a:fillRef idx="0">
                      <a:schemeClr val="accent1"/>
                    </a:fillRef>
                    <a:effectRef idx="0">
                      <a:schemeClr val="accent1"/>
                    </a:effectRef>
                    <a:fontRef idx="minor">
                      <a:schemeClr val="tx1"/>
                    </a:fontRef>
                  </p:style>
                </p:cxnSp>
                <p:grpSp>
                  <p:nvGrpSpPr>
                    <p:cNvPr id="43" name="组合 42"/>
                    <p:cNvGrpSpPr/>
                    <p:nvPr/>
                  </p:nvGrpSpPr>
                  <p:grpSpPr>
                    <a:xfrm>
                      <a:off x="619554" y="1834058"/>
                      <a:ext cx="7429745" cy="4382692"/>
                      <a:chOff x="716150" y="2534275"/>
                      <a:chExt cx="7429745" cy="4382692"/>
                    </a:xfrm>
                  </p:grpSpPr>
                  <p:grpSp>
                    <p:nvGrpSpPr>
                      <p:cNvPr id="41" name="组合 40"/>
                      <p:cNvGrpSpPr/>
                      <p:nvPr/>
                    </p:nvGrpSpPr>
                    <p:grpSpPr>
                      <a:xfrm>
                        <a:off x="716150" y="2534275"/>
                        <a:ext cx="7429745" cy="4382692"/>
                        <a:chOff x="716150" y="2534275"/>
                        <a:chExt cx="7429745" cy="4382692"/>
                      </a:xfrm>
                    </p:grpSpPr>
                    <p:cxnSp>
                      <p:nvCxnSpPr>
                        <p:cNvPr id="30" name="直接连接符 29">
                          <a:extLst>
                            <a:ext uri="{FF2B5EF4-FFF2-40B4-BE49-F238E27FC236}">
                              <a16:creationId xmlns:a16="http://schemas.microsoft.com/office/drawing/2014/main" id="{1D65AEF2-392B-4502-8EB4-54BF09655759}"/>
                            </a:ext>
                          </a:extLst>
                        </p:cNvPr>
                        <p:cNvCxnSpPr>
                          <a:cxnSpLocks/>
                          <a:stCxn id="31" idx="6"/>
                        </p:cNvCxnSpPr>
                        <p:nvPr/>
                      </p:nvCxnSpPr>
                      <p:spPr>
                        <a:xfrm flipV="1">
                          <a:off x="4180131" y="6548889"/>
                          <a:ext cx="2296706" cy="6131"/>
                        </a:xfrm>
                        <a:prstGeom prst="line">
                          <a:avLst/>
                        </a:prstGeom>
                        <a:ln w="152400" cap="rnd">
                          <a:solidFill>
                            <a:schemeClr val="tx1">
                              <a:lumMod val="20000"/>
                              <a:lumOff val="80000"/>
                            </a:schemeClr>
                          </a:solidFill>
                          <a:round/>
                          <a:tailEnd type="arrow" w="sm" len="sm"/>
                        </a:ln>
                      </p:spPr>
                      <p:style>
                        <a:lnRef idx="1">
                          <a:schemeClr val="accent1"/>
                        </a:lnRef>
                        <a:fillRef idx="0">
                          <a:schemeClr val="accent1"/>
                        </a:fillRef>
                        <a:effectRef idx="0">
                          <a:schemeClr val="accent1"/>
                        </a:effectRef>
                        <a:fontRef idx="minor">
                          <a:schemeClr val="tx1"/>
                        </a:fontRef>
                      </p:style>
                    </p:cxnSp>
                    <p:grpSp>
                      <p:nvGrpSpPr>
                        <p:cNvPr id="40" name="组合 39"/>
                        <p:cNvGrpSpPr/>
                        <p:nvPr/>
                      </p:nvGrpSpPr>
                      <p:grpSpPr>
                        <a:xfrm>
                          <a:off x="716150" y="2534275"/>
                          <a:ext cx="7429745" cy="3997337"/>
                          <a:chOff x="716150" y="2534275"/>
                          <a:chExt cx="7429745" cy="3997337"/>
                        </a:xfrm>
                      </p:grpSpPr>
                      <p:grpSp>
                        <p:nvGrpSpPr>
                          <p:cNvPr id="5" name="eb9ba11a-87f2-480a-92a1-33ab3fd45950"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p:cNvGrpSpPr>
                            <a:grpSpLocks noChangeAspect="1"/>
                          </p:cNvGrpSpPr>
                          <p:nvPr>
                            <p:custDataLst>
                              <p:tags r:id="rId1"/>
                            </p:custDataLst>
                          </p:nvPr>
                        </p:nvGrpSpPr>
                        <p:grpSpPr>
                          <a:xfrm>
                            <a:off x="716150" y="2534275"/>
                            <a:ext cx="7429745" cy="3997337"/>
                            <a:chOff x="716150" y="2534275"/>
                            <a:chExt cx="7429745" cy="3997337"/>
                          </a:xfrm>
                        </p:grpSpPr>
                        <p:grpSp>
                          <p:nvGrpSpPr>
                            <p:cNvPr id="6" name="í$ḻïḍe">
                              <a:extLst>
                                <a:ext uri="{FF2B5EF4-FFF2-40B4-BE49-F238E27FC236}">
                                  <a16:creationId xmlns:a16="http://schemas.microsoft.com/office/drawing/2014/main" id="{D2B43229-8AF3-4CB7-8AD6-0BC57495054A}"/>
                                </a:ext>
                              </a:extLst>
                            </p:cNvPr>
                            <p:cNvGrpSpPr/>
                            <p:nvPr/>
                          </p:nvGrpSpPr>
                          <p:grpSpPr>
                            <a:xfrm>
                              <a:off x="3732231" y="3007992"/>
                              <a:ext cx="2726604" cy="1458493"/>
                              <a:chOff x="669396" y="2397364"/>
                              <a:chExt cx="2726604" cy="1458493"/>
                            </a:xfrm>
                          </p:grpSpPr>
                          <p:sp>
                            <p:nvSpPr>
                              <p:cNvPr id="28" name="ïṥļíḑé">
                                <a:extLst>
                                  <a:ext uri="{FF2B5EF4-FFF2-40B4-BE49-F238E27FC236}">
                                    <a16:creationId xmlns:a16="http://schemas.microsoft.com/office/drawing/2014/main" id="{D3CEEF8B-96C4-416A-AED4-8116016B8025}"/>
                                  </a:ext>
                                </a:extLst>
                              </p:cNvPr>
                              <p:cNvSpPr txBox="1"/>
                              <p:nvPr/>
                            </p:nvSpPr>
                            <p:spPr>
                              <a:xfrm>
                                <a:off x="669396" y="3131963"/>
                                <a:ext cx="2726604" cy="723894"/>
                              </a:xfrm>
                              <a:prstGeom prst="rect">
                                <a:avLst/>
                              </a:prstGeom>
                              <a:noFill/>
                            </p:spPr>
                            <p:txBody>
                              <a:bodyPr wrap="square" lIns="90000" tIns="46800" rIns="90000" bIns="46800" rtlCol="0">
                                <a:normAutofit/>
                              </a:bodyPr>
                              <a:lstStyle/>
                              <a:p>
                                <a:pPr>
                                  <a:lnSpc>
                                    <a:spcPct val="120000"/>
                                  </a:lnSpc>
                                </a:pPr>
                                <a:endParaRPr lang="en-US" altLang="zh-CN" sz="900" dirty="0"/>
                              </a:p>
                            </p:txBody>
                          </p:sp>
                          <p:sp>
                            <p:nvSpPr>
                              <p:cNvPr id="29" name="iśḷiḍê">
                                <a:extLst>
                                  <a:ext uri="{FF2B5EF4-FFF2-40B4-BE49-F238E27FC236}">
                                    <a16:creationId xmlns:a16="http://schemas.microsoft.com/office/drawing/2014/main" id="{625C5F23-C6FE-4FED-A8A2-1922EFB1980B}"/>
                                  </a:ext>
                                </a:extLst>
                              </p:cNvPr>
                              <p:cNvSpPr txBox="1"/>
                              <p:nvPr/>
                            </p:nvSpPr>
                            <p:spPr>
                              <a:xfrm>
                                <a:off x="669396" y="2397364"/>
                                <a:ext cx="2726604" cy="768775"/>
                              </a:xfrm>
                              <a:prstGeom prst="rect">
                                <a:avLst/>
                              </a:prstGeom>
                              <a:noFill/>
                            </p:spPr>
                            <p:txBody>
                              <a:bodyPr wrap="square" rtlCol="0" anchor="b">
                                <a:normAutofit/>
                              </a:bodyPr>
                              <a:lstStyle/>
                              <a:p>
                                <a:pPr lvl="0" defTabSz="914378">
                                  <a:spcBef>
                                    <a:spcPct val="0"/>
                                  </a:spcBef>
                                  <a:defRPr/>
                                </a:pPr>
                                <a:r>
                                  <a:rPr lang="zh-CN" altLang="en-US" b="1" dirty="0" smtClean="0">
                                    <a:solidFill>
                                      <a:srgbClr val="FFC000"/>
                                    </a:solidFill>
                                    <a:latin typeface="+mn-ea"/>
                                  </a:rPr>
                                  <a:t>人工根据站位、</a:t>
                                </a:r>
                                <a:endParaRPr lang="en-US" altLang="zh-CN" b="1" dirty="0" smtClean="0">
                                  <a:solidFill>
                                    <a:srgbClr val="FFC000"/>
                                  </a:solidFill>
                                  <a:latin typeface="+mn-ea"/>
                                </a:endParaRPr>
                              </a:p>
                              <a:p>
                                <a:pPr lvl="0" defTabSz="914378">
                                  <a:spcBef>
                                    <a:spcPct val="0"/>
                                  </a:spcBef>
                                  <a:defRPr/>
                                </a:pPr>
                                <a:r>
                                  <a:rPr lang="zh-CN" altLang="en-US" b="1" dirty="0" smtClean="0">
                                    <a:solidFill>
                                      <a:srgbClr val="FFC000"/>
                                    </a:solidFill>
                                    <a:latin typeface="+mn-ea"/>
                                  </a:rPr>
                                  <a:t>站位表选择物料</a:t>
                                </a:r>
                                <a:endParaRPr lang="zh-CN" altLang="en-US" b="1" dirty="0">
                                  <a:solidFill>
                                    <a:srgbClr val="FFC000"/>
                                  </a:solidFill>
                                  <a:latin typeface="+mn-ea"/>
                                </a:endParaRPr>
                              </a:p>
                            </p:txBody>
                          </p:sp>
                        </p:grpSp>
                        <p:cxnSp>
                          <p:nvCxnSpPr>
                            <p:cNvPr id="7" name="直接连接符 6">
                              <a:extLst>
                                <a:ext uri="{FF2B5EF4-FFF2-40B4-BE49-F238E27FC236}">
                                  <a16:creationId xmlns:a16="http://schemas.microsoft.com/office/drawing/2014/main" id="{A5A1D8F8-8BBA-478A-A988-8BC1D2455B34}"/>
                                </a:ext>
                              </a:extLst>
                            </p:cNvPr>
                            <p:cNvCxnSpPr>
                              <a:cxnSpLocks/>
                            </p:cNvCxnSpPr>
                            <p:nvPr/>
                          </p:nvCxnSpPr>
                          <p:spPr>
                            <a:xfrm flipH="1">
                              <a:off x="6502854" y="4057633"/>
                              <a:ext cx="754422" cy="2473979"/>
                            </a:xfrm>
                            <a:prstGeom prst="line">
                              <a:avLst/>
                            </a:prstGeom>
                            <a:ln w="152400" cap="rnd">
                              <a:solidFill>
                                <a:schemeClr val="tx1">
                                  <a:lumMod val="20000"/>
                                  <a:lumOff val="80000"/>
                                </a:schemeClr>
                              </a:solidFill>
                              <a:round/>
                            </a:ln>
                          </p:spPr>
                          <p:style>
                            <a:lnRef idx="1">
                              <a:schemeClr val="accent1"/>
                            </a:lnRef>
                            <a:fillRef idx="0">
                              <a:schemeClr val="accent1"/>
                            </a:fillRef>
                            <a:effectRef idx="0">
                              <a:schemeClr val="accent1"/>
                            </a:effectRef>
                            <a:fontRef idx="minor">
                              <a:schemeClr val="tx1"/>
                            </a:fontRef>
                          </p:style>
                        </p:cxnSp>
                        <p:cxnSp>
                          <p:nvCxnSpPr>
                            <p:cNvPr id="9" name="直接连接符 8">
                              <a:extLst>
                                <a:ext uri="{FF2B5EF4-FFF2-40B4-BE49-F238E27FC236}">
                                  <a16:creationId xmlns:a16="http://schemas.microsoft.com/office/drawing/2014/main" id="{11A6D17D-FCC1-4761-8331-9593F4A7D812}"/>
                                </a:ext>
                              </a:extLst>
                            </p:cNvPr>
                            <p:cNvCxnSpPr>
                              <a:stCxn id="12" idx="6"/>
                              <a:endCxn id="13" idx="2"/>
                            </p:cNvCxnSpPr>
                            <p:nvPr/>
                          </p:nvCxnSpPr>
                          <p:spPr>
                            <a:xfrm>
                              <a:off x="1440050" y="4806207"/>
                              <a:ext cx="2466172" cy="1664"/>
                            </a:xfrm>
                            <a:prstGeom prst="line">
                              <a:avLst/>
                            </a:prstGeom>
                            <a:ln w="152400" cap="rnd">
                              <a:solidFill>
                                <a:schemeClr val="tx1">
                                  <a:lumMod val="20000"/>
                                  <a:lumOff val="80000"/>
                                </a:schemeClr>
                              </a:solidFill>
                              <a:round/>
                              <a:tailEnd type="arrow" w="sm" len="sm"/>
                            </a:ln>
                          </p:spPr>
                          <p:style>
                            <a:lnRef idx="1">
                              <a:schemeClr val="accent1"/>
                            </a:lnRef>
                            <a:fillRef idx="0">
                              <a:schemeClr val="accent1"/>
                            </a:fillRef>
                            <a:effectRef idx="0">
                              <a:schemeClr val="accent1"/>
                            </a:effectRef>
                            <a:fontRef idx="minor">
                              <a:schemeClr val="tx1"/>
                            </a:fontRef>
                          </p:style>
                        </p:cxnSp>
                        <p:cxnSp>
                          <p:nvCxnSpPr>
                            <p:cNvPr id="10" name="直接连接符 9">
                              <a:extLst>
                                <a:ext uri="{FF2B5EF4-FFF2-40B4-BE49-F238E27FC236}">
                                  <a16:creationId xmlns:a16="http://schemas.microsoft.com/office/drawing/2014/main" id="{1D65AEF2-392B-4502-8EB4-54BF09655759}"/>
                                </a:ext>
                              </a:extLst>
                            </p:cNvPr>
                            <p:cNvCxnSpPr>
                              <a:cxnSpLocks/>
                              <a:stCxn id="13" idx="6"/>
                            </p:cNvCxnSpPr>
                            <p:nvPr/>
                          </p:nvCxnSpPr>
                          <p:spPr>
                            <a:xfrm>
                              <a:off x="4630122" y="4807871"/>
                              <a:ext cx="2402179" cy="1804"/>
                            </a:xfrm>
                            <a:prstGeom prst="line">
                              <a:avLst/>
                            </a:prstGeom>
                            <a:ln w="152400" cap="rnd">
                              <a:solidFill>
                                <a:schemeClr val="tx1">
                                  <a:lumMod val="20000"/>
                                  <a:lumOff val="80000"/>
                                </a:schemeClr>
                              </a:solidFill>
                              <a:round/>
                              <a:tailEnd type="arrow" w="sm" len="sm"/>
                            </a:ln>
                          </p:spPr>
                          <p:style>
                            <a:lnRef idx="1">
                              <a:schemeClr val="accent1"/>
                            </a:lnRef>
                            <a:fillRef idx="0">
                              <a:schemeClr val="accent1"/>
                            </a:fillRef>
                            <a:effectRef idx="0">
                              <a:schemeClr val="accent1"/>
                            </a:effectRef>
                            <a:fontRef idx="minor">
                              <a:schemeClr val="tx1"/>
                            </a:fontRef>
                          </p:style>
                        </p:cxnSp>
                        <p:sp>
                          <p:nvSpPr>
                            <p:cNvPr id="12" name="î$líḑê">
                              <a:extLst>
                                <a:ext uri="{FF2B5EF4-FFF2-40B4-BE49-F238E27FC236}">
                                  <a16:creationId xmlns:a16="http://schemas.microsoft.com/office/drawing/2014/main" id="{192B4765-9F3F-4759-83F7-8FB6386A1E20}"/>
                                </a:ext>
                              </a:extLst>
                            </p:cNvPr>
                            <p:cNvSpPr/>
                            <p:nvPr/>
                          </p:nvSpPr>
                          <p:spPr>
                            <a:xfrm>
                              <a:off x="716150" y="4444260"/>
                              <a:ext cx="723900" cy="723894"/>
                            </a:xfrm>
                            <a:prstGeom prst="ellipse">
                              <a:avLst/>
                            </a:prstGeom>
                            <a:solidFill>
                              <a:schemeClr val="accent1"/>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anchor="ctr">
                              <a:normAutofit/>
                            </a:bodyPr>
                            <a:lstStyle>
                              <a:defPPr>
                                <a:defRPr lang="zh-CN"/>
                              </a:defPPr>
                              <a:lvl1pPr marL="0" algn="l" defTabSz="914377" rtl="0" eaLnBrk="1" latinLnBrk="0" hangingPunct="1">
                                <a:defRPr sz="1800" kern="1200">
                                  <a:solidFill>
                                    <a:schemeClr val="lt1"/>
                                  </a:solidFill>
                                </a:defRPr>
                              </a:lvl1pPr>
                              <a:lvl2pPr marL="457189" algn="l" defTabSz="914377" rtl="0" eaLnBrk="1" latinLnBrk="0" hangingPunct="1">
                                <a:defRPr sz="1800" kern="1200">
                                  <a:solidFill>
                                    <a:schemeClr val="lt1"/>
                                  </a:solidFill>
                                </a:defRPr>
                              </a:lvl2pPr>
                              <a:lvl3pPr marL="914377" algn="l" defTabSz="914377" rtl="0" eaLnBrk="1" latinLnBrk="0" hangingPunct="1">
                                <a:defRPr sz="1800" kern="1200">
                                  <a:solidFill>
                                    <a:schemeClr val="lt1"/>
                                  </a:solidFill>
                                </a:defRPr>
                              </a:lvl3pPr>
                              <a:lvl4pPr marL="1371566" algn="l" defTabSz="914377" rtl="0" eaLnBrk="1" latinLnBrk="0" hangingPunct="1">
                                <a:defRPr sz="1800" kern="1200">
                                  <a:solidFill>
                                    <a:schemeClr val="lt1"/>
                                  </a:solidFill>
                                </a:defRPr>
                              </a:lvl4pPr>
                              <a:lvl5pPr marL="1828754" algn="l" defTabSz="914377" rtl="0" eaLnBrk="1" latinLnBrk="0" hangingPunct="1">
                                <a:defRPr sz="1800" kern="1200">
                                  <a:solidFill>
                                    <a:schemeClr val="lt1"/>
                                  </a:solidFill>
                                </a:defRPr>
                              </a:lvl5pPr>
                              <a:lvl6pPr marL="2285943" algn="l" defTabSz="914377" rtl="0" eaLnBrk="1" latinLnBrk="0" hangingPunct="1">
                                <a:defRPr sz="1800" kern="1200">
                                  <a:solidFill>
                                    <a:schemeClr val="lt1"/>
                                  </a:solidFill>
                                </a:defRPr>
                              </a:lvl6pPr>
                              <a:lvl7pPr marL="2743131" algn="l" defTabSz="914377" rtl="0" eaLnBrk="1" latinLnBrk="0" hangingPunct="1">
                                <a:defRPr sz="1800" kern="1200">
                                  <a:solidFill>
                                    <a:schemeClr val="lt1"/>
                                  </a:solidFill>
                                </a:defRPr>
                              </a:lvl7pPr>
                              <a:lvl8pPr marL="3200320" algn="l" defTabSz="914377" rtl="0" eaLnBrk="1" latinLnBrk="0" hangingPunct="1">
                                <a:defRPr sz="1800" kern="1200">
                                  <a:solidFill>
                                    <a:schemeClr val="lt1"/>
                                  </a:solidFill>
                                </a:defRPr>
                              </a:lvl8pPr>
                              <a:lvl9pPr marL="3657509" algn="l" defTabSz="914377" rtl="0" eaLnBrk="1" latinLnBrk="0" hangingPunct="1">
                                <a:defRPr sz="1800" kern="1200">
                                  <a:solidFill>
                                    <a:schemeClr val="lt1"/>
                                  </a:solidFill>
                                </a:defRPr>
                              </a:lvl9pPr>
                            </a:lstStyle>
                            <a:p>
                              <a:pPr algn="ctr"/>
                              <a:r>
                                <a:rPr lang="zh-CN" altLang="en-US" dirty="0" smtClean="0">
                                  <a:latin typeface="Impact" panose="020B0806030902050204" pitchFamily="34" charset="0"/>
                                </a:rPr>
                                <a:t>站位</a:t>
                              </a:r>
                              <a:endParaRPr dirty="0">
                                <a:latin typeface="Impact" panose="020B0806030902050204" pitchFamily="34" charset="0"/>
                              </a:endParaRPr>
                            </a:p>
                          </p:txBody>
                        </p:sp>
                        <p:sp>
                          <p:nvSpPr>
                            <p:cNvPr id="13" name="îṩlíďê">
                              <a:extLst>
                                <a:ext uri="{FF2B5EF4-FFF2-40B4-BE49-F238E27FC236}">
                                  <a16:creationId xmlns:a16="http://schemas.microsoft.com/office/drawing/2014/main" id="{02FACDCD-811C-4398-BD9C-160DE312E8E2}"/>
                                </a:ext>
                              </a:extLst>
                            </p:cNvPr>
                            <p:cNvSpPr/>
                            <p:nvPr/>
                          </p:nvSpPr>
                          <p:spPr>
                            <a:xfrm>
                              <a:off x="3906222" y="4445924"/>
                              <a:ext cx="723900" cy="723894"/>
                            </a:xfrm>
                            <a:prstGeom prst="ellipse">
                              <a:avLst/>
                            </a:prstGeom>
                            <a:solidFill>
                              <a:srgbClr val="FFC000"/>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anchor="ctr">
                              <a:normAutofit/>
                            </a:bodyPr>
                            <a:lstStyle>
                              <a:defPPr>
                                <a:defRPr lang="zh-CN"/>
                              </a:defPPr>
                              <a:lvl1pPr marL="0" algn="l" defTabSz="914377" rtl="0" eaLnBrk="1" latinLnBrk="0" hangingPunct="1">
                                <a:defRPr sz="1800" kern="1200">
                                  <a:solidFill>
                                    <a:schemeClr val="lt1"/>
                                  </a:solidFill>
                                </a:defRPr>
                              </a:lvl1pPr>
                              <a:lvl2pPr marL="457189" algn="l" defTabSz="914377" rtl="0" eaLnBrk="1" latinLnBrk="0" hangingPunct="1">
                                <a:defRPr sz="1800" kern="1200">
                                  <a:solidFill>
                                    <a:schemeClr val="lt1"/>
                                  </a:solidFill>
                                </a:defRPr>
                              </a:lvl2pPr>
                              <a:lvl3pPr marL="914377" algn="l" defTabSz="914377" rtl="0" eaLnBrk="1" latinLnBrk="0" hangingPunct="1">
                                <a:defRPr sz="1800" kern="1200">
                                  <a:solidFill>
                                    <a:schemeClr val="lt1"/>
                                  </a:solidFill>
                                </a:defRPr>
                              </a:lvl3pPr>
                              <a:lvl4pPr marL="1371566" algn="l" defTabSz="914377" rtl="0" eaLnBrk="1" latinLnBrk="0" hangingPunct="1">
                                <a:defRPr sz="1800" kern="1200">
                                  <a:solidFill>
                                    <a:schemeClr val="lt1"/>
                                  </a:solidFill>
                                </a:defRPr>
                              </a:lvl4pPr>
                              <a:lvl5pPr marL="1828754" algn="l" defTabSz="914377" rtl="0" eaLnBrk="1" latinLnBrk="0" hangingPunct="1">
                                <a:defRPr sz="1800" kern="1200">
                                  <a:solidFill>
                                    <a:schemeClr val="lt1"/>
                                  </a:solidFill>
                                </a:defRPr>
                              </a:lvl5pPr>
                              <a:lvl6pPr marL="2285943" algn="l" defTabSz="914377" rtl="0" eaLnBrk="1" latinLnBrk="0" hangingPunct="1">
                                <a:defRPr sz="1800" kern="1200">
                                  <a:solidFill>
                                    <a:schemeClr val="lt1"/>
                                  </a:solidFill>
                                </a:defRPr>
                              </a:lvl6pPr>
                              <a:lvl7pPr marL="2743131" algn="l" defTabSz="914377" rtl="0" eaLnBrk="1" latinLnBrk="0" hangingPunct="1">
                                <a:defRPr sz="1800" kern="1200">
                                  <a:solidFill>
                                    <a:schemeClr val="lt1"/>
                                  </a:solidFill>
                                </a:defRPr>
                              </a:lvl7pPr>
                              <a:lvl8pPr marL="3200320" algn="l" defTabSz="914377" rtl="0" eaLnBrk="1" latinLnBrk="0" hangingPunct="1">
                                <a:defRPr sz="1800" kern="1200">
                                  <a:solidFill>
                                    <a:schemeClr val="lt1"/>
                                  </a:solidFill>
                                </a:defRPr>
                              </a:lvl8pPr>
                              <a:lvl9pPr marL="3657509" algn="l" defTabSz="914377" rtl="0" eaLnBrk="1" latinLnBrk="0" hangingPunct="1">
                                <a:defRPr sz="1800" kern="1200">
                                  <a:solidFill>
                                    <a:schemeClr val="lt1"/>
                                  </a:solidFill>
                                </a:defRPr>
                              </a:lvl9pPr>
                            </a:lstStyle>
                            <a:p>
                              <a:pPr algn="ctr"/>
                              <a:r>
                                <a:rPr lang="zh-CN" altLang="en-US" dirty="0" smtClean="0">
                                  <a:latin typeface="Impact" panose="020B0806030902050204" pitchFamily="34" charset="0"/>
                                </a:rPr>
                                <a:t>选料</a:t>
                              </a:r>
                              <a:endParaRPr dirty="0">
                                <a:latin typeface="Impact" panose="020B0806030902050204" pitchFamily="34" charset="0"/>
                              </a:endParaRPr>
                            </a:p>
                          </p:txBody>
                        </p:sp>
                        <p:sp>
                          <p:nvSpPr>
                            <p:cNvPr id="15" name="i$ļïdê">
                              <a:extLst>
                                <a:ext uri="{FF2B5EF4-FFF2-40B4-BE49-F238E27FC236}">
                                  <a16:creationId xmlns:a16="http://schemas.microsoft.com/office/drawing/2014/main" id="{89EDFFFD-99F9-44E3-A25B-751C26ACA19B}"/>
                                </a:ext>
                              </a:extLst>
                            </p:cNvPr>
                            <p:cNvSpPr/>
                            <p:nvPr/>
                          </p:nvSpPr>
                          <p:spPr>
                            <a:xfrm>
                              <a:off x="7144198" y="3494071"/>
                              <a:ext cx="723900" cy="723894"/>
                            </a:xfrm>
                            <a:prstGeom prst="ellipse">
                              <a:avLst/>
                            </a:prstGeom>
                            <a:solidFill>
                              <a:schemeClr val="accent3"/>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anchor="ctr">
                              <a:normAutofit/>
                            </a:bodyPr>
                            <a:lstStyle>
                              <a:defPPr>
                                <a:defRPr lang="zh-CN"/>
                              </a:defPPr>
                              <a:lvl1pPr marL="0" algn="l" defTabSz="914377" rtl="0" eaLnBrk="1" latinLnBrk="0" hangingPunct="1">
                                <a:defRPr sz="1800" kern="1200">
                                  <a:solidFill>
                                    <a:schemeClr val="lt1"/>
                                  </a:solidFill>
                                </a:defRPr>
                              </a:lvl1pPr>
                              <a:lvl2pPr marL="457189" algn="l" defTabSz="914377" rtl="0" eaLnBrk="1" latinLnBrk="0" hangingPunct="1">
                                <a:defRPr sz="1800" kern="1200">
                                  <a:solidFill>
                                    <a:schemeClr val="lt1"/>
                                  </a:solidFill>
                                </a:defRPr>
                              </a:lvl2pPr>
                              <a:lvl3pPr marL="914377" algn="l" defTabSz="914377" rtl="0" eaLnBrk="1" latinLnBrk="0" hangingPunct="1">
                                <a:defRPr sz="1800" kern="1200">
                                  <a:solidFill>
                                    <a:schemeClr val="lt1"/>
                                  </a:solidFill>
                                </a:defRPr>
                              </a:lvl3pPr>
                              <a:lvl4pPr marL="1371566" algn="l" defTabSz="914377" rtl="0" eaLnBrk="1" latinLnBrk="0" hangingPunct="1">
                                <a:defRPr sz="1800" kern="1200">
                                  <a:solidFill>
                                    <a:schemeClr val="lt1"/>
                                  </a:solidFill>
                                </a:defRPr>
                              </a:lvl4pPr>
                              <a:lvl5pPr marL="1828754" algn="l" defTabSz="914377" rtl="0" eaLnBrk="1" latinLnBrk="0" hangingPunct="1">
                                <a:defRPr sz="1800" kern="1200">
                                  <a:solidFill>
                                    <a:schemeClr val="lt1"/>
                                  </a:solidFill>
                                </a:defRPr>
                              </a:lvl5pPr>
                              <a:lvl6pPr marL="2285943" algn="l" defTabSz="914377" rtl="0" eaLnBrk="1" latinLnBrk="0" hangingPunct="1">
                                <a:defRPr sz="1800" kern="1200">
                                  <a:solidFill>
                                    <a:schemeClr val="lt1"/>
                                  </a:solidFill>
                                </a:defRPr>
                              </a:lvl6pPr>
                              <a:lvl7pPr marL="2743131" algn="l" defTabSz="914377" rtl="0" eaLnBrk="1" latinLnBrk="0" hangingPunct="1">
                                <a:defRPr sz="1800" kern="1200">
                                  <a:solidFill>
                                    <a:schemeClr val="lt1"/>
                                  </a:solidFill>
                                </a:defRPr>
                              </a:lvl7pPr>
                              <a:lvl8pPr marL="3200320" algn="l" defTabSz="914377" rtl="0" eaLnBrk="1" latinLnBrk="0" hangingPunct="1">
                                <a:defRPr sz="1800" kern="1200">
                                  <a:solidFill>
                                    <a:schemeClr val="lt1"/>
                                  </a:solidFill>
                                </a:defRPr>
                              </a:lvl8pPr>
                              <a:lvl9pPr marL="3657509" algn="l" defTabSz="914377" rtl="0" eaLnBrk="1" latinLnBrk="0" hangingPunct="1">
                                <a:defRPr sz="1800" kern="1200">
                                  <a:solidFill>
                                    <a:schemeClr val="lt1"/>
                                  </a:solidFill>
                                </a:defRPr>
                              </a:lvl9pPr>
                            </a:lstStyle>
                            <a:p>
                              <a:pPr algn="ctr"/>
                              <a:r>
                                <a:rPr lang="zh-CN" altLang="en-US" dirty="0" smtClean="0">
                                  <a:latin typeface="Impact" panose="020B0806030902050204" pitchFamily="34" charset="0"/>
                                </a:rPr>
                                <a:t>上料</a:t>
                              </a:r>
                              <a:endParaRPr dirty="0">
                                <a:latin typeface="Impact" panose="020B0806030902050204" pitchFamily="34" charset="0"/>
                              </a:endParaRPr>
                            </a:p>
                          </p:txBody>
                        </p:sp>
                        <p:sp>
                          <p:nvSpPr>
                            <p:cNvPr id="26" name="îśľíḑê">
                              <a:extLst>
                                <a:ext uri="{FF2B5EF4-FFF2-40B4-BE49-F238E27FC236}">
                                  <a16:creationId xmlns:a16="http://schemas.microsoft.com/office/drawing/2014/main" id="{8A71189F-8904-4951-B4FC-381094B54451}"/>
                                </a:ext>
                              </a:extLst>
                            </p:cNvPr>
                            <p:cNvSpPr txBox="1"/>
                            <p:nvPr/>
                          </p:nvSpPr>
                          <p:spPr>
                            <a:xfrm>
                              <a:off x="716150" y="3654404"/>
                              <a:ext cx="2726604" cy="403229"/>
                            </a:xfrm>
                            <a:prstGeom prst="rect">
                              <a:avLst/>
                            </a:prstGeom>
                            <a:noFill/>
                          </p:spPr>
                          <p:txBody>
                            <a:bodyPr wrap="square" rtlCol="0" anchor="b">
                              <a:normAutofit/>
                            </a:bodyPr>
                            <a:lstStyle/>
                            <a:p>
                              <a:pPr lvl="0" defTabSz="914378">
                                <a:spcBef>
                                  <a:spcPct val="0"/>
                                </a:spcBef>
                                <a:defRPr/>
                              </a:pPr>
                              <a:r>
                                <a:rPr lang="zh-CN" altLang="en-US" b="1" dirty="0" smtClean="0">
                                  <a:solidFill>
                                    <a:schemeClr val="accent1"/>
                                  </a:solidFill>
                                </a:rPr>
                                <a:t>人工查看站位</a:t>
                              </a:r>
                              <a:endParaRPr lang="zh-CN" altLang="en-US" b="1" dirty="0">
                                <a:solidFill>
                                  <a:schemeClr val="accent1"/>
                                </a:solidFill>
                              </a:endParaRPr>
                            </a:p>
                          </p:txBody>
                        </p:sp>
                        <p:sp>
                          <p:nvSpPr>
                            <p:cNvPr id="23" name="iṧ1íḋé">
                              <a:extLst>
                                <a:ext uri="{FF2B5EF4-FFF2-40B4-BE49-F238E27FC236}">
                                  <a16:creationId xmlns:a16="http://schemas.microsoft.com/office/drawing/2014/main" id="{F53B91B8-097D-4F46-8705-4AA9356BFCD5}"/>
                                </a:ext>
                              </a:extLst>
                            </p:cNvPr>
                            <p:cNvSpPr txBox="1"/>
                            <p:nvPr/>
                          </p:nvSpPr>
                          <p:spPr>
                            <a:xfrm>
                              <a:off x="6819832" y="2534275"/>
                              <a:ext cx="1326063" cy="372966"/>
                            </a:xfrm>
                            <a:prstGeom prst="rect">
                              <a:avLst/>
                            </a:prstGeom>
                            <a:noFill/>
                          </p:spPr>
                          <p:txBody>
                            <a:bodyPr wrap="square" rtlCol="0" anchor="b">
                              <a:normAutofit/>
                            </a:bodyPr>
                            <a:lstStyle/>
                            <a:p>
                              <a:pPr lvl="0" defTabSz="914378">
                                <a:spcBef>
                                  <a:spcPct val="0"/>
                                </a:spcBef>
                                <a:defRPr/>
                              </a:pPr>
                              <a:r>
                                <a:rPr lang="zh-CN" altLang="en-US" b="1" dirty="0" smtClean="0">
                                  <a:solidFill>
                                    <a:schemeClr val="tx1">
                                      <a:lumMod val="75000"/>
                                      <a:lumOff val="25000"/>
                                    </a:schemeClr>
                                  </a:solidFill>
                                </a:rPr>
                                <a:t>上料贴片机</a:t>
                              </a:r>
                              <a:endParaRPr lang="zh-CN" altLang="en-US" b="1" dirty="0">
                                <a:solidFill>
                                  <a:schemeClr val="tx1">
                                    <a:lumMod val="75000"/>
                                    <a:lumOff val="25000"/>
                                  </a:schemeClr>
                                </a:solidFill>
                              </a:endParaRPr>
                            </a:p>
                          </p:txBody>
                        </p:sp>
                      </p:grpSp>
                      <p:sp>
                        <p:nvSpPr>
                          <p:cNvPr id="33" name="矩形 32"/>
                          <p:cNvSpPr/>
                          <p:nvPr/>
                        </p:nvSpPr>
                        <p:spPr>
                          <a:xfrm>
                            <a:off x="3732231" y="3794044"/>
                            <a:ext cx="2838501" cy="738664"/>
                          </a:xfrm>
                          <a:prstGeom prst="rect">
                            <a:avLst/>
                          </a:prstGeom>
                        </p:spPr>
                        <p:txBody>
                          <a:bodyPr wrap="square">
                            <a:spAutoFit/>
                          </a:bodyPr>
                          <a:lstStyle/>
                          <a:p>
                            <a:pPr marL="171450" indent="-171450">
                              <a:buFont typeface="Arial" panose="020B0604020202020204" pitchFamily="34" charset="0"/>
                              <a:buChar char="•"/>
                            </a:pPr>
                            <a:r>
                              <a:rPr lang="zh-CN" altLang="en-US" sz="1400" dirty="0"/>
                              <a:t>人员对比效率低</a:t>
                            </a:r>
                          </a:p>
                          <a:p>
                            <a:pPr marL="171450" indent="-171450">
                              <a:buFont typeface="Arial" panose="020B0604020202020204" pitchFamily="34" charset="0"/>
                              <a:buChar char="•"/>
                            </a:pPr>
                            <a:r>
                              <a:rPr lang="zh-CN" altLang="en-US" sz="1400" dirty="0"/>
                              <a:t>料号的相似度高容易导致对比结果出错</a:t>
                            </a:r>
                          </a:p>
                        </p:txBody>
                      </p:sp>
                    </p:grpSp>
                    <p:sp>
                      <p:nvSpPr>
                        <p:cNvPr id="31" name="îṩlíďê">
                          <a:extLst>
                            <a:ext uri="{FF2B5EF4-FFF2-40B4-BE49-F238E27FC236}">
                              <a16:creationId xmlns:a16="http://schemas.microsoft.com/office/drawing/2014/main" id="{02FACDCD-811C-4398-BD9C-160DE312E8E2}"/>
                            </a:ext>
                          </a:extLst>
                        </p:cNvPr>
                        <p:cNvSpPr/>
                        <p:nvPr/>
                      </p:nvSpPr>
                      <p:spPr>
                        <a:xfrm>
                          <a:off x="3456231" y="6193073"/>
                          <a:ext cx="723900" cy="723894"/>
                        </a:xfrm>
                        <a:prstGeom prst="ellipse">
                          <a:avLst/>
                        </a:prstGeom>
                        <a:solidFill>
                          <a:srgbClr val="00B0F0"/>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anchor="ctr">
                          <a:normAutofit/>
                        </a:bodyPr>
                        <a:lstStyle>
                          <a:defPPr>
                            <a:defRPr lang="zh-CN"/>
                          </a:defPPr>
                          <a:lvl1pPr marL="0" algn="l" defTabSz="914377" rtl="0" eaLnBrk="1" latinLnBrk="0" hangingPunct="1">
                            <a:defRPr sz="1800" kern="1200">
                              <a:solidFill>
                                <a:schemeClr val="lt1"/>
                              </a:solidFill>
                            </a:defRPr>
                          </a:lvl1pPr>
                          <a:lvl2pPr marL="457189" algn="l" defTabSz="914377" rtl="0" eaLnBrk="1" latinLnBrk="0" hangingPunct="1">
                            <a:defRPr sz="1800" kern="1200">
                              <a:solidFill>
                                <a:schemeClr val="lt1"/>
                              </a:solidFill>
                            </a:defRPr>
                          </a:lvl2pPr>
                          <a:lvl3pPr marL="914377" algn="l" defTabSz="914377" rtl="0" eaLnBrk="1" latinLnBrk="0" hangingPunct="1">
                            <a:defRPr sz="1800" kern="1200">
                              <a:solidFill>
                                <a:schemeClr val="lt1"/>
                              </a:solidFill>
                            </a:defRPr>
                          </a:lvl3pPr>
                          <a:lvl4pPr marL="1371566" algn="l" defTabSz="914377" rtl="0" eaLnBrk="1" latinLnBrk="0" hangingPunct="1">
                            <a:defRPr sz="1800" kern="1200">
                              <a:solidFill>
                                <a:schemeClr val="lt1"/>
                              </a:solidFill>
                            </a:defRPr>
                          </a:lvl4pPr>
                          <a:lvl5pPr marL="1828754" algn="l" defTabSz="914377" rtl="0" eaLnBrk="1" latinLnBrk="0" hangingPunct="1">
                            <a:defRPr sz="1800" kern="1200">
                              <a:solidFill>
                                <a:schemeClr val="lt1"/>
                              </a:solidFill>
                            </a:defRPr>
                          </a:lvl5pPr>
                          <a:lvl6pPr marL="2285943" algn="l" defTabSz="914377" rtl="0" eaLnBrk="1" latinLnBrk="0" hangingPunct="1">
                            <a:defRPr sz="1800" kern="1200">
                              <a:solidFill>
                                <a:schemeClr val="lt1"/>
                              </a:solidFill>
                            </a:defRPr>
                          </a:lvl6pPr>
                          <a:lvl7pPr marL="2743131" algn="l" defTabSz="914377" rtl="0" eaLnBrk="1" latinLnBrk="0" hangingPunct="1">
                            <a:defRPr sz="1800" kern="1200">
                              <a:solidFill>
                                <a:schemeClr val="lt1"/>
                              </a:solidFill>
                            </a:defRPr>
                          </a:lvl7pPr>
                          <a:lvl8pPr marL="3200320" algn="l" defTabSz="914377" rtl="0" eaLnBrk="1" latinLnBrk="0" hangingPunct="1">
                            <a:defRPr sz="1800" kern="1200">
                              <a:solidFill>
                                <a:schemeClr val="lt1"/>
                              </a:solidFill>
                            </a:defRPr>
                          </a:lvl8pPr>
                          <a:lvl9pPr marL="3657509" algn="l" defTabSz="914377" rtl="0" eaLnBrk="1" latinLnBrk="0" hangingPunct="1">
                            <a:defRPr sz="1800" kern="1200">
                              <a:solidFill>
                                <a:schemeClr val="lt1"/>
                              </a:solidFill>
                            </a:defRPr>
                          </a:lvl9pPr>
                        </a:lstStyle>
                        <a:p>
                          <a:pPr algn="ctr"/>
                          <a:r>
                            <a:rPr lang="zh-CN" altLang="en-US" dirty="0" smtClean="0">
                              <a:latin typeface="Impact" panose="020B0806030902050204" pitchFamily="34" charset="0"/>
                            </a:rPr>
                            <a:t>选料</a:t>
                          </a:r>
                          <a:endParaRPr dirty="0">
                            <a:latin typeface="Impact" panose="020B0806030902050204" pitchFamily="34" charset="0"/>
                          </a:endParaRPr>
                        </a:p>
                      </p:txBody>
                    </p:sp>
                  </p:grpSp>
                  <p:sp>
                    <p:nvSpPr>
                      <p:cNvPr id="39" name="x-mark_1766"/>
                      <p:cNvSpPr>
                        <a:spLocks noChangeAspect="1"/>
                      </p:cNvSpPr>
                      <p:nvPr/>
                    </p:nvSpPr>
                    <p:spPr bwMode="auto">
                      <a:xfrm>
                        <a:off x="5203588" y="4549985"/>
                        <a:ext cx="609685" cy="608636"/>
                      </a:xfrm>
                      <a:custGeom>
                        <a:avLst/>
                        <a:gdLst>
                          <a:gd name="T0" fmla="*/ 373 w 373"/>
                          <a:gd name="T1" fmla="*/ 299 h 373"/>
                          <a:gd name="T2" fmla="*/ 261 w 373"/>
                          <a:gd name="T3" fmla="*/ 187 h 373"/>
                          <a:gd name="T4" fmla="*/ 373 w 373"/>
                          <a:gd name="T5" fmla="*/ 75 h 373"/>
                          <a:gd name="T6" fmla="*/ 299 w 373"/>
                          <a:gd name="T7" fmla="*/ 0 h 373"/>
                          <a:gd name="T8" fmla="*/ 187 w 373"/>
                          <a:gd name="T9" fmla="*/ 112 h 373"/>
                          <a:gd name="T10" fmla="*/ 75 w 373"/>
                          <a:gd name="T11" fmla="*/ 0 h 373"/>
                          <a:gd name="T12" fmla="*/ 0 w 373"/>
                          <a:gd name="T13" fmla="*/ 75 h 373"/>
                          <a:gd name="T14" fmla="*/ 112 w 373"/>
                          <a:gd name="T15" fmla="*/ 187 h 373"/>
                          <a:gd name="T16" fmla="*/ 0 w 373"/>
                          <a:gd name="T17" fmla="*/ 299 h 373"/>
                          <a:gd name="T18" fmla="*/ 75 w 373"/>
                          <a:gd name="T19" fmla="*/ 373 h 373"/>
                          <a:gd name="T20" fmla="*/ 187 w 373"/>
                          <a:gd name="T21" fmla="*/ 261 h 373"/>
                          <a:gd name="T22" fmla="*/ 299 w 373"/>
                          <a:gd name="T23" fmla="*/ 373 h 373"/>
                          <a:gd name="T24" fmla="*/ 373 w 373"/>
                          <a:gd name="T25" fmla="*/ 299 h 3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73" h="373">
                            <a:moveTo>
                              <a:pt x="373" y="299"/>
                            </a:moveTo>
                            <a:lnTo>
                              <a:pt x="261" y="187"/>
                            </a:lnTo>
                            <a:lnTo>
                              <a:pt x="373" y="75"/>
                            </a:lnTo>
                            <a:lnTo>
                              <a:pt x="299" y="0"/>
                            </a:lnTo>
                            <a:lnTo>
                              <a:pt x="187" y="112"/>
                            </a:lnTo>
                            <a:lnTo>
                              <a:pt x="75" y="0"/>
                            </a:lnTo>
                            <a:lnTo>
                              <a:pt x="0" y="75"/>
                            </a:lnTo>
                            <a:lnTo>
                              <a:pt x="112" y="187"/>
                            </a:lnTo>
                            <a:lnTo>
                              <a:pt x="0" y="299"/>
                            </a:lnTo>
                            <a:lnTo>
                              <a:pt x="75" y="373"/>
                            </a:lnTo>
                            <a:lnTo>
                              <a:pt x="187" y="261"/>
                            </a:lnTo>
                            <a:lnTo>
                              <a:pt x="299" y="373"/>
                            </a:lnTo>
                            <a:lnTo>
                              <a:pt x="373" y="299"/>
                            </a:lnTo>
                            <a:close/>
                          </a:path>
                        </a:pathLst>
                      </a:custGeom>
                      <a:solidFill>
                        <a:srgbClr val="FF0000"/>
                      </a:solidFill>
                      <a:ln>
                        <a:noFill/>
                      </a:ln>
                    </p:spPr>
                  </p:sp>
                </p:grpSp>
                <p:sp>
                  <p:nvSpPr>
                    <p:cNvPr id="45" name="î$líḑê">
                      <a:extLst>
                        <a:ext uri="{FF2B5EF4-FFF2-40B4-BE49-F238E27FC236}">
                          <a16:creationId xmlns:a16="http://schemas.microsoft.com/office/drawing/2014/main" id="{192B4765-9F3F-4759-83F7-8FB6386A1E20}"/>
                        </a:ext>
                      </a:extLst>
                    </p:cNvPr>
                    <p:cNvSpPr/>
                    <p:nvPr/>
                  </p:nvSpPr>
                  <p:spPr>
                    <a:xfrm>
                      <a:off x="213586" y="5492856"/>
                      <a:ext cx="723900" cy="723894"/>
                    </a:xfrm>
                    <a:prstGeom prst="ellipse">
                      <a:avLst/>
                    </a:prstGeom>
                    <a:solidFill>
                      <a:srgbClr val="00B0F0"/>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anchor="ctr">
                      <a:normAutofit/>
                    </a:bodyPr>
                    <a:lstStyle>
                      <a:defPPr>
                        <a:defRPr lang="zh-CN"/>
                      </a:defPPr>
                      <a:lvl1pPr marL="0" algn="l" defTabSz="914377" rtl="0" eaLnBrk="1" latinLnBrk="0" hangingPunct="1">
                        <a:defRPr sz="1800" kern="1200">
                          <a:solidFill>
                            <a:schemeClr val="lt1"/>
                          </a:solidFill>
                        </a:defRPr>
                      </a:lvl1pPr>
                      <a:lvl2pPr marL="457189" algn="l" defTabSz="914377" rtl="0" eaLnBrk="1" latinLnBrk="0" hangingPunct="1">
                        <a:defRPr sz="1800" kern="1200">
                          <a:solidFill>
                            <a:schemeClr val="lt1"/>
                          </a:solidFill>
                        </a:defRPr>
                      </a:lvl2pPr>
                      <a:lvl3pPr marL="914377" algn="l" defTabSz="914377" rtl="0" eaLnBrk="1" latinLnBrk="0" hangingPunct="1">
                        <a:defRPr sz="1800" kern="1200">
                          <a:solidFill>
                            <a:schemeClr val="lt1"/>
                          </a:solidFill>
                        </a:defRPr>
                      </a:lvl3pPr>
                      <a:lvl4pPr marL="1371566" algn="l" defTabSz="914377" rtl="0" eaLnBrk="1" latinLnBrk="0" hangingPunct="1">
                        <a:defRPr sz="1800" kern="1200">
                          <a:solidFill>
                            <a:schemeClr val="lt1"/>
                          </a:solidFill>
                        </a:defRPr>
                      </a:lvl4pPr>
                      <a:lvl5pPr marL="1828754" algn="l" defTabSz="914377" rtl="0" eaLnBrk="1" latinLnBrk="0" hangingPunct="1">
                        <a:defRPr sz="1800" kern="1200">
                          <a:solidFill>
                            <a:schemeClr val="lt1"/>
                          </a:solidFill>
                        </a:defRPr>
                      </a:lvl5pPr>
                      <a:lvl6pPr marL="2285943" algn="l" defTabSz="914377" rtl="0" eaLnBrk="1" latinLnBrk="0" hangingPunct="1">
                        <a:defRPr sz="1800" kern="1200">
                          <a:solidFill>
                            <a:schemeClr val="lt1"/>
                          </a:solidFill>
                        </a:defRPr>
                      </a:lvl6pPr>
                      <a:lvl7pPr marL="2743131" algn="l" defTabSz="914377" rtl="0" eaLnBrk="1" latinLnBrk="0" hangingPunct="1">
                        <a:defRPr sz="1800" kern="1200">
                          <a:solidFill>
                            <a:schemeClr val="lt1"/>
                          </a:solidFill>
                        </a:defRPr>
                      </a:lvl7pPr>
                      <a:lvl8pPr marL="3200320" algn="l" defTabSz="914377" rtl="0" eaLnBrk="1" latinLnBrk="0" hangingPunct="1">
                        <a:defRPr sz="1800" kern="1200">
                          <a:solidFill>
                            <a:schemeClr val="lt1"/>
                          </a:solidFill>
                        </a:defRPr>
                      </a:lvl8pPr>
                      <a:lvl9pPr marL="3657509" algn="l" defTabSz="914377" rtl="0" eaLnBrk="1" latinLnBrk="0" hangingPunct="1">
                        <a:defRPr sz="1800" kern="1200">
                          <a:solidFill>
                            <a:schemeClr val="lt1"/>
                          </a:solidFill>
                        </a:defRPr>
                      </a:lvl9pPr>
                    </a:lstStyle>
                    <a:p>
                      <a:pPr algn="ctr"/>
                      <a:r>
                        <a:rPr lang="zh-CN" altLang="en-US" dirty="0" smtClean="0">
                          <a:latin typeface="Impact" panose="020B0806030902050204" pitchFamily="34" charset="0"/>
                        </a:rPr>
                        <a:t>站位</a:t>
                      </a:r>
                      <a:endParaRPr dirty="0">
                        <a:latin typeface="Impact" panose="020B0806030902050204" pitchFamily="34" charset="0"/>
                      </a:endParaRPr>
                    </a:p>
                  </p:txBody>
                </p:sp>
                <p:sp>
                  <p:nvSpPr>
                    <p:cNvPr id="53" name="îśľíḑê">
                      <a:extLst>
                        <a:ext uri="{FF2B5EF4-FFF2-40B4-BE49-F238E27FC236}">
                          <a16:creationId xmlns:a16="http://schemas.microsoft.com/office/drawing/2014/main" id="{8A71189F-8904-4951-B4FC-381094B54451}"/>
                        </a:ext>
                      </a:extLst>
                    </p:cNvPr>
                    <p:cNvSpPr txBox="1"/>
                    <p:nvPr/>
                  </p:nvSpPr>
                  <p:spPr>
                    <a:xfrm>
                      <a:off x="213586" y="4551660"/>
                      <a:ext cx="2726604" cy="403229"/>
                    </a:xfrm>
                    <a:prstGeom prst="rect">
                      <a:avLst/>
                    </a:prstGeom>
                    <a:noFill/>
                  </p:spPr>
                  <p:txBody>
                    <a:bodyPr wrap="square" rtlCol="0" anchor="b">
                      <a:normAutofit/>
                    </a:bodyPr>
                    <a:lstStyle/>
                    <a:p>
                      <a:pPr lvl="0" defTabSz="914378">
                        <a:spcBef>
                          <a:spcPct val="0"/>
                        </a:spcBef>
                        <a:defRPr/>
                      </a:pPr>
                      <a:r>
                        <a:rPr lang="en-US" altLang="zh-CN" b="1" dirty="0" smtClean="0">
                          <a:solidFill>
                            <a:srgbClr val="00B0F0"/>
                          </a:solidFill>
                        </a:rPr>
                        <a:t>APP</a:t>
                      </a:r>
                      <a:r>
                        <a:rPr lang="zh-CN" altLang="en-US" b="1" dirty="0" smtClean="0">
                          <a:solidFill>
                            <a:srgbClr val="00B0F0"/>
                          </a:solidFill>
                        </a:rPr>
                        <a:t>扫描站位</a:t>
                      </a:r>
                      <a:endParaRPr lang="zh-CN" altLang="en-US" b="1" dirty="0">
                        <a:solidFill>
                          <a:srgbClr val="00B0F0"/>
                        </a:solidFill>
                      </a:endParaRPr>
                    </a:p>
                  </p:txBody>
                </p:sp>
                <p:sp>
                  <p:nvSpPr>
                    <p:cNvPr id="54" name="矩形 53"/>
                    <p:cNvSpPr/>
                    <p:nvPr/>
                  </p:nvSpPr>
                  <p:spPr>
                    <a:xfrm>
                      <a:off x="173880" y="4940074"/>
                      <a:ext cx="2838501" cy="307777"/>
                    </a:xfrm>
                    <a:prstGeom prst="rect">
                      <a:avLst/>
                    </a:prstGeom>
                  </p:spPr>
                  <p:txBody>
                    <a:bodyPr wrap="square">
                      <a:spAutoFit/>
                    </a:bodyPr>
                    <a:lstStyle/>
                    <a:p>
                      <a:pPr marL="171450" indent="-171450">
                        <a:buFont typeface="Arial" panose="020B0604020202020204" pitchFamily="34" charset="0"/>
                        <a:buChar char="•"/>
                      </a:pPr>
                      <a:r>
                        <a:rPr lang="zh-CN" altLang="en-US" sz="1400" dirty="0" smtClean="0"/>
                        <a:t>不会看偏</a:t>
                      </a:r>
                      <a:endParaRPr lang="en-US" altLang="zh-CN" sz="1400" dirty="0"/>
                    </a:p>
                  </p:txBody>
                </p:sp>
              </p:grpSp>
              <p:sp>
                <p:nvSpPr>
                  <p:cNvPr id="55" name="iśḷiḍê">
                    <a:extLst>
                      <a:ext uri="{FF2B5EF4-FFF2-40B4-BE49-F238E27FC236}">
                        <a16:creationId xmlns:a16="http://schemas.microsoft.com/office/drawing/2014/main" id="{625C5F23-C6FE-4FED-A8A2-1922EFB1980B}"/>
                      </a:ext>
                    </a:extLst>
                  </p:cNvPr>
                  <p:cNvSpPr txBox="1"/>
                  <p:nvPr/>
                </p:nvSpPr>
                <p:spPr>
                  <a:xfrm>
                    <a:off x="3270217" y="4580187"/>
                    <a:ext cx="1568379" cy="368488"/>
                  </a:xfrm>
                  <a:prstGeom prst="rect">
                    <a:avLst/>
                  </a:prstGeom>
                  <a:noFill/>
                </p:spPr>
                <p:txBody>
                  <a:bodyPr wrap="square" rtlCol="0" anchor="b">
                    <a:normAutofit/>
                  </a:bodyPr>
                  <a:lstStyle/>
                  <a:p>
                    <a:pPr lvl="0" defTabSz="914378">
                      <a:spcBef>
                        <a:spcPct val="0"/>
                      </a:spcBef>
                      <a:defRPr/>
                    </a:pPr>
                    <a:r>
                      <a:rPr lang="en-US" altLang="zh-CN" b="1" dirty="0" smtClean="0">
                        <a:solidFill>
                          <a:srgbClr val="00B0F0"/>
                        </a:solidFill>
                      </a:rPr>
                      <a:t>APP</a:t>
                    </a:r>
                    <a:r>
                      <a:rPr lang="zh-CN" altLang="en-US" b="1" dirty="0" smtClean="0">
                        <a:solidFill>
                          <a:srgbClr val="00B0F0"/>
                        </a:solidFill>
                      </a:rPr>
                      <a:t>扫描物料</a:t>
                    </a:r>
                    <a:endParaRPr lang="zh-CN" altLang="en-US" b="1" dirty="0">
                      <a:solidFill>
                        <a:srgbClr val="00B0F0"/>
                      </a:solidFill>
                    </a:endParaRPr>
                  </a:p>
                </p:txBody>
              </p:sp>
              <p:sp>
                <p:nvSpPr>
                  <p:cNvPr id="56" name="矩形 55"/>
                  <p:cNvSpPr/>
                  <p:nvPr/>
                </p:nvSpPr>
                <p:spPr>
                  <a:xfrm>
                    <a:off x="3309921" y="4933627"/>
                    <a:ext cx="2838501" cy="523220"/>
                  </a:xfrm>
                  <a:prstGeom prst="rect">
                    <a:avLst/>
                  </a:prstGeom>
                </p:spPr>
                <p:txBody>
                  <a:bodyPr wrap="square">
                    <a:spAutoFit/>
                  </a:bodyPr>
                  <a:lstStyle/>
                  <a:p>
                    <a:pPr marL="285750" lvl="0" indent="-285750">
                      <a:buFont typeface="Arial" panose="020B0604020202020204" pitchFamily="34" charset="0"/>
                      <a:buChar char="•"/>
                    </a:pPr>
                    <a:r>
                      <a:rPr lang="zh-CN" altLang="en-US" sz="1400" dirty="0"/>
                      <a:t>不用担心选错料</a:t>
                    </a:r>
                  </a:p>
                  <a:p>
                    <a:pPr marL="285750" lvl="0" indent="-285750">
                      <a:buFont typeface="Arial" panose="020B0604020202020204" pitchFamily="34" charset="0"/>
                      <a:buChar char="•"/>
                    </a:pPr>
                    <a:r>
                      <a:rPr lang="zh-CN" altLang="en-US" sz="1400" dirty="0"/>
                      <a:t>软件自动对比</a:t>
                    </a:r>
                  </a:p>
                </p:txBody>
              </p:sp>
            </p:grpSp>
            <p:sp>
              <p:nvSpPr>
                <p:cNvPr id="59" name="x-mark_1766"/>
                <p:cNvSpPr>
                  <a:spLocks noChangeAspect="1"/>
                </p:cNvSpPr>
                <p:nvPr/>
              </p:nvSpPr>
              <p:spPr bwMode="auto">
                <a:xfrm>
                  <a:off x="2082755" y="3806626"/>
                  <a:ext cx="609685" cy="608636"/>
                </a:xfrm>
                <a:custGeom>
                  <a:avLst/>
                  <a:gdLst>
                    <a:gd name="T0" fmla="*/ 373 w 373"/>
                    <a:gd name="T1" fmla="*/ 299 h 373"/>
                    <a:gd name="T2" fmla="*/ 261 w 373"/>
                    <a:gd name="T3" fmla="*/ 187 h 373"/>
                    <a:gd name="T4" fmla="*/ 373 w 373"/>
                    <a:gd name="T5" fmla="*/ 75 h 373"/>
                    <a:gd name="T6" fmla="*/ 299 w 373"/>
                    <a:gd name="T7" fmla="*/ 0 h 373"/>
                    <a:gd name="T8" fmla="*/ 187 w 373"/>
                    <a:gd name="T9" fmla="*/ 112 h 373"/>
                    <a:gd name="T10" fmla="*/ 75 w 373"/>
                    <a:gd name="T11" fmla="*/ 0 h 373"/>
                    <a:gd name="T12" fmla="*/ 0 w 373"/>
                    <a:gd name="T13" fmla="*/ 75 h 373"/>
                    <a:gd name="T14" fmla="*/ 112 w 373"/>
                    <a:gd name="T15" fmla="*/ 187 h 373"/>
                    <a:gd name="T16" fmla="*/ 0 w 373"/>
                    <a:gd name="T17" fmla="*/ 299 h 373"/>
                    <a:gd name="T18" fmla="*/ 75 w 373"/>
                    <a:gd name="T19" fmla="*/ 373 h 373"/>
                    <a:gd name="T20" fmla="*/ 187 w 373"/>
                    <a:gd name="T21" fmla="*/ 261 h 373"/>
                    <a:gd name="T22" fmla="*/ 299 w 373"/>
                    <a:gd name="T23" fmla="*/ 373 h 373"/>
                    <a:gd name="T24" fmla="*/ 373 w 373"/>
                    <a:gd name="T25" fmla="*/ 299 h 3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73" h="373">
                      <a:moveTo>
                        <a:pt x="373" y="299"/>
                      </a:moveTo>
                      <a:lnTo>
                        <a:pt x="261" y="187"/>
                      </a:lnTo>
                      <a:lnTo>
                        <a:pt x="373" y="75"/>
                      </a:lnTo>
                      <a:lnTo>
                        <a:pt x="299" y="0"/>
                      </a:lnTo>
                      <a:lnTo>
                        <a:pt x="187" y="112"/>
                      </a:lnTo>
                      <a:lnTo>
                        <a:pt x="75" y="0"/>
                      </a:lnTo>
                      <a:lnTo>
                        <a:pt x="0" y="75"/>
                      </a:lnTo>
                      <a:lnTo>
                        <a:pt x="112" y="187"/>
                      </a:lnTo>
                      <a:lnTo>
                        <a:pt x="0" y="299"/>
                      </a:lnTo>
                      <a:lnTo>
                        <a:pt x="75" y="373"/>
                      </a:lnTo>
                      <a:lnTo>
                        <a:pt x="187" y="261"/>
                      </a:lnTo>
                      <a:lnTo>
                        <a:pt x="299" y="373"/>
                      </a:lnTo>
                      <a:lnTo>
                        <a:pt x="373" y="299"/>
                      </a:lnTo>
                      <a:close/>
                    </a:path>
                  </a:pathLst>
                </a:custGeom>
                <a:solidFill>
                  <a:srgbClr val="FF0000"/>
                </a:solidFill>
                <a:ln>
                  <a:noFill/>
                </a:ln>
              </p:spPr>
            </p:sp>
          </p:grpSp>
        </p:grpSp>
        <p:cxnSp>
          <p:nvCxnSpPr>
            <p:cNvPr id="34" name="直接连接符 33">
              <a:extLst>
                <a:ext uri="{FF2B5EF4-FFF2-40B4-BE49-F238E27FC236}">
                  <a16:creationId xmlns:a16="http://schemas.microsoft.com/office/drawing/2014/main" id="{3DB4483F-10B1-4B14-94CB-11B5D2972977}"/>
                </a:ext>
              </a:extLst>
            </p:cNvPr>
            <p:cNvCxnSpPr>
              <a:cxnSpLocks/>
            </p:cNvCxnSpPr>
            <p:nvPr/>
          </p:nvCxnSpPr>
          <p:spPr>
            <a:xfrm>
              <a:off x="8653995" y="1436149"/>
              <a:ext cx="1553496" cy="0"/>
            </a:xfrm>
            <a:prstGeom prst="line">
              <a:avLst/>
            </a:prstGeom>
            <a:ln w="3175" cap="rnd">
              <a:solidFill>
                <a:schemeClr val="bg1">
                  <a:lumMod val="75000"/>
                </a:schemeClr>
              </a:solidFill>
              <a:round/>
              <a:headEnd type="none"/>
              <a:tailEnd type="none" w="med" len="med"/>
            </a:ln>
          </p:spPr>
          <p:style>
            <a:lnRef idx="1">
              <a:schemeClr val="accent1"/>
            </a:lnRef>
            <a:fillRef idx="0">
              <a:schemeClr val="accent1"/>
            </a:fillRef>
            <a:effectRef idx="0">
              <a:schemeClr val="accent1"/>
            </a:effectRef>
            <a:fontRef idx="minor">
              <a:schemeClr val="tx1"/>
            </a:fontRef>
          </p:style>
        </p:cxnSp>
        <p:cxnSp>
          <p:nvCxnSpPr>
            <p:cNvPr id="35" name="直接连接符 34">
              <a:extLst>
                <a:ext uri="{FF2B5EF4-FFF2-40B4-BE49-F238E27FC236}">
                  <a16:creationId xmlns:a16="http://schemas.microsoft.com/office/drawing/2014/main" id="{6DC193BF-B8E9-4B1B-B469-CB9ECF52825F}"/>
                </a:ext>
              </a:extLst>
            </p:cNvPr>
            <p:cNvCxnSpPr>
              <a:cxnSpLocks/>
            </p:cNvCxnSpPr>
            <p:nvPr/>
          </p:nvCxnSpPr>
          <p:spPr>
            <a:xfrm flipV="1">
              <a:off x="9394110" y="1806145"/>
              <a:ext cx="0" cy="599653"/>
            </a:xfrm>
            <a:prstGeom prst="line">
              <a:avLst/>
            </a:prstGeom>
            <a:ln w="3175" cap="rnd">
              <a:solidFill>
                <a:schemeClr val="bg1">
                  <a:lumMod val="75000"/>
                </a:schemeClr>
              </a:solidFill>
              <a:round/>
              <a:headEnd type="none"/>
              <a:tailEnd type="none" w="med" len="me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622522347"/>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 name="íṩľíḋe">
            <a:extLst>
              <a:ext uri="{FF2B5EF4-FFF2-40B4-BE49-F238E27FC236}">
                <a16:creationId xmlns:a16="http://schemas.microsoft.com/office/drawing/2014/main" id="{933D02D6-86E4-48A5-BD7C-9A746CDE30AF}"/>
              </a:ext>
            </a:extLst>
          </p:cNvPr>
          <p:cNvSpPr/>
          <p:nvPr/>
        </p:nvSpPr>
        <p:spPr bwMode="auto">
          <a:xfrm>
            <a:off x="2218050" y="3099480"/>
            <a:ext cx="627727" cy="627727"/>
          </a:xfrm>
          <a:prstGeom prst="ellipse">
            <a:avLst/>
          </a:prstGeom>
          <a:solidFill>
            <a:schemeClr val="accent4">
              <a:lumMod val="60000"/>
              <a:lumOff val="40000"/>
              <a:alpha val="70000"/>
            </a:schemeClr>
          </a:solidFill>
          <a:ln w="19050">
            <a:noFill/>
            <a:round/>
            <a:headEnd/>
            <a:tailEnd/>
          </a:ln>
        </p:spPr>
        <p:txBody>
          <a:bodyPr anchor="ctr"/>
          <a:lstStyle/>
          <a:p>
            <a:pPr algn="ctr"/>
            <a:endParaRPr/>
          </a:p>
        </p:txBody>
      </p:sp>
      <p:sp>
        <p:nvSpPr>
          <p:cNvPr id="43" name="ïşḻiḍè">
            <a:extLst>
              <a:ext uri="{FF2B5EF4-FFF2-40B4-BE49-F238E27FC236}">
                <a16:creationId xmlns:a16="http://schemas.microsoft.com/office/drawing/2014/main" id="{2300B757-F5D1-4E67-A721-E812C4952AB4}"/>
              </a:ext>
            </a:extLst>
          </p:cNvPr>
          <p:cNvSpPr/>
          <p:nvPr/>
        </p:nvSpPr>
        <p:spPr bwMode="auto">
          <a:xfrm>
            <a:off x="2293517" y="2485986"/>
            <a:ext cx="761143" cy="761144"/>
          </a:xfrm>
          <a:prstGeom prst="ellipse">
            <a:avLst/>
          </a:prstGeom>
          <a:solidFill>
            <a:schemeClr val="accent2">
              <a:alpha val="70000"/>
            </a:schemeClr>
          </a:solidFill>
          <a:ln w="19050">
            <a:noFill/>
            <a:round/>
            <a:headEnd/>
            <a:tailEnd/>
          </a:ln>
        </p:spPr>
        <p:txBody>
          <a:bodyPr anchor="ctr"/>
          <a:lstStyle/>
          <a:p>
            <a:pPr algn="ctr"/>
            <a:endParaRPr/>
          </a:p>
        </p:txBody>
      </p:sp>
      <p:sp>
        <p:nvSpPr>
          <p:cNvPr id="44" name="îṣļíḓê">
            <a:extLst>
              <a:ext uri="{FF2B5EF4-FFF2-40B4-BE49-F238E27FC236}">
                <a16:creationId xmlns:a16="http://schemas.microsoft.com/office/drawing/2014/main" id="{9C1E267C-00D8-4375-B83A-30FD6D818489}"/>
              </a:ext>
            </a:extLst>
          </p:cNvPr>
          <p:cNvSpPr/>
          <p:nvPr/>
        </p:nvSpPr>
        <p:spPr bwMode="auto">
          <a:xfrm>
            <a:off x="2586726" y="2712111"/>
            <a:ext cx="935868" cy="935869"/>
          </a:xfrm>
          <a:prstGeom prst="ellipse">
            <a:avLst/>
          </a:prstGeom>
          <a:solidFill>
            <a:schemeClr val="accent1">
              <a:lumMod val="100000"/>
            </a:schemeClr>
          </a:solidFill>
          <a:ln w="19050">
            <a:noFill/>
            <a:round/>
            <a:headEnd/>
            <a:tailEnd/>
          </a:ln>
        </p:spPr>
        <p:txBody>
          <a:bodyPr rot="0" spcFirstLastPara="0" vert="horz" wrap="none" lIns="91440" tIns="45720" rIns="91440" bIns="45720" anchor="ctr" anchorCtr="1" forceAA="0" compatLnSpc="1">
            <a:prstTxWarp prst="textNoShape">
              <a:avLst/>
            </a:prstTxWarp>
            <a:normAutofit lnSpcReduction="10000"/>
          </a:bodyPr>
          <a:lstStyle/>
          <a:p>
            <a:pPr algn="ctr"/>
            <a:r>
              <a:rPr lang="en-US" altLang="zh-CN" sz="4000" dirty="0">
                <a:solidFill>
                  <a:schemeClr val="bg1">
                    <a:lumMod val="100000"/>
                  </a:schemeClr>
                </a:solidFill>
                <a:latin typeface="Impact" panose="020B0806030902050204" pitchFamily="34" charset="0"/>
              </a:rPr>
              <a:t>01</a:t>
            </a:r>
          </a:p>
        </p:txBody>
      </p:sp>
      <p:sp>
        <p:nvSpPr>
          <p:cNvPr id="45" name="í$ľïdè">
            <a:extLst>
              <a:ext uri="{FF2B5EF4-FFF2-40B4-BE49-F238E27FC236}">
                <a16:creationId xmlns:a16="http://schemas.microsoft.com/office/drawing/2014/main" id="{033B064A-0A06-4748-980D-1D441B6C368F}"/>
              </a:ext>
            </a:extLst>
          </p:cNvPr>
          <p:cNvSpPr/>
          <p:nvPr/>
        </p:nvSpPr>
        <p:spPr bwMode="auto">
          <a:xfrm>
            <a:off x="2955401" y="3727207"/>
            <a:ext cx="313864" cy="313864"/>
          </a:xfrm>
          <a:prstGeom prst="ellipse">
            <a:avLst/>
          </a:prstGeom>
          <a:solidFill>
            <a:schemeClr val="accent3">
              <a:alpha val="70000"/>
            </a:schemeClr>
          </a:solidFill>
          <a:ln w="19050">
            <a:noFill/>
            <a:round/>
            <a:headEnd/>
            <a:tailEnd/>
          </a:ln>
        </p:spPr>
        <p:txBody>
          <a:bodyPr anchor="ctr"/>
          <a:lstStyle/>
          <a:p>
            <a:pPr algn="ctr"/>
            <a:endParaRPr/>
          </a:p>
        </p:txBody>
      </p:sp>
      <p:sp>
        <p:nvSpPr>
          <p:cNvPr id="46" name="ïṧ1ïḑè">
            <a:extLst>
              <a:ext uri="{FF2B5EF4-FFF2-40B4-BE49-F238E27FC236}">
                <a16:creationId xmlns:a16="http://schemas.microsoft.com/office/drawing/2014/main" id="{24450F73-B5B8-4A11-A248-040A0FDE7F13}"/>
              </a:ext>
            </a:extLst>
          </p:cNvPr>
          <p:cNvSpPr/>
          <p:nvPr/>
        </p:nvSpPr>
        <p:spPr bwMode="auto">
          <a:xfrm>
            <a:off x="1994988" y="2987948"/>
            <a:ext cx="223062" cy="223063"/>
          </a:xfrm>
          <a:prstGeom prst="ellipse">
            <a:avLst/>
          </a:prstGeom>
          <a:solidFill>
            <a:schemeClr val="accent4">
              <a:lumMod val="60000"/>
              <a:lumOff val="40000"/>
              <a:alpha val="70000"/>
            </a:schemeClr>
          </a:solidFill>
          <a:ln w="19050">
            <a:noFill/>
            <a:round/>
            <a:headEnd/>
            <a:tailEnd/>
          </a:ln>
        </p:spPr>
        <p:txBody>
          <a:bodyPr anchor="ctr"/>
          <a:lstStyle/>
          <a:p>
            <a:pPr algn="ctr"/>
            <a:endParaRPr/>
          </a:p>
        </p:txBody>
      </p:sp>
      <p:sp>
        <p:nvSpPr>
          <p:cNvPr id="47" name="isľíde">
            <a:extLst>
              <a:ext uri="{FF2B5EF4-FFF2-40B4-BE49-F238E27FC236}">
                <a16:creationId xmlns:a16="http://schemas.microsoft.com/office/drawing/2014/main" id="{05941C13-2F5A-4E41-88C1-08AE8D98BD4E}"/>
              </a:ext>
            </a:extLst>
          </p:cNvPr>
          <p:cNvSpPr/>
          <p:nvPr/>
        </p:nvSpPr>
        <p:spPr bwMode="auto">
          <a:xfrm>
            <a:off x="3411063" y="2478576"/>
            <a:ext cx="223062" cy="223063"/>
          </a:xfrm>
          <a:prstGeom prst="ellipse">
            <a:avLst/>
          </a:prstGeom>
          <a:solidFill>
            <a:schemeClr val="accent3">
              <a:lumMod val="60000"/>
              <a:lumOff val="40000"/>
              <a:alpha val="70000"/>
            </a:schemeClr>
          </a:solidFill>
          <a:ln w="19050">
            <a:noFill/>
            <a:round/>
            <a:headEnd/>
            <a:tailEnd/>
          </a:ln>
        </p:spPr>
        <p:txBody>
          <a:bodyPr anchor="ctr"/>
          <a:lstStyle/>
          <a:p>
            <a:pPr algn="ctr"/>
            <a:endParaRPr/>
          </a:p>
        </p:txBody>
      </p:sp>
      <p:sp>
        <p:nvSpPr>
          <p:cNvPr id="36" name="îṥḷíḍê">
            <a:extLst>
              <a:ext uri="{FF2B5EF4-FFF2-40B4-BE49-F238E27FC236}">
                <a16:creationId xmlns:a16="http://schemas.microsoft.com/office/drawing/2014/main" id="{B27DD9DF-164F-483B-A987-D7C54BE7DC77}"/>
              </a:ext>
            </a:extLst>
          </p:cNvPr>
          <p:cNvSpPr/>
          <p:nvPr/>
        </p:nvSpPr>
        <p:spPr bwMode="auto">
          <a:xfrm>
            <a:off x="2218050" y="5259719"/>
            <a:ext cx="627727" cy="627727"/>
          </a:xfrm>
          <a:prstGeom prst="ellipse">
            <a:avLst/>
          </a:prstGeom>
          <a:solidFill>
            <a:schemeClr val="accent4">
              <a:lumMod val="60000"/>
              <a:lumOff val="40000"/>
              <a:alpha val="70000"/>
            </a:schemeClr>
          </a:solidFill>
          <a:ln w="19050">
            <a:noFill/>
            <a:round/>
            <a:headEnd/>
            <a:tailEnd/>
          </a:ln>
        </p:spPr>
        <p:txBody>
          <a:bodyPr anchor="ctr"/>
          <a:lstStyle/>
          <a:p>
            <a:pPr algn="ctr"/>
            <a:endParaRPr/>
          </a:p>
        </p:txBody>
      </p:sp>
      <p:sp>
        <p:nvSpPr>
          <p:cNvPr id="37" name="išḻíḋê">
            <a:extLst>
              <a:ext uri="{FF2B5EF4-FFF2-40B4-BE49-F238E27FC236}">
                <a16:creationId xmlns:a16="http://schemas.microsoft.com/office/drawing/2014/main" id="{3FECB039-F117-4CF5-B8B7-FDBD3BBE522D}"/>
              </a:ext>
            </a:extLst>
          </p:cNvPr>
          <p:cNvSpPr/>
          <p:nvPr/>
        </p:nvSpPr>
        <p:spPr bwMode="auto">
          <a:xfrm>
            <a:off x="2293517" y="4646225"/>
            <a:ext cx="761143" cy="761144"/>
          </a:xfrm>
          <a:prstGeom prst="ellipse">
            <a:avLst/>
          </a:prstGeom>
          <a:solidFill>
            <a:schemeClr val="accent2">
              <a:alpha val="70000"/>
            </a:schemeClr>
          </a:solidFill>
          <a:ln w="19050">
            <a:noFill/>
            <a:round/>
            <a:headEnd/>
            <a:tailEnd/>
          </a:ln>
        </p:spPr>
        <p:txBody>
          <a:bodyPr anchor="ctr"/>
          <a:lstStyle/>
          <a:p>
            <a:pPr algn="ctr"/>
            <a:endParaRPr/>
          </a:p>
        </p:txBody>
      </p:sp>
      <p:sp>
        <p:nvSpPr>
          <p:cNvPr id="38" name="ïṧlïḍe">
            <a:extLst>
              <a:ext uri="{FF2B5EF4-FFF2-40B4-BE49-F238E27FC236}">
                <a16:creationId xmlns:a16="http://schemas.microsoft.com/office/drawing/2014/main" id="{3F7CEFDE-1290-4C47-A03E-216208A65CF4}"/>
              </a:ext>
            </a:extLst>
          </p:cNvPr>
          <p:cNvSpPr/>
          <p:nvPr/>
        </p:nvSpPr>
        <p:spPr bwMode="auto">
          <a:xfrm>
            <a:off x="2586726" y="4872350"/>
            <a:ext cx="935868" cy="935869"/>
          </a:xfrm>
          <a:prstGeom prst="ellipse">
            <a:avLst/>
          </a:prstGeom>
          <a:solidFill>
            <a:schemeClr val="accent1">
              <a:lumMod val="100000"/>
            </a:schemeClr>
          </a:solidFill>
          <a:ln w="19050">
            <a:noFill/>
            <a:round/>
            <a:headEnd/>
            <a:tailEnd/>
          </a:ln>
        </p:spPr>
        <p:txBody>
          <a:bodyPr rot="0" spcFirstLastPara="0" vert="horz" wrap="none" lIns="0" tIns="0" rIns="0" bIns="0" anchor="ctr" anchorCtr="1" forceAA="0" compatLnSpc="1">
            <a:prstTxWarp prst="textNoShape">
              <a:avLst/>
            </a:prstTxWarp>
            <a:normAutofit/>
          </a:bodyPr>
          <a:lstStyle/>
          <a:p>
            <a:pPr algn="ctr"/>
            <a:r>
              <a:rPr lang="en-US" altLang="zh-CN" sz="4000" dirty="0">
                <a:solidFill>
                  <a:schemeClr val="bg1">
                    <a:lumMod val="100000"/>
                  </a:schemeClr>
                </a:solidFill>
                <a:latin typeface="Impact" panose="020B0806030902050204" pitchFamily="34" charset="0"/>
              </a:rPr>
              <a:t>03</a:t>
            </a:r>
          </a:p>
        </p:txBody>
      </p:sp>
      <p:sp>
        <p:nvSpPr>
          <p:cNvPr id="39" name="îṣľïḍè">
            <a:extLst>
              <a:ext uri="{FF2B5EF4-FFF2-40B4-BE49-F238E27FC236}">
                <a16:creationId xmlns:a16="http://schemas.microsoft.com/office/drawing/2014/main" id="{435D39D6-1845-4DD4-B991-37D98AB9C58B}"/>
              </a:ext>
            </a:extLst>
          </p:cNvPr>
          <p:cNvSpPr/>
          <p:nvPr/>
        </p:nvSpPr>
        <p:spPr bwMode="auto">
          <a:xfrm>
            <a:off x="2955401" y="5887446"/>
            <a:ext cx="313864" cy="313864"/>
          </a:xfrm>
          <a:prstGeom prst="ellipse">
            <a:avLst/>
          </a:prstGeom>
          <a:solidFill>
            <a:schemeClr val="accent3">
              <a:alpha val="70000"/>
            </a:schemeClr>
          </a:solidFill>
          <a:ln w="19050">
            <a:noFill/>
            <a:round/>
            <a:headEnd/>
            <a:tailEnd/>
          </a:ln>
        </p:spPr>
        <p:txBody>
          <a:bodyPr anchor="ctr"/>
          <a:lstStyle/>
          <a:p>
            <a:pPr algn="ctr"/>
            <a:endParaRPr/>
          </a:p>
        </p:txBody>
      </p:sp>
      <p:sp>
        <p:nvSpPr>
          <p:cNvPr id="40" name="išľîďè">
            <a:extLst>
              <a:ext uri="{FF2B5EF4-FFF2-40B4-BE49-F238E27FC236}">
                <a16:creationId xmlns:a16="http://schemas.microsoft.com/office/drawing/2014/main" id="{BC9127AC-2E58-4EF3-8CF1-D32E45795450}"/>
              </a:ext>
            </a:extLst>
          </p:cNvPr>
          <p:cNvSpPr/>
          <p:nvPr/>
        </p:nvSpPr>
        <p:spPr bwMode="auto">
          <a:xfrm>
            <a:off x="1994988" y="5148187"/>
            <a:ext cx="223062" cy="223063"/>
          </a:xfrm>
          <a:prstGeom prst="ellipse">
            <a:avLst/>
          </a:prstGeom>
          <a:solidFill>
            <a:schemeClr val="accent4">
              <a:lumMod val="60000"/>
              <a:lumOff val="40000"/>
              <a:alpha val="70000"/>
            </a:schemeClr>
          </a:solidFill>
          <a:ln w="19050">
            <a:noFill/>
            <a:round/>
            <a:headEnd/>
            <a:tailEnd/>
          </a:ln>
        </p:spPr>
        <p:txBody>
          <a:bodyPr anchor="ctr"/>
          <a:lstStyle/>
          <a:p>
            <a:pPr algn="ctr"/>
            <a:endParaRPr/>
          </a:p>
        </p:txBody>
      </p:sp>
      <p:sp>
        <p:nvSpPr>
          <p:cNvPr id="41" name="ï$ľíḓe">
            <a:extLst>
              <a:ext uri="{FF2B5EF4-FFF2-40B4-BE49-F238E27FC236}">
                <a16:creationId xmlns:a16="http://schemas.microsoft.com/office/drawing/2014/main" id="{3C378E27-4B0C-45F2-9634-1E0A111141CD}"/>
              </a:ext>
            </a:extLst>
          </p:cNvPr>
          <p:cNvSpPr/>
          <p:nvPr/>
        </p:nvSpPr>
        <p:spPr bwMode="auto">
          <a:xfrm>
            <a:off x="3411063" y="4638815"/>
            <a:ext cx="223062" cy="223063"/>
          </a:xfrm>
          <a:prstGeom prst="ellipse">
            <a:avLst/>
          </a:prstGeom>
          <a:solidFill>
            <a:schemeClr val="accent3">
              <a:lumMod val="60000"/>
              <a:lumOff val="40000"/>
              <a:alpha val="70000"/>
            </a:schemeClr>
          </a:solidFill>
          <a:ln w="19050">
            <a:noFill/>
            <a:round/>
            <a:headEnd/>
            <a:tailEnd/>
          </a:ln>
        </p:spPr>
        <p:txBody>
          <a:bodyPr anchor="ctr"/>
          <a:lstStyle/>
          <a:p>
            <a:pPr algn="ctr"/>
            <a:endParaRPr/>
          </a:p>
        </p:txBody>
      </p:sp>
      <p:sp>
        <p:nvSpPr>
          <p:cNvPr id="30" name="isḷîḑe">
            <a:extLst>
              <a:ext uri="{FF2B5EF4-FFF2-40B4-BE49-F238E27FC236}">
                <a16:creationId xmlns:a16="http://schemas.microsoft.com/office/drawing/2014/main" id="{732219AB-9625-47F8-AD6F-BD488E6EDA17}"/>
              </a:ext>
            </a:extLst>
          </p:cNvPr>
          <p:cNvSpPr/>
          <p:nvPr/>
        </p:nvSpPr>
        <p:spPr bwMode="auto">
          <a:xfrm>
            <a:off x="6435358" y="3099480"/>
            <a:ext cx="627727" cy="627727"/>
          </a:xfrm>
          <a:prstGeom prst="ellipse">
            <a:avLst/>
          </a:prstGeom>
          <a:solidFill>
            <a:schemeClr val="accent4">
              <a:lumMod val="60000"/>
              <a:lumOff val="40000"/>
              <a:alpha val="70000"/>
            </a:schemeClr>
          </a:solidFill>
          <a:ln w="19050">
            <a:noFill/>
            <a:round/>
            <a:headEnd/>
            <a:tailEnd/>
          </a:ln>
        </p:spPr>
        <p:txBody>
          <a:bodyPr anchor="ctr"/>
          <a:lstStyle/>
          <a:p>
            <a:pPr algn="ctr"/>
            <a:endParaRPr/>
          </a:p>
        </p:txBody>
      </p:sp>
      <p:sp>
        <p:nvSpPr>
          <p:cNvPr id="31" name="íṩľidê">
            <a:extLst>
              <a:ext uri="{FF2B5EF4-FFF2-40B4-BE49-F238E27FC236}">
                <a16:creationId xmlns:a16="http://schemas.microsoft.com/office/drawing/2014/main" id="{19AFBE72-5C89-4440-907B-46B49AE95E1D}"/>
              </a:ext>
            </a:extLst>
          </p:cNvPr>
          <p:cNvSpPr/>
          <p:nvPr/>
        </p:nvSpPr>
        <p:spPr bwMode="auto">
          <a:xfrm>
            <a:off x="6510825" y="2485986"/>
            <a:ext cx="761143" cy="761144"/>
          </a:xfrm>
          <a:prstGeom prst="ellipse">
            <a:avLst/>
          </a:prstGeom>
          <a:solidFill>
            <a:schemeClr val="accent2">
              <a:alpha val="70000"/>
            </a:schemeClr>
          </a:solidFill>
          <a:ln w="19050">
            <a:noFill/>
            <a:round/>
            <a:headEnd/>
            <a:tailEnd/>
          </a:ln>
        </p:spPr>
        <p:txBody>
          <a:bodyPr anchor="ctr"/>
          <a:lstStyle/>
          <a:p>
            <a:pPr algn="ctr"/>
            <a:endParaRPr/>
          </a:p>
        </p:txBody>
      </p:sp>
      <p:sp>
        <p:nvSpPr>
          <p:cNvPr id="32" name="iṡḷíḓè">
            <a:extLst>
              <a:ext uri="{FF2B5EF4-FFF2-40B4-BE49-F238E27FC236}">
                <a16:creationId xmlns:a16="http://schemas.microsoft.com/office/drawing/2014/main" id="{841264D6-FEB5-41E4-A44D-C5AB63293507}"/>
              </a:ext>
            </a:extLst>
          </p:cNvPr>
          <p:cNvSpPr/>
          <p:nvPr/>
        </p:nvSpPr>
        <p:spPr bwMode="auto">
          <a:xfrm>
            <a:off x="6804034" y="2712111"/>
            <a:ext cx="935868" cy="935869"/>
          </a:xfrm>
          <a:prstGeom prst="ellipse">
            <a:avLst/>
          </a:prstGeom>
          <a:solidFill>
            <a:schemeClr val="accent1">
              <a:lumMod val="100000"/>
            </a:schemeClr>
          </a:solidFill>
          <a:ln w="19050">
            <a:noFill/>
            <a:round/>
            <a:headEnd/>
            <a:tailEnd/>
          </a:ln>
        </p:spPr>
        <p:txBody>
          <a:bodyPr rot="0" spcFirstLastPara="0" vert="horz" wrap="none" lIns="0" tIns="0" rIns="0" bIns="0" anchor="ctr" anchorCtr="1" forceAA="0" compatLnSpc="1">
            <a:prstTxWarp prst="textNoShape">
              <a:avLst/>
            </a:prstTxWarp>
            <a:normAutofit/>
          </a:bodyPr>
          <a:lstStyle/>
          <a:p>
            <a:pPr algn="ctr"/>
            <a:r>
              <a:rPr lang="en-US" altLang="zh-CN" sz="4000" dirty="0">
                <a:solidFill>
                  <a:schemeClr val="bg1">
                    <a:lumMod val="100000"/>
                  </a:schemeClr>
                </a:solidFill>
                <a:latin typeface="Impact" panose="020B0806030902050204" pitchFamily="34" charset="0"/>
              </a:rPr>
              <a:t>02</a:t>
            </a:r>
          </a:p>
        </p:txBody>
      </p:sp>
      <p:sp>
        <p:nvSpPr>
          <p:cNvPr id="33" name="ïṥlíḋè">
            <a:extLst>
              <a:ext uri="{FF2B5EF4-FFF2-40B4-BE49-F238E27FC236}">
                <a16:creationId xmlns:a16="http://schemas.microsoft.com/office/drawing/2014/main" id="{1BFF52A4-CE8C-43D5-9BD3-841B96519F15}"/>
              </a:ext>
            </a:extLst>
          </p:cNvPr>
          <p:cNvSpPr/>
          <p:nvPr/>
        </p:nvSpPr>
        <p:spPr bwMode="auto">
          <a:xfrm>
            <a:off x="7172709" y="3727207"/>
            <a:ext cx="313864" cy="313864"/>
          </a:xfrm>
          <a:prstGeom prst="ellipse">
            <a:avLst/>
          </a:prstGeom>
          <a:solidFill>
            <a:schemeClr val="accent3">
              <a:alpha val="70000"/>
            </a:schemeClr>
          </a:solidFill>
          <a:ln w="19050">
            <a:noFill/>
            <a:round/>
            <a:headEnd/>
            <a:tailEnd/>
          </a:ln>
        </p:spPr>
        <p:txBody>
          <a:bodyPr anchor="ctr"/>
          <a:lstStyle/>
          <a:p>
            <a:pPr algn="ctr"/>
            <a:endParaRPr/>
          </a:p>
        </p:txBody>
      </p:sp>
      <p:sp>
        <p:nvSpPr>
          <p:cNvPr id="34" name="íṣḻîḍe">
            <a:extLst>
              <a:ext uri="{FF2B5EF4-FFF2-40B4-BE49-F238E27FC236}">
                <a16:creationId xmlns:a16="http://schemas.microsoft.com/office/drawing/2014/main" id="{2A7CEF29-9CD4-4FBC-9EC8-D3DD36E96ED5}"/>
              </a:ext>
            </a:extLst>
          </p:cNvPr>
          <p:cNvSpPr/>
          <p:nvPr/>
        </p:nvSpPr>
        <p:spPr bwMode="auto">
          <a:xfrm>
            <a:off x="6212296" y="2987948"/>
            <a:ext cx="223062" cy="223063"/>
          </a:xfrm>
          <a:prstGeom prst="ellipse">
            <a:avLst/>
          </a:prstGeom>
          <a:solidFill>
            <a:schemeClr val="accent4">
              <a:lumMod val="60000"/>
              <a:lumOff val="40000"/>
              <a:alpha val="70000"/>
            </a:schemeClr>
          </a:solidFill>
          <a:ln w="19050">
            <a:noFill/>
            <a:round/>
            <a:headEnd/>
            <a:tailEnd/>
          </a:ln>
        </p:spPr>
        <p:txBody>
          <a:bodyPr anchor="ctr"/>
          <a:lstStyle/>
          <a:p>
            <a:pPr algn="ctr"/>
            <a:endParaRPr/>
          </a:p>
        </p:txBody>
      </p:sp>
      <p:sp>
        <p:nvSpPr>
          <p:cNvPr id="35" name="íṡḻiḑè">
            <a:extLst>
              <a:ext uri="{FF2B5EF4-FFF2-40B4-BE49-F238E27FC236}">
                <a16:creationId xmlns:a16="http://schemas.microsoft.com/office/drawing/2014/main" id="{F18B1D28-0084-44AF-B2AD-C8E55DAE6280}"/>
              </a:ext>
            </a:extLst>
          </p:cNvPr>
          <p:cNvSpPr/>
          <p:nvPr/>
        </p:nvSpPr>
        <p:spPr bwMode="auto">
          <a:xfrm>
            <a:off x="7628371" y="2478576"/>
            <a:ext cx="223062" cy="223063"/>
          </a:xfrm>
          <a:prstGeom prst="ellipse">
            <a:avLst/>
          </a:prstGeom>
          <a:solidFill>
            <a:schemeClr val="accent3">
              <a:lumMod val="60000"/>
              <a:lumOff val="40000"/>
              <a:alpha val="70000"/>
            </a:schemeClr>
          </a:solidFill>
          <a:ln w="19050">
            <a:noFill/>
            <a:round/>
            <a:headEnd/>
            <a:tailEnd/>
          </a:ln>
        </p:spPr>
        <p:txBody>
          <a:bodyPr anchor="ctr"/>
          <a:lstStyle/>
          <a:p>
            <a:pPr algn="ctr"/>
            <a:endParaRPr/>
          </a:p>
        </p:txBody>
      </p:sp>
      <p:sp>
        <p:nvSpPr>
          <p:cNvPr id="24" name="is1íḑê">
            <a:extLst>
              <a:ext uri="{FF2B5EF4-FFF2-40B4-BE49-F238E27FC236}">
                <a16:creationId xmlns:a16="http://schemas.microsoft.com/office/drawing/2014/main" id="{BE9DE7DA-714D-41BD-BA7E-1F07315EBEEF}"/>
              </a:ext>
            </a:extLst>
          </p:cNvPr>
          <p:cNvSpPr/>
          <p:nvPr/>
        </p:nvSpPr>
        <p:spPr bwMode="auto">
          <a:xfrm>
            <a:off x="6435358" y="5259719"/>
            <a:ext cx="627727" cy="627727"/>
          </a:xfrm>
          <a:prstGeom prst="ellipse">
            <a:avLst/>
          </a:prstGeom>
          <a:solidFill>
            <a:schemeClr val="accent4">
              <a:lumMod val="60000"/>
              <a:lumOff val="40000"/>
              <a:alpha val="70000"/>
            </a:schemeClr>
          </a:solidFill>
          <a:ln w="19050">
            <a:noFill/>
            <a:round/>
            <a:headEnd/>
            <a:tailEnd/>
          </a:ln>
        </p:spPr>
        <p:txBody>
          <a:bodyPr anchor="ctr"/>
          <a:lstStyle/>
          <a:p>
            <a:pPr algn="ctr"/>
            <a:endParaRPr/>
          </a:p>
        </p:txBody>
      </p:sp>
      <p:sp>
        <p:nvSpPr>
          <p:cNvPr id="25" name="ïšḷîḑé">
            <a:extLst>
              <a:ext uri="{FF2B5EF4-FFF2-40B4-BE49-F238E27FC236}">
                <a16:creationId xmlns:a16="http://schemas.microsoft.com/office/drawing/2014/main" id="{76DB17D0-B923-48EA-B81E-1262EC8E1DE8}"/>
              </a:ext>
            </a:extLst>
          </p:cNvPr>
          <p:cNvSpPr/>
          <p:nvPr/>
        </p:nvSpPr>
        <p:spPr bwMode="auto">
          <a:xfrm>
            <a:off x="6510825" y="4646225"/>
            <a:ext cx="761143" cy="761144"/>
          </a:xfrm>
          <a:prstGeom prst="ellipse">
            <a:avLst/>
          </a:prstGeom>
          <a:solidFill>
            <a:schemeClr val="accent2">
              <a:alpha val="70000"/>
            </a:schemeClr>
          </a:solidFill>
          <a:ln w="19050">
            <a:noFill/>
            <a:round/>
            <a:headEnd/>
            <a:tailEnd/>
          </a:ln>
        </p:spPr>
        <p:txBody>
          <a:bodyPr anchor="ctr"/>
          <a:lstStyle/>
          <a:p>
            <a:pPr algn="ctr"/>
            <a:endParaRPr/>
          </a:p>
        </p:txBody>
      </p:sp>
      <p:sp>
        <p:nvSpPr>
          <p:cNvPr id="26" name="îṥļiḑe">
            <a:extLst>
              <a:ext uri="{FF2B5EF4-FFF2-40B4-BE49-F238E27FC236}">
                <a16:creationId xmlns:a16="http://schemas.microsoft.com/office/drawing/2014/main" id="{E2F548C5-E4A3-448B-AF9C-3108434D0EE4}"/>
              </a:ext>
            </a:extLst>
          </p:cNvPr>
          <p:cNvSpPr/>
          <p:nvPr/>
        </p:nvSpPr>
        <p:spPr bwMode="auto">
          <a:xfrm>
            <a:off x="6804034" y="4872350"/>
            <a:ext cx="935868" cy="935869"/>
          </a:xfrm>
          <a:prstGeom prst="ellipse">
            <a:avLst/>
          </a:prstGeom>
          <a:solidFill>
            <a:schemeClr val="accent1">
              <a:lumMod val="100000"/>
            </a:schemeClr>
          </a:solidFill>
          <a:ln w="19050">
            <a:noFill/>
            <a:round/>
            <a:headEnd/>
            <a:tailEnd/>
          </a:ln>
        </p:spPr>
        <p:txBody>
          <a:bodyPr rot="0" spcFirstLastPara="0" vert="horz" wrap="none" lIns="0" tIns="0" rIns="0" bIns="0" anchor="ctr" anchorCtr="1" forceAA="0" compatLnSpc="1">
            <a:prstTxWarp prst="textNoShape">
              <a:avLst/>
            </a:prstTxWarp>
            <a:normAutofit/>
          </a:bodyPr>
          <a:lstStyle/>
          <a:p>
            <a:pPr algn="ctr"/>
            <a:r>
              <a:rPr lang="en-US" altLang="zh-CN" sz="4000">
                <a:solidFill>
                  <a:schemeClr val="bg1">
                    <a:lumMod val="100000"/>
                  </a:schemeClr>
                </a:solidFill>
                <a:latin typeface="Impact" panose="020B0806030902050204" pitchFamily="34" charset="0"/>
              </a:rPr>
              <a:t>04</a:t>
            </a:r>
          </a:p>
        </p:txBody>
      </p:sp>
      <p:sp>
        <p:nvSpPr>
          <p:cNvPr id="27" name="ïṧḻíde">
            <a:extLst>
              <a:ext uri="{FF2B5EF4-FFF2-40B4-BE49-F238E27FC236}">
                <a16:creationId xmlns:a16="http://schemas.microsoft.com/office/drawing/2014/main" id="{C5B7E8DC-C7C5-4475-B760-000E00AC9CC2}"/>
              </a:ext>
            </a:extLst>
          </p:cNvPr>
          <p:cNvSpPr/>
          <p:nvPr/>
        </p:nvSpPr>
        <p:spPr bwMode="auto">
          <a:xfrm>
            <a:off x="7172709" y="5887446"/>
            <a:ext cx="313864" cy="313864"/>
          </a:xfrm>
          <a:prstGeom prst="ellipse">
            <a:avLst/>
          </a:prstGeom>
          <a:solidFill>
            <a:schemeClr val="accent3">
              <a:alpha val="70000"/>
            </a:schemeClr>
          </a:solidFill>
          <a:ln w="19050">
            <a:noFill/>
            <a:round/>
            <a:headEnd/>
            <a:tailEnd/>
          </a:ln>
        </p:spPr>
        <p:txBody>
          <a:bodyPr anchor="ctr"/>
          <a:lstStyle/>
          <a:p>
            <a:pPr algn="ctr"/>
            <a:endParaRPr/>
          </a:p>
        </p:txBody>
      </p:sp>
      <p:sp>
        <p:nvSpPr>
          <p:cNvPr id="28" name="išḻíďé">
            <a:extLst>
              <a:ext uri="{FF2B5EF4-FFF2-40B4-BE49-F238E27FC236}">
                <a16:creationId xmlns:a16="http://schemas.microsoft.com/office/drawing/2014/main" id="{84EB3AAC-B37F-41CF-8444-973A5471C2C5}"/>
              </a:ext>
            </a:extLst>
          </p:cNvPr>
          <p:cNvSpPr/>
          <p:nvPr/>
        </p:nvSpPr>
        <p:spPr bwMode="auto">
          <a:xfrm>
            <a:off x="6212296" y="5148187"/>
            <a:ext cx="223062" cy="223063"/>
          </a:xfrm>
          <a:prstGeom prst="ellipse">
            <a:avLst/>
          </a:prstGeom>
          <a:solidFill>
            <a:schemeClr val="accent4">
              <a:lumMod val="60000"/>
              <a:lumOff val="40000"/>
              <a:alpha val="70000"/>
            </a:schemeClr>
          </a:solidFill>
          <a:ln w="19050">
            <a:noFill/>
            <a:round/>
            <a:headEnd/>
            <a:tailEnd/>
          </a:ln>
        </p:spPr>
        <p:txBody>
          <a:bodyPr anchor="ctr"/>
          <a:lstStyle/>
          <a:p>
            <a:pPr algn="ctr"/>
            <a:endParaRPr/>
          </a:p>
        </p:txBody>
      </p:sp>
      <p:sp>
        <p:nvSpPr>
          <p:cNvPr id="29" name="ïSḷíḋé">
            <a:extLst>
              <a:ext uri="{FF2B5EF4-FFF2-40B4-BE49-F238E27FC236}">
                <a16:creationId xmlns:a16="http://schemas.microsoft.com/office/drawing/2014/main" id="{ABFE0B30-3BA5-45CE-B176-DCABB643DC26}"/>
              </a:ext>
            </a:extLst>
          </p:cNvPr>
          <p:cNvSpPr/>
          <p:nvPr/>
        </p:nvSpPr>
        <p:spPr bwMode="auto">
          <a:xfrm>
            <a:off x="7628371" y="4638815"/>
            <a:ext cx="223062" cy="223063"/>
          </a:xfrm>
          <a:prstGeom prst="ellipse">
            <a:avLst/>
          </a:prstGeom>
          <a:solidFill>
            <a:schemeClr val="accent3">
              <a:lumMod val="60000"/>
              <a:lumOff val="40000"/>
              <a:alpha val="70000"/>
            </a:schemeClr>
          </a:solidFill>
          <a:ln w="19050">
            <a:noFill/>
            <a:round/>
            <a:headEnd/>
            <a:tailEnd/>
          </a:ln>
        </p:spPr>
        <p:txBody>
          <a:bodyPr anchor="ctr"/>
          <a:lstStyle/>
          <a:p>
            <a:pPr algn="ctr"/>
            <a:endParaRPr/>
          </a:p>
        </p:txBody>
      </p:sp>
      <p:sp>
        <p:nvSpPr>
          <p:cNvPr id="19" name="íṥḻíḍè">
            <a:extLst>
              <a:ext uri="{FF2B5EF4-FFF2-40B4-BE49-F238E27FC236}">
                <a16:creationId xmlns:a16="http://schemas.microsoft.com/office/drawing/2014/main" id="{CD04B3D2-2BED-4075-BDC6-AA5F0F68B808}"/>
              </a:ext>
            </a:extLst>
          </p:cNvPr>
          <p:cNvSpPr/>
          <p:nvPr/>
        </p:nvSpPr>
        <p:spPr bwMode="auto">
          <a:xfrm>
            <a:off x="533063" y="2049092"/>
            <a:ext cx="318666" cy="318666"/>
          </a:xfrm>
          <a:prstGeom prst="ellipse">
            <a:avLst/>
          </a:prstGeom>
          <a:solidFill>
            <a:schemeClr val="tx2">
              <a:lumMod val="20000"/>
              <a:lumOff val="80000"/>
            </a:schemeClr>
          </a:solidFill>
          <a:ln w="19050">
            <a:noFill/>
            <a:round/>
            <a:headEnd/>
            <a:tailEnd/>
          </a:ln>
        </p:spPr>
        <p:txBody>
          <a:bodyPr anchor="ctr"/>
          <a:lstStyle/>
          <a:p>
            <a:pPr algn="ctr"/>
            <a:endParaRPr/>
          </a:p>
        </p:txBody>
      </p:sp>
      <p:sp>
        <p:nvSpPr>
          <p:cNvPr id="20" name="îş1íďê">
            <a:extLst>
              <a:ext uri="{FF2B5EF4-FFF2-40B4-BE49-F238E27FC236}">
                <a16:creationId xmlns:a16="http://schemas.microsoft.com/office/drawing/2014/main" id="{F385A72A-2D81-4E75-B91E-1469CDD54A37}"/>
              </a:ext>
            </a:extLst>
          </p:cNvPr>
          <p:cNvSpPr/>
          <p:nvPr/>
        </p:nvSpPr>
        <p:spPr bwMode="auto">
          <a:xfrm>
            <a:off x="2209197" y="1720422"/>
            <a:ext cx="611886" cy="611886"/>
          </a:xfrm>
          <a:prstGeom prst="ellipse">
            <a:avLst/>
          </a:prstGeom>
          <a:solidFill>
            <a:schemeClr val="tx2">
              <a:lumMod val="40000"/>
              <a:lumOff val="60000"/>
            </a:schemeClr>
          </a:solidFill>
          <a:ln w="19050">
            <a:noFill/>
            <a:round/>
            <a:headEnd/>
            <a:tailEnd/>
          </a:ln>
        </p:spPr>
        <p:txBody>
          <a:bodyPr anchor="ctr"/>
          <a:lstStyle/>
          <a:p>
            <a:pPr algn="ctr"/>
            <a:endParaRPr/>
          </a:p>
        </p:txBody>
      </p:sp>
      <p:sp>
        <p:nvSpPr>
          <p:cNvPr id="21" name="îṡḷïdê">
            <a:extLst>
              <a:ext uri="{FF2B5EF4-FFF2-40B4-BE49-F238E27FC236}">
                <a16:creationId xmlns:a16="http://schemas.microsoft.com/office/drawing/2014/main" id="{7DCFDBF5-0761-4513-805C-0BE6E68C1CFD}"/>
              </a:ext>
            </a:extLst>
          </p:cNvPr>
          <p:cNvSpPr/>
          <p:nvPr/>
        </p:nvSpPr>
        <p:spPr bwMode="auto">
          <a:xfrm>
            <a:off x="305975" y="878682"/>
            <a:ext cx="852035" cy="852036"/>
          </a:xfrm>
          <a:prstGeom prst="ellipse">
            <a:avLst/>
          </a:prstGeom>
          <a:solidFill>
            <a:schemeClr val="tx2">
              <a:lumMod val="40000"/>
              <a:lumOff val="60000"/>
            </a:schemeClr>
          </a:solidFill>
          <a:ln w="19050">
            <a:noFill/>
            <a:round/>
            <a:headEnd/>
            <a:tailEnd/>
          </a:ln>
        </p:spPr>
        <p:txBody>
          <a:bodyPr anchor="ctr"/>
          <a:lstStyle/>
          <a:p>
            <a:pPr algn="ctr"/>
            <a:endParaRPr/>
          </a:p>
        </p:txBody>
      </p:sp>
      <p:sp>
        <p:nvSpPr>
          <p:cNvPr id="22" name="íş1idé">
            <a:extLst>
              <a:ext uri="{FF2B5EF4-FFF2-40B4-BE49-F238E27FC236}">
                <a16:creationId xmlns:a16="http://schemas.microsoft.com/office/drawing/2014/main" id="{E873F5F4-D320-4428-BA10-64A6D0BE6367}"/>
              </a:ext>
            </a:extLst>
          </p:cNvPr>
          <p:cNvSpPr/>
          <p:nvPr/>
        </p:nvSpPr>
        <p:spPr bwMode="auto">
          <a:xfrm>
            <a:off x="1078549" y="465777"/>
            <a:ext cx="1769154" cy="1807159"/>
          </a:xfrm>
          <a:prstGeom prst="ellipse">
            <a:avLst/>
          </a:prstGeom>
          <a:solidFill>
            <a:schemeClr val="tx2"/>
          </a:solidFill>
          <a:ln w="19050">
            <a:noFill/>
            <a:round/>
            <a:headEnd/>
            <a:tailEnd/>
          </a:ln>
        </p:spPr>
        <p:txBody>
          <a:bodyPr rot="0" spcFirstLastPara="0" vert="horz" wrap="none" lIns="91440" tIns="45720" rIns="91440" bIns="45720" anchor="b" anchorCtr="1" forceAA="0" compatLnSpc="1">
            <a:prstTxWarp prst="textNoShape">
              <a:avLst/>
            </a:prstTxWarp>
            <a:normAutofit fontScale="92500" lnSpcReduction="20000"/>
          </a:bodyPr>
          <a:lstStyle/>
          <a:p>
            <a:pPr algn="ctr"/>
            <a:r>
              <a:rPr lang="zh-CN" altLang="en-US" sz="4800" b="1" spc="300" dirty="0" smtClean="0">
                <a:solidFill>
                  <a:schemeClr val="bg1"/>
                </a:solidFill>
              </a:rPr>
              <a:t>成功</a:t>
            </a:r>
            <a:endParaRPr lang="en-US" altLang="zh-CN" sz="4800" b="1" spc="300" dirty="0" smtClean="0">
              <a:solidFill>
                <a:schemeClr val="bg1"/>
              </a:solidFill>
            </a:endParaRPr>
          </a:p>
          <a:p>
            <a:pPr algn="ctr"/>
            <a:r>
              <a:rPr lang="zh-CN" altLang="en-US" sz="4800" b="1" spc="300" dirty="0" smtClean="0">
                <a:solidFill>
                  <a:schemeClr val="bg1"/>
                </a:solidFill>
              </a:rPr>
              <a:t>案例</a:t>
            </a:r>
            <a:endParaRPr lang="en-US" altLang="zh-CN" sz="4800" b="1" spc="300" dirty="0">
              <a:solidFill>
                <a:schemeClr val="bg1"/>
              </a:solidFill>
            </a:endParaRPr>
          </a:p>
        </p:txBody>
      </p:sp>
      <p:sp>
        <p:nvSpPr>
          <p:cNvPr id="23" name="ïṥ1iḓè">
            <a:extLst>
              <a:ext uri="{FF2B5EF4-FFF2-40B4-BE49-F238E27FC236}">
                <a16:creationId xmlns:a16="http://schemas.microsoft.com/office/drawing/2014/main" id="{964B7CCD-95E1-4E22-B8A3-70249ABF7CA2}"/>
              </a:ext>
            </a:extLst>
          </p:cNvPr>
          <p:cNvSpPr/>
          <p:nvPr/>
        </p:nvSpPr>
        <p:spPr bwMode="auto">
          <a:xfrm>
            <a:off x="2708123" y="1236214"/>
            <a:ext cx="405203" cy="405203"/>
          </a:xfrm>
          <a:prstGeom prst="ellipse">
            <a:avLst/>
          </a:prstGeom>
          <a:solidFill>
            <a:schemeClr val="tx2">
              <a:lumMod val="20000"/>
              <a:lumOff val="80000"/>
            </a:schemeClr>
          </a:solidFill>
          <a:ln w="19050">
            <a:noFill/>
            <a:round/>
            <a:headEnd/>
            <a:tailEnd/>
          </a:ln>
        </p:spPr>
        <p:txBody>
          <a:bodyPr anchor="ctr"/>
          <a:lstStyle/>
          <a:p>
            <a:pPr algn="ctr"/>
            <a:endParaRPr/>
          </a:p>
        </p:txBody>
      </p:sp>
      <p:sp>
        <p:nvSpPr>
          <p:cNvPr id="11" name="ïślïḑe">
            <a:extLst>
              <a:ext uri="{FF2B5EF4-FFF2-40B4-BE49-F238E27FC236}">
                <a16:creationId xmlns:a16="http://schemas.microsoft.com/office/drawing/2014/main" id="{A54F9CE5-4329-40CA-9524-F99F1C363EF9}"/>
              </a:ext>
            </a:extLst>
          </p:cNvPr>
          <p:cNvSpPr/>
          <p:nvPr/>
        </p:nvSpPr>
        <p:spPr bwMode="auto">
          <a:xfrm>
            <a:off x="3549987" y="3094939"/>
            <a:ext cx="2586841" cy="8180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0000" tIns="46800" rIns="90000" bIns="46800" anchor="t" anchorCtr="0">
            <a:no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a:lnSpc>
                <a:spcPct val="120000"/>
              </a:lnSpc>
            </a:pPr>
            <a:r>
              <a:rPr lang="zh-CN" altLang="en-US" sz="1400" dirty="0" smtClean="0"/>
              <a:t>解决</a:t>
            </a:r>
            <a:r>
              <a:rPr lang="en-US" altLang="zh-CN" sz="1400" dirty="0" smtClean="0"/>
              <a:t>SMT</a:t>
            </a:r>
            <a:r>
              <a:rPr lang="zh-CN" altLang="en-US" sz="1400" dirty="0" smtClean="0"/>
              <a:t>生产过程人工产生的错误，大幅度提高生产质量和速度</a:t>
            </a:r>
            <a:endParaRPr lang="en-US" altLang="zh-CN" sz="1400" dirty="0"/>
          </a:p>
        </p:txBody>
      </p:sp>
      <p:sp>
        <p:nvSpPr>
          <p:cNvPr id="12" name="íŝľíḑe">
            <a:extLst>
              <a:ext uri="{FF2B5EF4-FFF2-40B4-BE49-F238E27FC236}">
                <a16:creationId xmlns:a16="http://schemas.microsoft.com/office/drawing/2014/main" id="{CCAF5B04-7E81-4E14-AF9E-7838B865DFC3}"/>
              </a:ext>
            </a:extLst>
          </p:cNvPr>
          <p:cNvSpPr txBox="1"/>
          <p:nvPr/>
        </p:nvSpPr>
        <p:spPr bwMode="auto">
          <a:xfrm>
            <a:off x="3549987" y="2682059"/>
            <a:ext cx="2586841" cy="4128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0000" tIns="46800" rIns="90000" bIns="36000">
            <a:norm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a:spcBef>
                <a:spcPct val="0"/>
              </a:spcBef>
            </a:pPr>
            <a:r>
              <a:rPr lang="en-US" altLang="zh-CN" sz="2000" b="1" dirty="0" smtClean="0"/>
              <a:t>SMT</a:t>
            </a:r>
            <a:r>
              <a:rPr lang="zh-CN" altLang="en-US" sz="2000" b="1" dirty="0" smtClean="0"/>
              <a:t>防错料系统</a:t>
            </a:r>
            <a:endParaRPr lang="en-US" altLang="zh-CN" sz="2000" b="1" dirty="0"/>
          </a:p>
        </p:txBody>
      </p:sp>
      <p:sp>
        <p:nvSpPr>
          <p:cNvPr id="13" name="ïşḻïḓè">
            <a:extLst>
              <a:ext uri="{FF2B5EF4-FFF2-40B4-BE49-F238E27FC236}">
                <a16:creationId xmlns:a16="http://schemas.microsoft.com/office/drawing/2014/main" id="{3BD91DDD-E9FF-4557-BF61-B97A13037EB0}"/>
              </a:ext>
            </a:extLst>
          </p:cNvPr>
          <p:cNvSpPr/>
          <p:nvPr/>
        </p:nvSpPr>
        <p:spPr bwMode="auto">
          <a:xfrm>
            <a:off x="7851433" y="3094939"/>
            <a:ext cx="2843986" cy="8180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0000" tIns="46800" rIns="90000" bIns="46800" anchor="t" anchorCtr="0">
            <a:normAutofit lnSpcReduction="10000"/>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a:lnSpc>
                <a:spcPct val="120000"/>
              </a:lnSpc>
            </a:pPr>
            <a:r>
              <a:rPr lang="zh-CN" altLang="en-US" sz="1400"/>
              <a:t>与机械叉车，机械臂相结合，实现仓库入库，出库，盘点等操作的自动化</a:t>
            </a:r>
            <a:endParaRPr lang="en-US" altLang="zh-CN" sz="1400" dirty="0"/>
          </a:p>
        </p:txBody>
      </p:sp>
      <p:sp>
        <p:nvSpPr>
          <p:cNvPr id="14" name="ïsḻïďè">
            <a:extLst>
              <a:ext uri="{FF2B5EF4-FFF2-40B4-BE49-F238E27FC236}">
                <a16:creationId xmlns:a16="http://schemas.microsoft.com/office/drawing/2014/main" id="{78CF781A-91D3-4E07-95CB-FA47735CFFF4}"/>
              </a:ext>
            </a:extLst>
          </p:cNvPr>
          <p:cNvSpPr txBox="1"/>
          <p:nvPr/>
        </p:nvSpPr>
        <p:spPr bwMode="auto">
          <a:xfrm>
            <a:off x="7851433" y="2682059"/>
            <a:ext cx="2843986" cy="4128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0000" tIns="46800" rIns="90000" bIns="36000">
            <a:norm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a:spcBef>
                <a:spcPct val="0"/>
              </a:spcBef>
            </a:pPr>
            <a:r>
              <a:rPr lang="zh-CN" altLang="en-US" sz="2000" b="1" dirty="0"/>
              <a:t>无人</a:t>
            </a:r>
            <a:r>
              <a:rPr lang="zh-CN" altLang="en-US" sz="2000" b="1" dirty="0" smtClean="0"/>
              <a:t>仓库</a:t>
            </a:r>
            <a:endParaRPr lang="en-US" altLang="zh-CN" sz="2000" b="1" dirty="0"/>
          </a:p>
        </p:txBody>
      </p:sp>
      <p:sp>
        <p:nvSpPr>
          <p:cNvPr id="15" name="îṩľíḋê">
            <a:extLst>
              <a:ext uri="{FF2B5EF4-FFF2-40B4-BE49-F238E27FC236}">
                <a16:creationId xmlns:a16="http://schemas.microsoft.com/office/drawing/2014/main" id="{897B60AF-69E0-4323-B589-0DBCF7C1853F}"/>
              </a:ext>
            </a:extLst>
          </p:cNvPr>
          <p:cNvSpPr/>
          <p:nvPr/>
        </p:nvSpPr>
        <p:spPr bwMode="auto">
          <a:xfrm>
            <a:off x="3549987" y="5271081"/>
            <a:ext cx="2586841" cy="5573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0000" tIns="46800" rIns="90000" bIns="46800" anchor="t" anchorCtr="0">
            <a:no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a:lnSpc>
                <a:spcPct val="120000"/>
              </a:lnSpc>
            </a:pPr>
            <a:r>
              <a:rPr lang="zh-CN" altLang="en-US" sz="1400"/>
              <a:t>制造企业生产过程执行管理系统</a:t>
            </a:r>
            <a:endParaRPr lang="en-US" altLang="zh-CN" sz="1400" dirty="0"/>
          </a:p>
        </p:txBody>
      </p:sp>
      <p:sp>
        <p:nvSpPr>
          <p:cNvPr id="16" name="íṣlîḍé">
            <a:extLst>
              <a:ext uri="{FF2B5EF4-FFF2-40B4-BE49-F238E27FC236}">
                <a16:creationId xmlns:a16="http://schemas.microsoft.com/office/drawing/2014/main" id="{025E2B07-EB39-472B-9E55-5601A41C94AE}"/>
              </a:ext>
            </a:extLst>
          </p:cNvPr>
          <p:cNvSpPr txBox="1"/>
          <p:nvPr/>
        </p:nvSpPr>
        <p:spPr bwMode="auto">
          <a:xfrm>
            <a:off x="3549987" y="4858201"/>
            <a:ext cx="2586841" cy="4128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0000" tIns="46800" rIns="90000" bIns="36000">
            <a:norm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a:spcBef>
                <a:spcPct val="0"/>
              </a:spcBef>
            </a:pPr>
            <a:r>
              <a:rPr lang="en-US" altLang="zh-CN" sz="2000" b="1" dirty="0" err="1"/>
              <a:t>MES</a:t>
            </a:r>
            <a:r>
              <a:rPr lang="zh-CN" altLang="en-US" sz="2000" b="1" dirty="0"/>
              <a:t>系统</a:t>
            </a:r>
            <a:endParaRPr lang="en-US" altLang="zh-CN" sz="2000" b="1" dirty="0"/>
          </a:p>
        </p:txBody>
      </p:sp>
      <p:sp>
        <p:nvSpPr>
          <p:cNvPr id="17" name="îṣḷîḍè">
            <a:extLst>
              <a:ext uri="{FF2B5EF4-FFF2-40B4-BE49-F238E27FC236}">
                <a16:creationId xmlns:a16="http://schemas.microsoft.com/office/drawing/2014/main" id="{EB99057E-9B74-4D0B-8E8E-85C842BDCE43}"/>
              </a:ext>
            </a:extLst>
          </p:cNvPr>
          <p:cNvSpPr/>
          <p:nvPr/>
        </p:nvSpPr>
        <p:spPr bwMode="auto">
          <a:xfrm>
            <a:off x="7851433" y="5271081"/>
            <a:ext cx="2843986" cy="7966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0000" tIns="46800" rIns="90000" bIns="46800" anchor="t" anchorCtr="0">
            <a:no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a:lnSpc>
                <a:spcPct val="120000"/>
              </a:lnSpc>
            </a:pPr>
            <a:r>
              <a:rPr lang="zh-CN" altLang="en-US" sz="1400" dirty="0" smtClean="0"/>
              <a:t>自动</a:t>
            </a:r>
            <a:r>
              <a:rPr lang="zh-CN" altLang="en-US" sz="1400" dirty="0"/>
              <a:t>取料、包胶、下料，实现自动化，大幅度提高产量</a:t>
            </a:r>
            <a:endParaRPr lang="en-US" altLang="zh-CN" sz="1400" dirty="0"/>
          </a:p>
          <a:p>
            <a:pPr>
              <a:lnSpc>
                <a:spcPct val="120000"/>
              </a:lnSpc>
            </a:pPr>
            <a:endParaRPr lang="en-US" altLang="zh-CN" sz="1400" dirty="0"/>
          </a:p>
        </p:txBody>
      </p:sp>
      <p:sp>
        <p:nvSpPr>
          <p:cNvPr id="18" name="íşľïde">
            <a:extLst>
              <a:ext uri="{FF2B5EF4-FFF2-40B4-BE49-F238E27FC236}">
                <a16:creationId xmlns:a16="http://schemas.microsoft.com/office/drawing/2014/main" id="{2D2D822D-150B-4A25-8F2F-493C8571278A}"/>
              </a:ext>
            </a:extLst>
          </p:cNvPr>
          <p:cNvSpPr txBox="1"/>
          <p:nvPr/>
        </p:nvSpPr>
        <p:spPr bwMode="auto">
          <a:xfrm>
            <a:off x="7851433" y="4858201"/>
            <a:ext cx="2843986" cy="4128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0000" tIns="46800" rIns="90000" bIns="36000">
            <a:norm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a:spcBef>
                <a:spcPct val="0"/>
              </a:spcBef>
            </a:pPr>
            <a:r>
              <a:rPr lang="zh-CN" altLang="en-US" sz="2000" b="1" dirty="0" smtClean="0"/>
              <a:t>电池</a:t>
            </a:r>
            <a:r>
              <a:rPr lang="zh-CN" altLang="en-US" sz="2000" b="1" dirty="0"/>
              <a:t>自动包胶机</a:t>
            </a:r>
            <a:endParaRPr lang="en-US" altLang="zh-CN" sz="2000" b="1" dirty="0"/>
          </a:p>
          <a:p>
            <a:pPr>
              <a:spcBef>
                <a:spcPct val="0"/>
              </a:spcBef>
            </a:pPr>
            <a:endParaRPr lang="en-US" altLang="zh-CN" sz="2000" b="1" dirty="0"/>
          </a:p>
        </p:txBody>
      </p:sp>
    </p:spTree>
    <p:extLst>
      <p:ext uri="{BB962C8B-B14F-4D97-AF65-F5344CB8AC3E}">
        <p14:creationId xmlns:p14="http://schemas.microsoft.com/office/powerpoint/2010/main" val="4087155123"/>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换</a:t>
            </a:r>
            <a:r>
              <a:rPr lang="zh-CN" altLang="en-US" dirty="0" smtClean="0"/>
              <a:t>料</a:t>
            </a:r>
            <a:r>
              <a:rPr lang="zh-CN" altLang="en-US" dirty="0"/>
              <a:t>流程对比</a:t>
            </a:r>
          </a:p>
        </p:txBody>
      </p:sp>
      <p:grpSp>
        <p:nvGrpSpPr>
          <p:cNvPr id="3" name="组合 2"/>
          <p:cNvGrpSpPr/>
          <p:nvPr/>
        </p:nvGrpSpPr>
        <p:grpSpPr>
          <a:xfrm>
            <a:off x="1056423" y="1537784"/>
            <a:ext cx="10110336" cy="4805966"/>
            <a:chOff x="1056423" y="1537784"/>
            <a:chExt cx="10110336" cy="4805966"/>
          </a:xfrm>
        </p:grpSpPr>
        <p:grpSp>
          <p:nvGrpSpPr>
            <p:cNvPr id="186" name="组合 185"/>
            <p:cNvGrpSpPr/>
            <p:nvPr/>
          </p:nvGrpSpPr>
          <p:grpSpPr>
            <a:xfrm>
              <a:off x="1056423" y="1537784"/>
              <a:ext cx="10077564" cy="4805966"/>
              <a:chOff x="1056423" y="1379522"/>
              <a:chExt cx="10077564" cy="4805966"/>
            </a:xfrm>
          </p:grpSpPr>
          <p:grpSp>
            <p:nvGrpSpPr>
              <p:cNvPr id="172" name="组合 171"/>
              <p:cNvGrpSpPr/>
              <p:nvPr/>
            </p:nvGrpSpPr>
            <p:grpSpPr>
              <a:xfrm>
                <a:off x="1056423" y="1379522"/>
                <a:ext cx="10077564" cy="4240594"/>
                <a:chOff x="1015825" y="2244495"/>
                <a:chExt cx="10077564" cy="4240594"/>
              </a:xfrm>
            </p:grpSpPr>
            <p:cxnSp>
              <p:nvCxnSpPr>
                <p:cNvPr id="110" name="直接连接符 109">
                  <a:extLst>
                    <a:ext uri="{FF2B5EF4-FFF2-40B4-BE49-F238E27FC236}">
                      <a16:creationId xmlns:a16="http://schemas.microsoft.com/office/drawing/2014/main" id="{11A6D17D-FCC1-4761-8331-9593F4A7D812}"/>
                    </a:ext>
                  </a:extLst>
                </p:cNvPr>
                <p:cNvCxnSpPr>
                  <a:stCxn id="66" idx="6"/>
                  <a:endCxn id="108" idx="2"/>
                </p:cNvCxnSpPr>
                <p:nvPr/>
              </p:nvCxnSpPr>
              <p:spPr>
                <a:xfrm flipV="1">
                  <a:off x="3697231" y="3666135"/>
                  <a:ext cx="3076073" cy="3725"/>
                </a:xfrm>
                <a:prstGeom prst="line">
                  <a:avLst/>
                </a:prstGeom>
                <a:ln w="152400" cap="rnd">
                  <a:solidFill>
                    <a:schemeClr val="tx1">
                      <a:lumMod val="20000"/>
                      <a:lumOff val="80000"/>
                    </a:schemeClr>
                  </a:solidFill>
                  <a:round/>
                  <a:tailEnd type="arrow" w="sm" len="sm"/>
                </a:ln>
              </p:spPr>
              <p:style>
                <a:lnRef idx="1">
                  <a:schemeClr val="accent1"/>
                </a:lnRef>
                <a:fillRef idx="0">
                  <a:schemeClr val="accent1"/>
                </a:fillRef>
                <a:effectRef idx="0">
                  <a:schemeClr val="accent1"/>
                </a:effectRef>
                <a:fontRef idx="minor">
                  <a:schemeClr val="tx1"/>
                </a:fontRef>
              </p:style>
            </p:cxnSp>
            <p:cxnSp>
              <p:nvCxnSpPr>
                <p:cNvPr id="77" name="直接连接符 76">
                  <a:extLst>
                    <a:ext uri="{FF2B5EF4-FFF2-40B4-BE49-F238E27FC236}">
                      <a16:creationId xmlns:a16="http://schemas.microsoft.com/office/drawing/2014/main" id="{11A6D17D-FCC1-4761-8331-9593F4A7D812}"/>
                    </a:ext>
                  </a:extLst>
                </p:cNvPr>
                <p:cNvCxnSpPr>
                  <a:stCxn id="59" idx="6"/>
                  <a:endCxn id="76" idx="2"/>
                </p:cNvCxnSpPr>
                <p:nvPr/>
              </p:nvCxnSpPr>
              <p:spPr>
                <a:xfrm>
                  <a:off x="5589739" y="5512642"/>
                  <a:ext cx="1036127" cy="0"/>
                </a:xfrm>
                <a:prstGeom prst="line">
                  <a:avLst/>
                </a:prstGeom>
                <a:ln w="152400" cap="rnd">
                  <a:solidFill>
                    <a:schemeClr val="tx1">
                      <a:lumMod val="20000"/>
                      <a:lumOff val="80000"/>
                    </a:schemeClr>
                  </a:solidFill>
                  <a:round/>
                  <a:tailEnd type="arrow" w="sm" len="sm"/>
                </a:ln>
              </p:spPr>
              <p:style>
                <a:lnRef idx="1">
                  <a:schemeClr val="accent1"/>
                </a:lnRef>
                <a:fillRef idx="0">
                  <a:schemeClr val="accent1"/>
                </a:fillRef>
                <a:effectRef idx="0">
                  <a:schemeClr val="accent1"/>
                </a:effectRef>
                <a:fontRef idx="minor">
                  <a:schemeClr val="tx1"/>
                </a:fontRef>
              </p:style>
            </p:cxnSp>
            <p:cxnSp>
              <p:nvCxnSpPr>
                <p:cNvPr id="73" name="直接连接符 72">
                  <a:extLst>
                    <a:ext uri="{FF2B5EF4-FFF2-40B4-BE49-F238E27FC236}">
                      <a16:creationId xmlns:a16="http://schemas.microsoft.com/office/drawing/2014/main" id="{11A6D17D-FCC1-4761-8331-9593F4A7D812}"/>
                    </a:ext>
                  </a:extLst>
                </p:cNvPr>
                <p:cNvCxnSpPr>
                  <a:stCxn id="67" idx="6"/>
                  <a:endCxn id="59" idx="2"/>
                </p:cNvCxnSpPr>
                <p:nvPr/>
              </p:nvCxnSpPr>
              <p:spPr>
                <a:xfrm>
                  <a:off x="3689458" y="5502599"/>
                  <a:ext cx="1176381" cy="10043"/>
                </a:xfrm>
                <a:prstGeom prst="line">
                  <a:avLst/>
                </a:prstGeom>
                <a:ln w="152400" cap="rnd">
                  <a:solidFill>
                    <a:schemeClr val="tx1">
                      <a:lumMod val="20000"/>
                      <a:lumOff val="80000"/>
                    </a:schemeClr>
                  </a:solidFill>
                  <a:round/>
                  <a:tailEnd type="arrow" w="sm" len="sm"/>
                </a:ln>
              </p:spPr>
              <p:style>
                <a:lnRef idx="1">
                  <a:schemeClr val="accent1"/>
                </a:lnRef>
                <a:fillRef idx="0">
                  <a:schemeClr val="accent1"/>
                </a:fillRef>
                <a:effectRef idx="0">
                  <a:schemeClr val="accent1"/>
                </a:effectRef>
                <a:fontRef idx="minor">
                  <a:schemeClr val="tx1"/>
                </a:fontRef>
              </p:style>
            </p:cxnSp>
            <p:grpSp>
              <p:nvGrpSpPr>
                <p:cNvPr id="47" name="组合 46"/>
                <p:cNvGrpSpPr/>
                <p:nvPr/>
              </p:nvGrpSpPr>
              <p:grpSpPr>
                <a:xfrm>
                  <a:off x="1015825" y="2244495"/>
                  <a:ext cx="9739498" cy="3630094"/>
                  <a:chOff x="-1126342" y="2583124"/>
                  <a:chExt cx="9739498" cy="3630094"/>
                </a:xfrm>
              </p:grpSpPr>
              <p:cxnSp>
                <p:nvCxnSpPr>
                  <p:cNvPr id="50" name="直接连接符 49">
                    <a:extLst>
                      <a:ext uri="{FF2B5EF4-FFF2-40B4-BE49-F238E27FC236}">
                        <a16:creationId xmlns:a16="http://schemas.microsoft.com/office/drawing/2014/main" id="{11A6D17D-FCC1-4761-8331-9593F4A7D812}"/>
                      </a:ext>
                    </a:extLst>
                  </p:cNvPr>
                  <p:cNvCxnSpPr>
                    <a:endCxn id="66" idx="2"/>
                  </p:cNvCxnSpPr>
                  <p:nvPr/>
                </p:nvCxnSpPr>
                <p:spPr>
                  <a:xfrm flipV="1">
                    <a:off x="-379361" y="4008489"/>
                    <a:ext cx="1210525" cy="9460"/>
                  </a:xfrm>
                  <a:prstGeom prst="line">
                    <a:avLst/>
                  </a:prstGeom>
                  <a:ln w="152400" cap="rnd">
                    <a:solidFill>
                      <a:schemeClr val="tx1">
                        <a:lumMod val="20000"/>
                        <a:lumOff val="80000"/>
                      </a:schemeClr>
                    </a:solidFill>
                    <a:round/>
                    <a:tailEnd type="arrow" w="sm" len="sm"/>
                  </a:ln>
                </p:spPr>
                <p:style>
                  <a:lnRef idx="1">
                    <a:schemeClr val="accent1"/>
                  </a:lnRef>
                  <a:fillRef idx="0">
                    <a:schemeClr val="accent1"/>
                  </a:fillRef>
                  <a:effectRef idx="0">
                    <a:schemeClr val="accent1"/>
                  </a:effectRef>
                  <a:fontRef idx="minor">
                    <a:schemeClr val="tx1"/>
                  </a:fontRef>
                </p:style>
              </p:cxnSp>
              <p:grpSp>
                <p:nvGrpSpPr>
                  <p:cNvPr id="51" name="组合 50"/>
                  <p:cNvGrpSpPr/>
                  <p:nvPr/>
                </p:nvGrpSpPr>
                <p:grpSpPr>
                  <a:xfrm>
                    <a:off x="-1126342" y="2583124"/>
                    <a:ext cx="9739498" cy="3630094"/>
                    <a:chOff x="-1029746" y="3283341"/>
                    <a:chExt cx="9739498" cy="3630094"/>
                  </a:xfrm>
                </p:grpSpPr>
                <p:grpSp>
                  <p:nvGrpSpPr>
                    <p:cNvPr id="55" name="组合 54"/>
                    <p:cNvGrpSpPr/>
                    <p:nvPr/>
                  </p:nvGrpSpPr>
                  <p:grpSpPr>
                    <a:xfrm>
                      <a:off x="-1029746" y="3283341"/>
                      <a:ext cx="9739498" cy="3630094"/>
                      <a:chOff x="-1029746" y="3283341"/>
                      <a:chExt cx="9739498" cy="3630094"/>
                    </a:xfrm>
                  </p:grpSpPr>
                  <p:cxnSp>
                    <p:nvCxnSpPr>
                      <p:cNvPr id="57" name="直接连接符 56">
                        <a:extLst>
                          <a:ext uri="{FF2B5EF4-FFF2-40B4-BE49-F238E27FC236}">
                            <a16:creationId xmlns:a16="http://schemas.microsoft.com/office/drawing/2014/main" id="{1D65AEF2-392B-4502-8EB4-54BF09655759}"/>
                          </a:ext>
                        </a:extLst>
                      </p:cNvPr>
                      <p:cNvCxnSpPr>
                        <a:cxnSpLocks/>
                        <a:stCxn id="66" idx="4"/>
                        <a:endCxn id="67" idx="0"/>
                      </p:cNvCxnSpPr>
                      <p:nvPr/>
                    </p:nvCxnSpPr>
                    <p:spPr>
                      <a:xfrm flipH="1">
                        <a:off x="1281937" y="5070653"/>
                        <a:ext cx="7773" cy="1108845"/>
                      </a:xfrm>
                      <a:prstGeom prst="line">
                        <a:avLst/>
                      </a:prstGeom>
                      <a:ln w="152400" cap="rnd">
                        <a:solidFill>
                          <a:schemeClr val="tx1">
                            <a:lumMod val="20000"/>
                            <a:lumOff val="80000"/>
                          </a:schemeClr>
                        </a:solidFill>
                        <a:round/>
                        <a:tailEnd type="arrow" w="sm" len="sm"/>
                      </a:ln>
                    </p:spPr>
                    <p:style>
                      <a:lnRef idx="1">
                        <a:schemeClr val="accent1"/>
                      </a:lnRef>
                      <a:fillRef idx="0">
                        <a:schemeClr val="accent1"/>
                      </a:fillRef>
                      <a:effectRef idx="0">
                        <a:schemeClr val="accent1"/>
                      </a:effectRef>
                      <a:fontRef idx="minor">
                        <a:schemeClr val="tx1"/>
                      </a:fontRef>
                    </p:style>
                  </p:cxnSp>
                  <p:grpSp>
                    <p:nvGrpSpPr>
                      <p:cNvPr id="58" name="组合 57"/>
                      <p:cNvGrpSpPr/>
                      <p:nvPr/>
                    </p:nvGrpSpPr>
                    <p:grpSpPr>
                      <a:xfrm>
                        <a:off x="-1029746" y="3283341"/>
                        <a:ext cx="9739498" cy="3620051"/>
                        <a:chOff x="-1029746" y="3283341"/>
                        <a:chExt cx="9739498" cy="3620051"/>
                      </a:xfrm>
                    </p:grpSpPr>
                    <p:grpSp>
                      <p:nvGrpSpPr>
                        <p:cNvPr id="60" name="eb9ba11a-87f2-480a-92a1-33ab3fd45950"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p:cNvGrpSpPr>
                          <a:grpSpLocks noChangeAspect="1"/>
                        </p:cNvGrpSpPr>
                        <p:nvPr>
                          <p:custDataLst>
                            <p:tags r:id="rId1"/>
                          </p:custDataLst>
                        </p:nvPr>
                      </p:nvGrpSpPr>
                      <p:grpSpPr>
                        <a:xfrm>
                          <a:off x="-1029746" y="3283341"/>
                          <a:ext cx="9739498" cy="3620051"/>
                          <a:chOff x="-1029746" y="3283341"/>
                          <a:chExt cx="9739498" cy="3620051"/>
                        </a:xfrm>
                      </p:grpSpPr>
                      <p:grpSp>
                        <p:nvGrpSpPr>
                          <p:cNvPr id="62" name="í$ḻïḍe">
                            <a:extLst>
                              <a:ext uri="{FF2B5EF4-FFF2-40B4-BE49-F238E27FC236}">
                                <a16:creationId xmlns:a16="http://schemas.microsoft.com/office/drawing/2014/main" id="{D2B43229-8AF3-4CB7-8AD6-0BC57495054A}"/>
                              </a:ext>
                            </a:extLst>
                          </p:cNvPr>
                          <p:cNvGrpSpPr/>
                          <p:nvPr/>
                        </p:nvGrpSpPr>
                        <p:grpSpPr>
                          <a:xfrm>
                            <a:off x="3732231" y="3283341"/>
                            <a:ext cx="2657790" cy="818480"/>
                            <a:chOff x="669396" y="2672713"/>
                            <a:chExt cx="2657790" cy="818480"/>
                          </a:xfrm>
                        </p:grpSpPr>
                        <p:sp>
                          <p:nvSpPr>
                            <p:cNvPr id="71" name="ïṥļíḑé">
                              <a:extLst>
                                <a:ext uri="{FF2B5EF4-FFF2-40B4-BE49-F238E27FC236}">
                                  <a16:creationId xmlns:a16="http://schemas.microsoft.com/office/drawing/2014/main" id="{D3CEEF8B-96C4-416A-AED4-8116016B8025}"/>
                                </a:ext>
                              </a:extLst>
                            </p:cNvPr>
                            <p:cNvSpPr txBox="1"/>
                            <p:nvPr/>
                          </p:nvSpPr>
                          <p:spPr>
                            <a:xfrm>
                              <a:off x="669396" y="3131963"/>
                              <a:ext cx="1347923" cy="359230"/>
                            </a:xfrm>
                            <a:prstGeom prst="rect">
                              <a:avLst/>
                            </a:prstGeom>
                            <a:noFill/>
                          </p:spPr>
                          <p:txBody>
                            <a:bodyPr wrap="square" lIns="90000" tIns="46800" rIns="90000" bIns="46800" rtlCol="0">
                              <a:normAutofit/>
                            </a:bodyPr>
                            <a:lstStyle/>
                            <a:p>
                              <a:pPr>
                                <a:lnSpc>
                                  <a:spcPct val="120000"/>
                                </a:lnSpc>
                              </a:pPr>
                              <a:endParaRPr lang="en-US" altLang="zh-CN" sz="900" dirty="0"/>
                            </a:p>
                          </p:txBody>
                        </p:sp>
                        <p:sp>
                          <p:nvSpPr>
                            <p:cNvPr id="72" name="iśḷiḍê">
                              <a:extLst>
                                <a:ext uri="{FF2B5EF4-FFF2-40B4-BE49-F238E27FC236}">
                                  <a16:creationId xmlns:a16="http://schemas.microsoft.com/office/drawing/2014/main" id="{625C5F23-C6FE-4FED-A8A2-1922EFB1980B}"/>
                                </a:ext>
                              </a:extLst>
                            </p:cNvPr>
                            <p:cNvSpPr txBox="1"/>
                            <p:nvPr/>
                          </p:nvSpPr>
                          <p:spPr>
                            <a:xfrm>
                              <a:off x="986799" y="2672713"/>
                              <a:ext cx="2340387" cy="386940"/>
                            </a:xfrm>
                            <a:prstGeom prst="rect">
                              <a:avLst/>
                            </a:prstGeom>
                            <a:noFill/>
                          </p:spPr>
                          <p:txBody>
                            <a:bodyPr wrap="square" rtlCol="0" anchor="b">
                              <a:normAutofit/>
                            </a:bodyPr>
                            <a:lstStyle/>
                            <a:p>
                              <a:pPr lvl="0" defTabSz="914378">
                                <a:spcBef>
                                  <a:spcPct val="0"/>
                                </a:spcBef>
                                <a:defRPr/>
                              </a:pPr>
                              <a:r>
                                <a:rPr lang="zh-CN" altLang="en-US" b="1" dirty="0" smtClean="0">
                                  <a:solidFill>
                                    <a:srgbClr val="FFC000"/>
                                  </a:solidFill>
                                </a:rPr>
                                <a:t>人工检测换料结果</a:t>
                              </a:r>
                              <a:endParaRPr lang="zh-CN" altLang="en-US" b="1" dirty="0">
                                <a:solidFill>
                                  <a:srgbClr val="FFC000"/>
                                </a:solidFill>
                              </a:endParaRPr>
                            </a:p>
                          </p:txBody>
                        </p:sp>
                      </p:grpSp>
                      <p:cxnSp>
                        <p:nvCxnSpPr>
                          <p:cNvPr id="64" name="直接连接符 63">
                            <a:extLst>
                              <a:ext uri="{FF2B5EF4-FFF2-40B4-BE49-F238E27FC236}">
                                <a16:creationId xmlns:a16="http://schemas.microsoft.com/office/drawing/2014/main" id="{11A6D17D-FCC1-4761-8331-9593F4A7D812}"/>
                              </a:ext>
                            </a:extLst>
                          </p:cNvPr>
                          <p:cNvCxnSpPr>
                            <a:stCxn id="108" idx="6"/>
                            <a:endCxn id="68" idx="2"/>
                          </p:cNvCxnSpPr>
                          <p:nvPr/>
                        </p:nvCxnSpPr>
                        <p:spPr>
                          <a:xfrm>
                            <a:off x="5451633" y="4704981"/>
                            <a:ext cx="2534219" cy="0"/>
                          </a:xfrm>
                          <a:prstGeom prst="line">
                            <a:avLst/>
                          </a:prstGeom>
                          <a:ln w="152400" cap="rnd">
                            <a:solidFill>
                              <a:schemeClr val="tx1">
                                <a:lumMod val="20000"/>
                                <a:lumOff val="80000"/>
                              </a:schemeClr>
                            </a:solidFill>
                            <a:round/>
                            <a:tailEnd type="arrow" w="sm" len="sm"/>
                          </a:ln>
                        </p:spPr>
                        <p:style>
                          <a:lnRef idx="1">
                            <a:schemeClr val="accent1"/>
                          </a:lnRef>
                          <a:fillRef idx="0">
                            <a:schemeClr val="accent1"/>
                          </a:fillRef>
                          <a:effectRef idx="0">
                            <a:schemeClr val="accent1"/>
                          </a:effectRef>
                          <a:fontRef idx="minor">
                            <a:schemeClr val="tx1"/>
                          </a:fontRef>
                        </p:style>
                      </p:cxnSp>
                      <p:sp>
                        <p:nvSpPr>
                          <p:cNvPr id="68" name="i$ļïdê">
                            <a:extLst>
                              <a:ext uri="{FF2B5EF4-FFF2-40B4-BE49-F238E27FC236}">
                                <a16:creationId xmlns:a16="http://schemas.microsoft.com/office/drawing/2014/main" id="{89EDFFFD-99F9-44E3-A25B-751C26ACA19B}"/>
                              </a:ext>
                            </a:extLst>
                          </p:cNvPr>
                          <p:cNvSpPr/>
                          <p:nvPr/>
                        </p:nvSpPr>
                        <p:spPr>
                          <a:xfrm>
                            <a:off x="7985852" y="4343034"/>
                            <a:ext cx="723900" cy="723894"/>
                          </a:xfrm>
                          <a:prstGeom prst="ellipse">
                            <a:avLst/>
                          </a:prstGeom>
                          <a:solidFill>
                            <a:schemeClr val="accent3"/>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anchor="ctr">
                            <a:normAutofit/>
                          </a:bodyPr>
                          <a:lstStyle>
                            <a:defPPr>
                              <a:defRPr lang="zh-CN"/>
                            </a:defPPr>
                            <a:lvl1pPr marL="0" algn="l" defTabSz="914377" rtl="0" eaLnBrk="1" latinLnBrk="0" hangingPunct="1">
                              <a:defRPr sz="1800" kern="1200">
                                <a:solidFill>
                                  <a:schemeClr val="lt1"/>
                                </a:solidFill>
                              </a:defRPr>
                            </a:lvl1pPr>
                            <a:lvl2pPr marL="457189" algn="l" defTabSz="914377" rtl="0" eaLnBrk="1" latinLnBrk="0" hangingPunct="1">
                              <a:defRPr sz="1800" kern="1200">
                                <a:solidFill>
                                  <a:schemeClr val="lt1"/>
                                </a:solidFill>
                              </a:defRPr>
                            </a:lvl2pPr>
                            <a:lvl3pPr marL="914377" algn="l" defTabSz="914377" rtl="0" eaLnBrk="1" latinLnBrk="0" hangingPunct="1">
                              <a:defRPr sz="1800" kern="1200">
                                <a:solidFill>
                                  <a:schemeClr val="lt1"/>
                                </a:solidFill>
                              </a:defRPr>
                            </a:lvl3pPr>
                            <a:lvl4pPr marL="1371566" algn="l" defTabSz="914377" rtl="0" eaLnBrk="1" latinLnBrk="0" hangingPunct="1">
                              <a:defRPr sz="1800" kern="1200">
                                <a:solidFill>
                                  <a:schemeClr val="lt1"/>
                                </a:solidFill>
                              </a:defRPr>
                            </a:lvl4pPr>
                            <a:lvl5pPr marL="1828754" algn="l" defTabSz="914377" rtl="0" eaLnBrk="1" latinLnBrk="0" hangingPunct="1">
                              <a:defRPr sz="1800" kern="1200">
                                <a:solidFill>
                                  <a:schemeClr val="lt1"/>
                                </a:solidFill>
                              </a:defRPr>
                            </a:lvl5pPr>
                            <a:lvl6pPr marL="2285943" algn="l" defTabSz="914377" rtl="0" eaLnBrk="1" latinLnBrk="0" hangingPunct="1">
                              <a:defRPr sz="1800" kern="1200">
                                <a:solidFill>
                                  <a:schemeClr val="lt1"/>
                                </a:solidFill>
                              </a:defRPr>
                            </a:lvl6pPr>
                            <a:lvl7pPr marL="2743131" algn="l" defTabSz="914377" rtl="0" eaLnBrk="1" latinLnBrk="0" hangingPunct="1">
                              <a:defRPr sz="1800" kern="1200">
                                <a:solidFill>
                                  <a:schemeClr val="lt1"/>
                                </a:solidFill>
                              </a:defRPr>
                            </a:lvl7pPr>
                            <a:lvl8pPr marL="3200320" algn="l" defTabSz="914377" rtl="0" eaLnBrk="1" latinLnBrk="0" hangingPunct="1">
                              <a:defRPr sz="1800" kern="1200">
                                <a:solidFill>
                                  <a:schemeClr val="lt1"/>
                                </a:solidFill>
                              </a:defRPr>
                            </a:lvl8pPr>
                            <a:lvl9pPr marL="3657509" algn="l" defTabSz="914377" rtl="0" eaLnBrk="1" latinLnBrk="0" hangingPunct="1">
                              <a:defRPr sz="1800" kern="1200">
                                <a:solidFill>
                                  <a:schemeClr val="lt1"/>
                                </a:solidFill>
                              </a:defRPr>
                            </a:lvl9pPr>
                          </a:lstStyle>
                          <a:p>
                            <a:pPr algn="ctr"/>
                            <a:r>
                              <a:rPr lang="zh-CN" altLang="en-US" dirty="0" smtClean="0">
                                <a:latin typeface="Impact" panose="020B0806030902050204" pitchFamily="34" charset="0"/>
                              </a:rPr>
                              <a:t>成功</a:t>
                            </a:r>
                            <a:endParaRPr dirty="0">
                              <a:latin typeface="Impact" panose="020B0806030902050204" pitchFamily="34" charset="0"/>
                            </a:endParaRPr>
                          </a:p>
                        </p:txBody>
                      </p:sp>
                      <p:sp>
                        <p:nvSpPr>
                          <p:cNvPr id="69" name="îśľíḑê">
                            <a:extLst>
                              <a:ext uri="{FF2B5EF4-FFF2-40B4-BE49-F238E27FC236}">
                                <a16:creationId xmlns:a16="http://schemas.microsoft.com/office/drawing/2014/main" id="{8A71189F-8904-4951-B4FC-381094B54451}"/>
                              </a:ext>
                            </a:extLst>
                          </p:cNvPr>
                          <p:cNvSpPr txBox="1"/>
                          <p:nvPr/>
                        </p:nvSpPr>
                        <p:spPr>
                          <a:xfrm>
                            <a:off x="-1029746" y="3896921"/>
                            <a:ext cx="1352243" cy="403229"/>
                          </a:xfrm>
                          <a:prstGeom prst="rect">
                            <a:avLst/>
                          </a:prstGeom>
                          <a:noFill/>
                        </p:spPr>
                        <p:txBody>
                          <a:bodyPr wrap="square" rtlCol="0" anchor="b">
                            <a:normAutofit/>
                          </a:bodyPr>
                          <a:lstStyle/>
                          <a:p>
                            <a:pPr lvl="0" defTabSz="914378">
                              <a:spcBef>
                                <a:spcPct val="0"/>
                              </a:spcBef>
                              <a:defRPr/>
                            </a:pPr>
                            <a:r>
                              <a:rPr lang="zh-CN" altLang="en-US" b="1" dirty="0" smtClean="0">
                                <a:solidFill>
                                  <a:schemeClr val="accent1"/>
                                </a:solidFill>
                              </a:rPr>
                              <a:t>取下旧料盘</a:t>
                            </a:r>
                            <a:endParaRPr lang="zh-CN" altLang="en-US" b="1" dirty="0">
                              <a:solidFill>
                                <a:schemeClr val="accent1"/>
                              </a:solidFill>
                            </a:endParaRPr>
                          </a:p>
                        </p:txBody>
                      </p:sp>
                      <p:sp>
                        <p:nvSpPr>
                          <p:cNvPr id="67" name="îṩlíďê">
                            <a:extLst>
                              <a:ext uri="{FF2B5EF4-FFF2-40B4-BE49-F238E27FC236}">
                                <a16:creationId xmlns:a16="http://schemas.microsoft.com/office/drawing/2014/main" id="{02FACDCD-811C-4398-BD9C-160DE312E8E2}"/>
                              </a:ext>
                            </a:extLst>
                          </p:cNvPr>
                          <p:cNvSpPr/>
                          <p:nvPr/>
                        </p:nvSpPr>
                        <p:spPr>
                          <a:xfrm>
                            <a:off x="919987" y="6179498"/>
                            <a:ext cx="723900" cy="723894"/>
                          </a:xfrm>
                          <a:prstGeom prst="ellipse">
                            <a:avLst/>
                          </a:prstGeom>
                          <a:solidFill>
                            <a:srgbClr val="00B0F0"/>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anchor="ctr">
                            <a:normAutofit/>
                          </a:bodyPr>
                          <a:lstStyle>
                            <a:defPPr>
                              <a:defRPr lang="zh-CN"/>
                            </a:defPPr>
                            <a:lvl1pPr marL="0" algn="l" defTabSz="914377" rtl="0" eaLnBrk="1" latinLnBrk="0" hangingPunct="1">
                              <a:defRPr sz="1800" kern="1200">
                                <a:solidFill>
                                  <a:schemeClr val="lt1"/>
                                </a:solidFill>
                              </a:defRPr>
                            </a:lvl1pPr>
                            <a:lvl2pPr marL="457189" algn="l" defTabSz="914377" rtl="0" eaLnBrk="1" latinLnBrk="0" hangingPunct="1">
                              <a:defRPr sz="1800" kern="1200">
                                <a:solidFill>
                                  <a:schemeClr val="lt1"/>
                                </a:solidFill>
                              </a:defRPr>
                            </a:lvl2pPr>
                            <a:lvl3pPr marL="914377" algn="l" defTabSz="914377" rtl="0" eaLnBrk="1" latinLnBrk="0" hangingPunct="1">
                              <a:defRPr sz="1800" kern="1200">
                                <a:solidFill>
                                  <a:schemeClr val="lt1"/>
                                </a:solidFill>
                              </a:defRPr>
                            </a:lvl3pPr>
                            <a:lvl4pPr marL="1371566" algn="l" defTabSz="914377" rtl="0" eaLnBrk="1" latinLnBrk="0" hangingPunct="1">
                              <a:defRPr sz="1800" kern="1200">
                                <a:solidFill>
                                  <a:schemeClr val="lt1"/>
                                </a:solidFill>
                              </a:defRPr>
                            </a:lvl4pPr>
                            <a:lvl5pPr marL="1828754" algn="l" defTabSz="914377" rtl="0" eaLnBrk="1" latinLnBrk="0" hangingPunct="1">
                              <a:defRPr sz="1800" kern="1200">
                                <a:solidFill>
                                  <a:schemeClr val="lt1"/>
                                </a:solidFill>
                              </a:defRPr>
                            </a:lvl5pPr>
                            <a:lvl6pPr marL="2285943" algn="l" defTabSz="914377" rtl="0" eaLnBrk="1" latinLnBrk="0" hangingPunct="1">
                              <a:defRPr sz="1800" kern="1200">
                                <a:solidFill>
                                  <a:schemeClr val="lt1"/>
                                </a:solidFill>
                              </a:defRPr>
                            </a:lvl6pPr>
                            <a:lvl7pPr marL="2743131" algn="l" defTabSz="914377" rtl="0" eaLnBrk="1" latinLnBrk="0" hangingPunct="1">
                              <a:defRPr sz="1800" kern="1200">
                                <a:solidFill>
                                  <a:schemeClr val="lt1"/>
                                </a:solidFill>
                              </a:defRPr>
                            </a:lvl7pPr>
                            <a:lvl8pPr marL="3200320" algn="l" defTabSz="914377" rtl="0" eaLnBrk="1" latinLnBrk="0" hangingPunct="1">
                              <a:defRPr sz="1800" kern="1200">
                                <a:solidFill>
                                  <a:schemeClr val="lt1"/>
                                </a:solidFill>
                              </a:defRPr>
                            </a:lvl8pPr>
                            <a:lvl9pPr marL="3657509" algn="l" defTabSz="914377" rtl="0" eaLnBrk="1" latinLnBrk="0" hangingPunct="1">
                              <a:defRPr sz="1800" kern="1200">
                                <a:solidFill>
                                  <a:schemeClr val="lt1"/>
                                </a:solidFill>
                              </a:defRPr>
                            </a:lvl9pPr>
                          </a:lstStyle>
                          <a:p>
                            <a:pPr algn="ctr"/>
                            <a:r>
                              <a:rPr lang="zh-CN" altLang="en-US" dirty="0" smtClean="0">
                                <a:latin typeface="Impact" panose="020B0806030902050204" pitchFamily="34" charset="0"/>
                              </a:rPr>
                              <a:t>站位</a:t>
                            </a:r>
                            <a:endParaRPr dirty="0">
                              <a:latin typeface="Impact" panose="020B0806030902050204" pitchFamily="34" charset="0"/>
                            </a:endParaRPr>
                          </a:p>
                        </p:txBody>
                      </p:sp>
                      <p:sp>
                        <p:nvSpPr>
                          <p:cNvPr id="66" name="î$líḑê">
                            <a:extLst>
                              <a:ext uri="{FF2B5EF4-FFF2-40B4-BE49-F238E27FC236}">
                                <a16:creationId xmlns:a16="http://schemas.microsoft.com/office/drawing/2014/main" id="{192B4765-9F3F-4759-83F7-8FB6386A1E20}"/>
                              </a:ext>
                            </a:extLst>
                          </p:cNvPr>
                          <p:cNvSpPr/>
                          <p:nvPr/>
                        </p:nvSpPr>
                        <p:spPr>
                          <a:xfrm>
                            <a:off x="927760" y="4346759"/>
                            <a:ext cx="723900" cy="723894"/>
                          </a:xfrm>
                          <a:prstGeom prst="ellipse">
                            <a:avLst/>
                          </a:prstGeom>
                          <a:solidFill>
                            <a:schemeClr val="accent1"/>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anchor="ctr">
                            <a:normAutofit/>
                          </a:bodyPr>
                          <a:lstStyle>
                            <a:defPPr>
                              <a:defRPr lang="zh-CN"/>
                            </a:defPPr>
                            <a:lvl1pPr marL="0" algn="l" defTabSz="914377" rtl="0" eaLnBrk="1" latinLnBrk="0" hangingPunct="1">
                              <a:defRPr sz="1800" kern="1200">
                                <a:solidFill>
                                  <a:schemeClr val="lt1"/>
                                </a:solidFill>
                              </a:defRPr>
                            </a:lvl1pPr>
                            <a:lvl2pPr marL="457189" algn="l" defTabSz="914377" rtl="0" eaLnBrk="1" latinLnBrk="0" hangingPunct="1">
                              <a:defRPr sz="1800" kern="1200">
                                <a:solidFill>
                                  <a:schemeClr val="lt1"/>
                                </a:solidFill>
                              </a:defRPr>
                            </a:lvl2pPr>
                            <a:lvl3pPr marL="914377" algn="l" defTabSz="914377" rtl="0" eaLnBrk="1" latinLnBrk="0" hangingPunct="1">
                              <a:defRPr sz="1800" kern="1200">
                                <a:solidFill>
                                  <a:schemeClr val="lt1"/>
                                </a:solidFill>
                              </a:defRPr>
                            </a:lvl3pPr>
                            <a:lvl4pPr marL="1371566" algn="l" defTabSz="914377" rtl="0" eaLnBrk="1" latinLnBrk="0" hangingPunct="1">
                              <a:defRPr sz="1800" kern="1200">
                                <a:solidFill>
                                  <a:schemeClr val="lt1"/>
                                </a:solidFill>
                              </a:defRPr>
                            </a:lvl4pPr>
                            <a:lvl5pPr marL="1828754" algn="l" defTabSz="914377" rtl="0" eaLnBrk="1" latinLnBrk="0" hangingPunct="1">
                              <a:defRPr sz="1800" kern="1200">
                                <a:solidFill>
                                  <a:schemeClr val="lt1"/>
                                </a:solidFill>
                              </a:defRPr>
                            </a:lvl5pPr>
                            <a:lvl6pPr marL="2285943" algn="l" defTabSz="914377" rtl="0" eaLnBrk="1" latinLnBrk="0" hangingPunct="1">
                              <a:defRPr sz="1800" kern="1200">
                                <a:solidFill>
                                  <a:schemeClr val="lt1"/>
                                </a:solidFill>
                              </a:defRPr>
                            </a:lvl6pPr>
                            <a:lvl7pPr marL="2743131" algn="l" defTabSz="914377" rtl="0" eaLnBrk="1" latinLnBrk="0" hangingPunct="1">
                              <a:defRPr sz="1800" kern="1200">
                                <a:solidFill>
                                  <a:schemeClr val="lt1"/>
                                </a:solidFill>
                              </a:defRPr>
                            </a:lvl7pPr>
                            <a:lvl8pPr marL="3200320" algn="l" defTabSz="914377" rtl="0" eaLnBrk="1" latinLnBrk="0" hangingPunct="1">
                              <a:defRPr sz="1800" kern="1200">
                                <a:solidFill>
                                  <a:schemeClr val="lt1"/>
                                </a:solidFill>
                              </a:defRPr>
                            </a:lvl8pPr>
                            <a:lvl9pPr marL="3657509" algn="l" defTabSz="914377" rtl="0" eaLnBrk="1" latinLnBrk="0" hangingPunct="1">
                              <a:defRPr sz="1800" kern="1200">
                                <a:solidFill>
                                  <a:schemeClr val="lt1"/>
                                </a:solidFill>
                              </a:defRPr>
                            </a:lvl9pPr>
                          </a:lstStyle>
                          <a:p>
                            <a:pPr algn="ctr"/>
                            <a:r>
                              <a:rPr lang="zh-CN" altLang="en-US" b="1" dirty="0" smtClean="0">
                                <a:latin typeface="Impact" panose="020B0806030902050204" pitchFamily="34" charset="0"/>
                              </a:rPr>
                              <a:t>新料盘</a:t>
                            </a:r>
                            <a:endParaRPr b="1" dirty="0">
                              <a:latin typeface="Impact" panose="020B0806030902050204" pitchFamily="34" charset="0"/>
                            </a:endParaRPr>
                          </a:p>
                        </p:txBody>
                      </p:sp>
                    </p:grpSp>
                    <p:sp>
                      <p:nvSpPr>
                        <p:cNvPr id="61" name="矩形 60"/>
                        <p:cNvSpPr/>
                        <p:nvPr/>
                      </p:nvSpPr>
                      <p:spPr>
                        <a:xfrm>
                          <a:off x="4107642" y="3649011"/>
                          <a:ext cx="2520302" cy="738664"/>
                        </a:xfrm>
                        <a:prstGeom prst="rect">
                          <a:avLst/>
                        </a:prstGeom>
                      </p:spPr>
                      <p:txBody>
                        <a:bodyPr wrap="square">
                          <a:spAutoFit/>
                        </a:bodyPr>
                        <a:lstStyle/>
                        <a:p>
                          <a:pPr marL="171450" indent="-171450">
                            <a:buFont typeface="Arial" panose="020B0604020202020204" pitchFamily="34" charset="0"/>
                            <a:buChar char="•"/>
                          </a:pPr>
                          <a:r>
                            <a:rPr lang="zh-CN" altLang="en-US" sz="1400" dirty="0"/>
                            <a:t>人员对比效率低</a:t>
                          </a:r>
                        </a:p>
                        <a:p>
                          <a:pPr marL="171450" indent="-171450">
                            <a:buFont typeface="Arial" panose="020B0604020202020204" pitchFamily="34" charset="0"/>
                            <a:buChar char="•"/>
                          </a:pPr>
                          <a:r>
                            <a:rPr lang="zh-CN" altLang="en-US" sz="1400" dirty="0"/>
                            <a:t>料号的相似度高容易导致对比结果出错</a:t>
                          </a:r>
                        </a:p>
                      </p:txBody>
                    </p:sp>
                  </p:grpSp>
                  <p:sp>
                    <p:nvSpPr>
                      <p:cNvPr id="59" name="îṩlíďê">
                        <a:extLst>
                          <a:ext uri="{FF2B5EF4-FFF2-40B4-BE49-F238E27FC236}">
                            <a16:creationId xmlns:a16="http://schemas.microsoft.com/office/drawing/2014/main" id="{02FACDCD-811C-4398-BD9C-160DE312E8E2}"/>
                          </a:ext>
                        </a:extLst>
                      </p:cNvPr>
                      <p:cNvSpPr/>
                      <p:nvPr/>
                    </p:nvSpPr>
                    <p:spPr>
                      <a:xfrm>
                        <a:off x="2820268" y="6189541"/>
                        <a:ext cx="723900" cy="723894"/>
                      </a:xfrm>
                      <a:prstGeom prst="ellipse">
                        <a:avLst/>
                      </a:prstGeom>
                      <a:solidFill>
                        <a:srgbClr val="00B0F0"/>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anchor="ctr">
                        <a:normAutofit/>
                      </a:bodyPr>
                      <a:lstStyle>
                        <a:defPPr>
                          <a:defRPr lang="zh-CN"/>
                        </a:defPPr>
                        <a:lvl1pPr marL="0" algn="l" defTabSz="914377" rtl="0" eaLnBrk="1" latinLnBrk="0" hangingPunct="1">
                          <a:defRPr sz="1800" kern="1200">
                            <a:solidFill>
                              <a:schemeClr val="lt1"/>
                            </a:solidFill>
                          </a:defRPr>
                        </a:lvl1pPr>
                        <a:lvl2pPr marL="457189" algn="l" defTabSz="914377" rtl="0" eaLnBrk="1" latinLnBrk="0" hangingPunct="1">
                          <a:defRPr sz="1800" kern="1200">
                            <a:solidFill>
                              <a:schemeClr val="lt1"/>
                            </a:solidFill>
                          </a:defRPr>
                        </a:lvl2pPr>
                        <a:lvl3pPr marL="914377" algn="l" defTabSz="914377" rtl="0" eaLnBrk="1" latinLnBrk="0" hangingPunct="1">
                          <a:defRPr sz="1800" kern="1200">
                            <a:solidFill>
                              <a:schemeClr val="lt1"/>
                            </a:solidFill>
                          </a:defRPr>
                        </a:lvl3pPr>
                        <a:lvl4pPr marL="1371566" algn="l" defTabSz="914377" rtl="0" eaLnBrk="1" latinLnBrk="0" hangingPunct="1">
                          <a:defRPr sz="1800" kern="1200">
                            <a:solidFill>
                              <a:schemeClr val="lt1"/>
                            </a:solidFill>
                          </a:defRPr>
                        </a:lvl4pPr>
                        <a:lvl5pPr marL="1828754" algn="l" defTabSz="914377" rtl="0" eaLnBrk="1" latinLnBrk="0" hangingPunct="1">
                          <a:defRPr sz="1800" kern="1200">
                            <a:solidFill>
                              <a:schemeClr val="lt1"/>
                            </a:solidFill>
                          </a:defRPr>
                        </a:lvl5pPr>
                        <a:lvl6pPr marL="2285943" algn="l" defTabSz="914377" rtl="0" eaLnBrk="1" latinLnBrk="0" hangingPunct="1">
                          <a:defRPr sz="1800" kern="1200">
                            <a:solidFill>
                              <a:schemeClr val="lt1"/>
                            </a:solidFill>
                          </a:defRPr>
                        </a:lvl6pPr>
                        <a:lvl7pPr marL="2743131" algn="l" defTabSz="914377" rtl="0" eaLnBrk="1" latinLnBrk="0" hangingPunct="1">
                          <a:defRPr sz="1800" kern="1200">
                            <a:solidFill>
                              <a:schemeClr val="lt1"/>
                            </a:solidFill>
                          </a:defRPr>
                        </a:lvl7pPr>
                        <a:lvl8pPr marL="3200320" algn="l" defTabSz="914377" rtl="0" eaLnBrk="1" latinLnBrk="0" hangingPunct="1">
                          <a:defRPr sz="1800" kern="1200">
                            <a:solidFill>
                              <a:schemeClr val="lt1"/>
                            </a:solidFill>
                          </a:defRPr>
                        </a:lvl8pPr>
                        <a:lvl9pPr marL="3657509" algn="l" defTabSz="914377" rtl="0" eaLnBrk="1" latinLnBrk="0" hangingPunct="1">
                          <a:defRPr sz="1800" kern="1200">
                            <a:solidFill>
                              <a:schemeClr val="lt1"/>
                            </a:solidFill>
                          </a:defRPr>
                        </a:lvl9pPr>
                      </a:lstStyle>
                      <a:p>
                        <a:pPr algn="ctr"/>
                        <a:r>
                          <a:rPr lang="zh-CN" altLang="en-US" dirty="0" smtClean="0">
                            <a:latin typeface="Impact" panose="020B0806030902050204" pitchFamily="34" charset="0"/>
                          </a:rPr>
                          <a:t>旧料盘</a:t>
                        </a:r>
                        <a:endParaRPr dirty="0">
                          <a:latin typeface="Impact" panose="020B0806030902050204" pitchFamily="34" charset="0"/>
                        </a:endParaRPr>
                      </a:p>
                    </p:txBody>
                  </p:sp>
                </p:grpSp>
                <p:sp>
                  <p:nvSpPr>
                    <p:cNvPr id="56" name="x-mark_1766"/>
                    <p:cNvSpPr>
                      <a:spLocks noChangeAspect="1"/>
                    </p:cNvSpPr>
                    <p:nvPr/>
                  </p:nvSpPr>
                  <p:spPr bwMode="auto">
                    <a:xfrm>
                      <a:off x="2884854" y="4407309"/>
                      <a:ext cx="609685" cy="608636"/>
                    </a:xfrm>
                    <a:custGeom>
                      <a:avLst/>
                      <a:gdLst>
                        <a:gd name="T0" fmla="*/ 373 w 373"/>
                        <a:gd name="T1" fmla="*/ 299 h 373"/>
                        <a:gd name="T2" fmla="*/ 261 w 373"/>
                        <a:gd name="T3" fmla="*/ 187 h 373"/>
                        <a:gd name="T4" fmla="*/ 373 w 373"/>
                        <a:gd name="T5" fmla="*/ 75 h 373"/>
                        <a:gd name="T6" fmla="*/ 299 w 373"/>
                        <a:gd name="T7" fmla="*/ 0 h 373"/>
                        <a:gd name="T8" fmla="*/ 187 w 373"/>
                        <a:gd name="T9" fmla="*/ 112 h 373"/>
                        <a:gd name="T10" fmla="*/ 75 w 373"/>
                        <a:gd name="T11" fmla="*/ 0 h 373"/>
                        <a:gd name="T12" fmla="*/ 0 w 373"/>
                        <a:gd name="T13" fmla="*/ 75 h 373"/>
                        <a:gd name="T14" fmla="*/ 112 w 373"/>
                        <a:gd name="T15" fmla="*/ 187 h 373"/>
                        <a:gd name="T16" fmla="*/ 0 w 373"/>
                        <a:gd name="T17" fmla="*/ 299 h 373"/>
                        <a:gd name="T18" fmla="*/ 75 w 373"/>
                        <a:gd name="T19" fmla="*/ 373 h 373"/>
                        <a:gd name="T20" fmla="*/ 187 w 373"/>
                        <a:gd name="T21" fmla="*/ 261 h 373"/>
                        <a:gd name="T22" fmla="*/ 299 w 373"/>
                        <a:gd name="T23" fmla="*/ 373 h 373"/>
                        <a:gd name="T24" fmla="*/ 373 w 373"/>
                        <a:gd name="T25" fmla="*/ 299 h 3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73" h="373">
                          <a:moveTo>
                            <a:pt x="373" y="299"/>
                          </a:moveTo>
                          <a:lnTo>
                            <a:pt x="261" y="187"/>
                          </a:lnTo>
                          <a:lnTo>
                            <a:pt x="373" y="75"/>
                          </a:lnTo>
                          <a:lnTo>
                            <a:pt x="299" y="0"/>
                          </a:lnTo>
                          <a:lnTo>
                            <a:pt x="187" y="112"/>
                          </a:lnTo>
                          <a:lnTo>
                            <a:pt x="75" y="0"/>
                          </a:lnTo>
                          <a:lnTo>
                            <a:pt x="0" y="75"/>
                          </a:lnTo>
                          <a:lnTo>
                            <a:pt x="112" y="187"/>
                          </a:lnTo>
                          <a:lnTo>
                            <a:pt x="0" y="299"/>
                          </a:lnTo>
                          <a:lnTo>
                            <a:pt x="75" y="373"/>
                          </a:lnTo>
                          <a:lnTo>
                            <a:pt x="187" y="261"/>
                          </a:lnTo>
                          <a:lnTo>
                            <a:pt x="299" y="373"/>
                          </a:lnTo>
                          <a:lnTo>
                            <a:pt x="373" y="299"/>
                          </a:lnTo>
                          <a:close/>
                        </a:path>
                      </a:pathLst>
                    </a:custGeom>
                    <a:solidFill>
                      <a:srgbClr val="FF0000"/>
                    </a:solidFill>
                    <a:ln>
                      <a:noFill/>
                    </a:ln>
                  </p:spPr>
                </p:sp>
              </p:grpSp>
              <p:sp>
                <p:nvSpPr>
                  <p:cNvPr id="52" name="î$líḑê">
                    <a:extLst>
                      <a:ext uri="{FF2B5EF4-FFF2-40B4-BE49-F238E27FC236}">
                        <a16:creationId xmlns:a16="http://schemas.microsoft.com/office/drawing/2014/main" id="{192B4765-9F3F-4759-83F7-8FB6386A1E20}"/>
                      </a:ext>
                    </a:extLst>
                  </p:cNvPr>
                  <p:cNvSpPr/>
                  <p:nvPr/>
                </p:nvSpPr>
                <p:spPr>
                  <a:xfrm>
                    <a:off x="-841796" y="3642817"/>
                    <a:ext cx="723900" cy="723894"/>
                  </a:xfrm>
                  <a:prstGeom prst="ellipse">
                    <a:avLst/>
                  </a:prstGeom>
                  <a:solidFill>
                    <a:schemeClr val="accent1"/>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anchor="ctr">
                    <a:normAutofit/>
                  </a:bodyPr>
                  <a:lstStyle>
                    <a:defPPr>
                      <a:defRPr lang="zh-CN"/>
                    </a:defPPr>
                    <a:lvl1pPr marL="0" algn="l" defTabSz="914377" rtl="0" eaLnBrk="1" latinLnBrk="0" hangingPunct="1">
                      <a:defRPr sz="1800" kern="1200">
                        <a:solidFill>
                          <a:schemeClr val="lt1"/>
                        </a:solidFill>
                      </a:defRPr>
                    </a:lvl1pPr>
                    <a:lvl2pPr marL="457189" algn="l" defTabSz="914377" rtl="0" eaLnBrk="1" latinLnBrk="0" hangingPunct="1">
                      <a:defRPr sz="1800" kern="1200">
                        <a:solidFill>
                          <a:schemeClr val="lt1"/>
                        </a:solidFill>
                      </a:defRPr>
                    </a:lvl2pPr>
                    <a:lvl3pPr marL="914377" algn="l" defTabSz="914377" rtl="0" eaLnBrk="1" latinLnBrk="0" hangingPunct="1">
                      <a:defRPr sz="1800" kern="1200">
                        <a:solidFill>
                          <a:schemeClr val="lt1"/>
                        </a:solidFill>
                      </a:defRPr>
                    </a:lvl3pPr>
                    <a:lvl4pPr marL="1371566" algn="l" defTabSz="914377" rtl="0" eaLnBrk="1" latinLnBrk="0" hangingPunct="1">
                      <a:defRPr sz="1800" kern="1200">
                        <a:solidFill>
                          <a:schemeClr val="lt1"/>
                        </a:solidFill>
                      </a:defRPr>
                    </a:lvl4pPr>
                    <a:lvl5pPr marL="1828754" algn="l" defTabSz="914377" rtl="0" eaLnBrk="1" latinLnBrk="0" hangingPunct="1">
                      <a:defRPr sz="1800" kern="1200">
                        <a:solidFill>
                          <a:schemeClr val="lt1"/>
                        </a:solidFill>
                      </a:defRPr>
                    </a:lvl5pPr>
                    <a:lvl6pPr marL="2285943" algn="l" defTabSz="914377" rtl="0" eaLnBrk="1" latinLnBrk="0" hangingPunct="1">
                      <a:defRPr sz="1800" kern="1200">
                        <a:solidFill>
                          <a:schemeClr val="lt1"/>
                        </a:solidFill>
                      </a:defRPr>
                    </a:lvl6pPr>
                    <a:lvl7pPr marL="2743131" algn="l" defTabSz="914377" rtl="0" eaLnBrk="1" latinLnBrk="0" hangingPunct="1">
                      <a:defRPr sz="1800" kern="1200">
                        <a:solidFill>
                          <a:schemeClr val="lt1"/>
                        </a:solidFill>
                      </a:defRPr>
                    </a:lvl7pPr>
                    <a:lvl8pPr marL="3200320" algn="l" defTabSz="914377" rtl="0" eaLnBrk="1" latinLnBrk="0" hangingPunct="1">
                      <a:defRPr sz="1800" kern="1200">
                        <a:solidFill>
                          <a:schemeClr val="lt1"/>
                        </a:solidFill>
                      </a:defRPr>
                    </a:lvl8pPr>
                    <a:lvl9pPr marL="3657509" algn="l" defTabSz="914377" rtl="0" eaLnBrk="1" latinLnBrk="0" hangingPunct="1">
                      <a:defRPr sz="1800" kern="1200">
                        <a:solidFill>
                          <a:schemeClr val="lt1"/>
                        </a:solidFill>
                      </a:defRPr>
                    </a:lvl9pPr>
                  </a:lstStyle>
                  <a:p>
                    <a:pPr algn="ctr"/>
                    <a:r>
                      <a:rPr lang="zh-CN" altLang="en-US" dirty="0" smtClean="0">
                        <a:latin typeface="Impact" panose="020B0806030902050204" pitchFamily="34" charset="0"/>
                      </a:rPr>
                      <a:t>旧料盘</a:t>
                    </a:r>
                    <a:endParaRPr dirty="0">
                      <a:latin typeface="Impact" panose="020B0806030902050204" pitchFamily="34" charset="0"/>
                    </a:endParaRPr>
                  </a:p>
                </p:txBody>
              </p:sp>
            </p:grpSp>
            <p:cxnSp>
              <p:nvCxnSpPr>
                <p:cNvPr id="82" name="直接连接符 81">
                  <a:extLst>
                    <a:ext uri="{FF2B5EF4-FFF2-40B4-BE49-F238E27FC236}">
                      <a16:creationId xmlns:a16="http://schemas.microsoft.com/office/drawing/2014/main" id="{11A6D17D-FCC1-4761-8331-9593F4A7D812}"/>
                    </a:ext>
                  </a:extLst>
                </p:cNvPr>
                <p:cNvCxnSpPr>
                  <a:stCxn id="160" idx="6"/>
                  <a:endCxn id="81" idx="2"/>
                </p:cNvCxnSpPr>
                <p:nvPr/>
              </p:nvCxnSpPr>
              <p:spPr>
                <a:xfrm flipV="1">
                  <a:off x="8926020" y="5502599"/>
                  <a:ext cx="1105403" cy="13885"/>
                </a:xfrm>
                <a:prstGeom prst="line">
                  <a:avLst/>
                </a:prstGeom>
                <a:ln w="152400" cap="rnd">
                  <a:solidFill>
                    <a:schemeClr val="tx1">
                      <a:lumMod val="20000"/>
                      <a:lumOff val="80000"/>
                    </a:schemeClr>
                  </a:solidFill>
                  <a:round/>
                  <a:tailEnd type="arrow" w="sm" len="sm"/>
                </a:ln>
              </p:spPr>
              <p:style>
                <a:lnRef idx="1">
                  <a:schemeClr val="accent1"/>
                </a:lnRef>
                <a:fillRef idx="0">
                  <a:schemeClr val="accent1"/>
                </a:fillRef>
                <a:effectRef idx="0">
                  <a:schemeClr val="accent1"/>
                </a:effectRef>
                <a:fontRef idx="minor">
                  <a:schemeClr val="tx1"/>
                </a:fontRef>
              </p:style>
            </p:cxnSp>
            <p:cxnSp>
              <p:nvCxnSpPr>
                <p:cNvPr id="105" name="直接连接符 104">
                  <a:extLst>
                    <a:ext uri="{FF2B5EF4-FFF2-40B4-BE49-F238E27FC236}">
                      <a16:creationId xmlns:a16="http://schemas.microsoft.com/office/drawing/2014/main" id="{1D65AEF2-392B-4502-8EB4-54BF09655759}"/>
                    </a:ext>
                  </a:extLst>
                </p:cNvPr>
                <p:cNvCxnSpPr>
                  <a:cxnSpLocks/>
                  <a:stCxn id="81" idx="0"/>
                  <a:endCxn id="68" idx="4"/>
                </p:cNvCxnSpPr>
                <p:nvPr/>
              </p:nvCxnSpPr>
              <p:spPr>
                <a:xfrm flipV="1">
                  <a:off x="10393373" y="4028082"/>
                  <a:ext cx="0" cy="1112570"/>
                </a:xfrm>
                <a:prstGeom prst="line">
                  <a:avLst/>
                </a:prstGeom>
                <a:ln w="152400" cap="rnd">
                  <a:solidFill>
                    <a:schemeClr val="tx1">
                      <a:lumMod val="20000"/>
                      <a:lumOff val="80000"/>
                    </a:schemeClr>
                  </a:solidFill>
                  <a:round/>
                  <a:tailEnd type="arrow" w="sm" len="sm"/>
                </a:ln>
              </p:spPr>
              <p:style>
                <a:lnRef idx="1">
                  <a:schemeClr val="accent1"/>
                </a:lnRef>
                <a:fillRef idx="0">
                  <a:schemeClr val="accent1"/>
                </a:fillRef>
                <a:effectRef idx="0">
                  <a:schemeClr val="accent1"/>
                </a:effectRef>
                <a:fontRef idx="minor">
                  <a:schemeClr val="tx1"/>
                </a:fontRef>
              </p:style>
            </p:cxnSp>
            <p:sp>
              <p:nvSpPr>
                <p:cNvPr id="81" name="îṩlíďê">
                  <a:extLst>
                    <a:ext uri="{FF2B5EF4-FFF2-40B4-BE49-F238E27FC236}">
                      <a16:creationId xmlns:a16="http://schemas.microsoft.com/office/drawing/2014/main" id="{02FACDCD-811C-4398-BD9C-160DE312E8E2}"/>
                    </a:ext>
                  </a:extLst>
                </p:cNvPr>
                <p:cNvSpPr/>
                <p:nvPr/>
              </p:nvSpPr>
              <p:spPr>
                <a:xfrm>
                  <a:off x="10031423" y="5140652"/>
                  <a:ext cx="723900" cy="723894"/>
                </a:xfrm>
                <a:prstGeom prst="ellipse">
                  <a:avLst/>
                </a:prstGeom>
                <a:solidFill>
                  <a:srgbClr val="00B0F0"/>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anchor="ctr">
                  <a:normAutofit/>
                </a:bodyPr>
                <a:lstStyle>
                  <a:defPPr>
                    <a:defRPr lang="zh-CN"/>
                  </a:defPPr>
                  <a:lvl1pPr marL="0" algn="l" defTabSz="914377" rtl="0" eaLnBrk="1" latinLnBrk="0" hangingPunct="1">
                    <a:defRPr sz="1800" kern="1200">
                      <a:solidFill>
                        <a:schemeClr val="lt1"/>
                      </a:solidFill>
                    </a:defRPr>
                  </a:lvl1pPr>
                  <a:lvl2pPr marL="457189" algn="l" defTabSz="914377" rtl="0" eaLnBrk="1" latinLnBrk="0" hangingPunct="1">
                    <a:defRPr sz="1800" kern="1200">
                      <a:solidFill>
                        <a:schemeClr val="lt1"/>
                      </a:solidFill>
                    </a:defRPr>
                  </a:lvl2pPr>
                  <a:lvl3pPr marL="914377" algn="l" defTabSz="914377" rtl="0" eaLnBrk="1" latinLnBrk="0" hangingPunct="1">
                    <a:defRPr sz="1800" kern="1200">
                      <a:solidFill>
                        <a:schemeClr val="lt1"/>
                      </a:solidFill>
                    </a:defRPr>
                  </a:lvl3pPr>
                  <a:lvl4pPr marL="1371566" algn="l" defTabSz="914377" rtl="0" eaLnBrk="1" latinLnBrk="0" hangingPunct="1">
                    <a:defRPr sz="1800" kern="1200">
                      <a:solidFill>
                        <a:schemeClr val="lt1"/>
                      </a:solidFill>
                    </a:defRPr>
                  </a:lvl4pPr>
                  <a:lvl5pPr marL="1828754" algn="l" defTabSz="914377" rtl="0" eaLnBrk="1" latinLnBrk="0" hangingPunct="1">
                    <a:defRPr sz="1800" kern="1200">
                      <a:solidFill>
                        <a:schemeClr val="lt1"/>
                      </a:solidFill>
                    </a:defRPr>
                  </a:lvl5pPr>
                  <a:lvl6pPr marL="2285943" algn="l" defTabSz="914377" rtl="0" eaLnBrk="1" latinLnBrk="0" hangingPunct="1">
                    <a:defRPr sz="1800" kern="1200">
                      <a:solidFill>
                        <a:schemeClr val="lt1"/>
                      </a:solidFill>
                    </a:defRPr>
                  </a:lvl6pPr>
                  <a:lvl7pPr marL="2743131" algn="l" defTabSz="914377" rtl="0" eaLnBrk="1" latinLnBrk="0" hangingPunct="1">
                    <a:defRPr sz="1800" kern="1200">
                      <a:solidFill>
                        <a:schemeClr val="lt1"/>
                      </a:solidFill>
                    </a:defRPr>
                  </a:lvl7pPr>
                  <a:lvl8pPr marL="3200320" algn="l" defTabSz="914377" rtl="0" eaLnBrk="1" latinLnBrk="0" hangingPunct="1">
                    <a:defRPr sz="1800" kern="1200">
                      <a:solidFill>
                        <a:schemeClr val="lt1"/>
                      </a:solidFill>
                    </a:defRPr>
                  </a:lvl8pPr>
                  <a:lvl9pPr marL="3657509" algn="l" defTabSz="914377" rtl="0" eaLnBrk="1" latinLnBrk="0" hangingPunct="1">
                    <a:defRPr sz="1800" kern="1200">
                      <a:solidFill>
                        <a:schemeClr val="lt1"/>
                      </a:solidFill>
                    </a:defRPr>
                  </a:lvl9pPr>
                </a:lstStyle>
                <a:p>
                  <a:pPr algn="ctr"/>
                  <a:r>
                    <a:rPr lang="zh-CN" altLang="en-US" dirty="0" smtClean="0">
                      <a:latin typeface="Impact" panose="020B0806030902050204" pitchFamily="34" charset="0"/>
                    </a:rPr>
                    <a:t>核料</a:t>
                  </a:r>
                  <a:endParaRPr dirty="0">
                    <a:latin typeface="Impact" panose="020B0806030902050204" pitchFamily="34" charset="0"/>
                  </a:endParaRPr>
                </a:p>
              </p:txBody>
            </p:sp>
            <p:sp>
              <p:nvSpPr>
                <p:cNvPr id="108" name="î$líḑê">
                  <a:extLst>
                    <a:ext uri="{FF2B5EF4-FFF2-40B4-BE49-F238E27FC236}">
                      <a16:creationId xmlns:a16="http://schemas.microsoft.com/office/drawing/2014/main" id="{192B4765-9F3F-4759-83F7-8FB6386A1E20}"/>
                    </a:ext>
                  </a:extLst>
                </p:cNvPr>
                <p:cNvSpPr/>
                <p:nvPr/>
              </p:nvSpPr>
              <p:spPr>
                <a:xfrm>
                  <a:off x="6773304" y="3304188"/>
                  <a:ext cx="723900" cy="723894"/>
                </a:xfrm>
                <a:prstGeom prst="ellipse">
                  <a:avLst/>
                </a:prstGeom>
                <a:solidFill>
                  <a:schemeClr val="accent1"/>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anchor="ctr">
                  <a:normAutofit/>
                </a:bodyPr>
                <a:lstStyle>
                  <a:defPPr>
                    <a:defRPr lang="zh-CN"/>
                  </a:defPPr>
                  <a:lvl1pPr marL="0" algn="l" defTabSz="914377" rtl="0" eaLnBrk="1" latinLnBrk="0" hangingPunct="1">
                    <a:defRPr sz="1800" kern="1200">
                      <a:solidFill>
                        <a:schemeClr val="lt1"/>
                      </a:solidFill>
                    </a:defRPr>
                  </a:lvl1pPr>
                  <a:lvl2pPr marL="457189" algn="l" defTabSz="914377" rtl="0" eaLnBrk="1" latinLnBrk="0" hangingPunct="1">
                    <a:defRPr sz="1800" kern="1200">
                      <a:solidFill>
                        <a:schemeClr val="lt1"/>
                      </a:solidFill>
                    </a:defRPr>
                  </a:lvl2pPr>
                  <a:lvl3pPr marL="914377" algn="l" defTabSz="914377" rtl="0" eaLnBrk="1" latinLnBrk="0" hangingPunct="1">
                    <a:defRPr sz="1800" kern="1200">
                      <a:solidFill>
                        <a:schemeClr val="lt1"/>
                      </a:solidFill>
                    </a:defRPr>
                  </a:lvl3pPr>
                  <a:lvl4pPr marL="1371566" algn="l" defTabSz="914377" rtl="0" eaLnBrk="1" latinLnBrk="0" hangingPunct="1">
                    <a:defRPr sz="1800" kern="1200">
                      <a:solidFill>
                        <a:schemeClr val="lt1"/>
                      </a:solidFill>
                    </a:defRPr>
                  </a:lvl4pPr>
                  <a:lvl5pPr marL="1828754" algn="l" defTabSz="914377" rtl="0" eaLnBrk="1" latinLnBrk="0" hangingPunct="1">
                    <a:defRPr sz="1800" kern="1200">
                      <a:solidFill>
                        <a:schemeClr val="lt1"/>
                      </a:solidFill>
                    </a:defRPr>
                  </a:lvl5pPr>
                  <a:lvl6pPr marL="2285943" algn="l" defTabSz="914377" rtl="0" eaLnBrk="1" latinLnBrk="0" hangingPunct="1">
                    <a:defRPr sz="1800" kern="1200">
                      <a:solidFill>
                        <a:schemeClr val="lt1"/>
                      </a:solidFill>
                    </a:defRPr>
                  </a:lvl6pPr>
                  <a:lvl7pPr marL="2743131" algn="l" defTabSz="914377" rtl="0" eaLnBrk="1" latinLnBrk="0" hangingPunct="1">
                    <a:defRPr sz="1800" kern="1200">
                      <a:solidFill>
                        <a:schemeClr val="lt1"/>
                      </a:solidFill>
                    </a:defRPr>
                  </a:lvl7pPr>
                  <a:lvl8pPr marL="3200320" algn="l" defTabSz="914377" rtl="0" eaLnBrk="1" latinLnBrk="0" hangingPunct="1">
                    <a:defRPr sz="1800" kern="1200">
                      <a:solidFill>
                        <a:schemeClr val="lt1"/>
                      </a:solidFill>
                    </a:defRPr>
                  </a:lvl8pPr>
                  <a:lvl9pPr marL="3657509" algn="l" defTabSz="914377" rtl="0" eaLnBrk="1" latinLnBrk="0" hangingPunct="1">
                    <a:defRPr sz="1800" kern="1200">
                      <a:solidFill>
                        <a:schemeClr val="lt1"/>
                      </a:solidFill>
                    </a:defRPr>
                  </a:lvl9pPr>
                </a:lstStyle>
                <a:p>
                  <a:pPr algn="ctr"/>
                  <a:r>
                    <a:rPr lang="zh-CN" altLang="en-US" dirty="0" smtClean="0">
                      <a:latin typeface="Impact" panose="020B0806030902050204" pitchFamily="34" charset="0"/>
                    </a:rPr>
                    <a:t>对比</a:t>
                  </a:r>
                  <a:endParaRPr dirty="0">
                    <a:latin typeface="Impact" panose="020B0806030902050204" pitchFamily="34" charset="0"/>
                  </a:endParaRPr>
                </a:p>
              </p:txBody>
            </p:sp>
            <p:sp>
              <p:nvSpPr>
                <p:cNvPr id="114" name="îśľíḑê">
                  <a:extLst>
                    <a:ext uri="{FF2B5EF4-FFF2-40B4-BE49-F238E27FC236}">
                      <a16:creationId xmlns:a16="http://schemas.microsoft.com/office/drawing/2014/main" id="{8A71189F-8904-4951-B4FC-381094B54451}"/>
                    </a:ext>
                  </a:extLst>
                </p:cNvPr>
                <p:cNvSpPr txBox="1"/>
                <p:nvPr/>
              </p:nvSpPr>
              <p:spPr>
                <a:xfrm>
                  <a:off x="2651387" y="2860739"/>
                  <a:ext cx="1352243" cy="403229"/>
                </a:xfrm>
                <a:prstGeom prst="rect">
                  <a:avLst/>
                </a:prstGeom>
                <a:noFill/>
              </p:spPr>
              <p:txBody>
                <a:bodyPr wrap="square" rtlCol="0" anchor="b">
                  <a:normAutofit/>
                </a:bodyPr>
                <a:lstStyle/>
                <a:p>
                  <a:pPr lvl="0" defTabSz="914378">
                    <a:spcBef>
                      <a:spcPct val="0"/>
                    </a:spcBef>
                    <a:defRPr/>
                  </a:pPr>
                  <a:r>
                    <a:rPr lang="zh-CN" altLang="en-US" b="1" dirty="0" smtClean="0">
                      <a:solidFill>
                        <a:schemeClr val="accent1"/>
                      </a:solidFill>
                    </a:rPr>
                    <a:t>换上新料盘</a:t>
                  </a:r>
                  <a:endParaRPr lang="zh-CN" altLang="en-US" b="1" dirty="0">
                    <a:solidFill>
                      <a:schemeClr val="accent1"/>
                    </a:solidFill>
                  </a:endParaRPr>
                </a:p>
              </p:txBody>
            </p:sp>
            <p:sp>
              <p:nvSpPr>
                <p:cNvPr id="115" name="iśḷiḍê">
                  <a:extLst>
                    <a:ext uri="{FF2B5EF4-FFF2-40B4-BE49-F238E27FC236}">
                      <a16:creationId xmlns:a16="http://schemas.microsoft.com/office/drawing/2014/main" id="{625C5F23-C6FE-4FED-A8A2-1922EFB1980B}"/>
                    </a:ext>
                  </a:extLst>
                </p:cNvPr>
                <p:cNvSpPr txBox="1"/>
                <p:nvPr/>
              </p:nvSpPr>
              <p:spPr>
                <a:xfrm>
                  <a:off x="2435196" y="5864546"/>
                  <a:ext cx="1568434" cy="406507"/>
                </a:xfrm>
                <a:prstGeom prst="rect">
                  <a:avLst/>
                </a:prstGeom>
                <a:noFill/>
              </p:spPr>
              <p:txBody>
                <a:bodyPr wrap="square" rtlCol="0" anchor="b">
                  <a:normAutofit/>
                </a:bodyPr>
                <a:lstStyle/>
                <a:p>
                  <a:pPr lvl="0" defTabSz="914378">
                    <a:spcBef>
                      <a:spcPct val="0"/>
                    </a:spcBef>
                    <a:defRPr/>
                  </a:pPr>
                  <a:r>
                    <a:rPr lang="en-US" altLang="zh-CN" b="1" dirty="0" smtClean="0">
                      <a:solidFill>
                        <a:srgbClr val="00B0F0"/>
                      </a:solidFill>
                    </a:rPr>
                    <a:t>APP</a:t>
                  </a:r>
                  <a:r>
                    <a:rPr lang="zh-CN" altLang="en-US" b="1" dirty="0" smtClean="0">
                      <a:solidFill>
                        <a:srgbClr val="00B0F0"/>
                      </a:solidFill>
                    </a:rPr>
                    <a:t>扫描站位</a:t>
                  </a:r>
                  <a:endParaRPr lang="zh-CN" altLang="en-US" b="1" dirty="0">
                    <a:solidFill>
                      <a:srgbClr val="00B0F0"/>
                    </a:solidFill>
                  </a:endParaRPr>
                </a:p>
              </p:txBody>
            </p:sp>
            <p:sp>
              <p:nvSpPr>
                <p:cNvPr id="116" name="iśḷiḍê">
                  <a:extLst>
                    <a:ext uri="{FF2B5EF4-FFF2-40B4-BE49-F238E27FC236}">
                      <a16:creationId xmlns:a16="http://schemas.microsoft.com/office/drawing/2014/main" id="{625C5F23-C6FE-4FED-A8A2-1922EFB1980B}"/>
                    </a:ext>
                  </a:extLst>
                </p:cNvPr>
                <p:cNvSpPr txBox="1"/>
                <p:nvPr/>
              </p:nvSpPr>
              <p:spPr>
                <a:xfrm>
                  <a:off x="4335178" y="5864886"/>
                  <a:ext cx="1760027" cy="406507"/>
                </a:xfrm>
                <a:prstGeom prst="rect">
                  <a:avLst/>
                </a:prstGeom>
                <a:noFill/>
              </p:spPr>
              <p:txBody>
                <a:bodyPr wrap="square" rtlCol="0" anchor="b">
                  <a:normAutofit fontScale="92500"/>
                </a:bodyPr>
                <a:lstStyle/>
                <a:p>
                  <a:pPr lvl="0" defTabSz="914378">
                    <a:spcBef>
                      <a:spcPct val="0"/>
                    </a:spcBef>
                    <a:defRPr/>
                  </a:pPr>
                  <a:r>
                    <a:rPr lang="en-US" altLang="zh-CN" b="1" dirty="0" smtClean="0">
                      <a:solidFill>
                        <a:srgbClr val="00B0F0"/>
                      </a:solidFill>
                    </a:rPr>
                    <a:t>APP</a:t>
                  </a:r>
                  <a:r>
                    <a:rPr lang="zh-CN" altLang="en-US" b="1" dirty="0" smtClean="0">
                      <a:solidFill>
                        <a:srgbClr val="00B0F0"/>
                      </a:solidFill>
                    </a:rPr>
                    <a:t>扫</a:t>
                  </a:r>
                  <a:r>
                    <a:rPr lang="zh-CN" altLang="en-US" sz="1900" b="1" dirty="0" smtClean="0">
                      <a:solidFill>
                        <a:srgbClr val="00B0F0"/>
                      </a:solidFill>
                    </a:rPr>
                    <a:t>描</a:t>
                  </a:r>
                  <a:r>
                    <a:rPr lang="zh-CN" altLang="en-US" b="1" dirty="0" smtClean="0">
                      <a:solidFill>
                        <a:srgbClr val="00B0F0"/>
                      </a:solidFill>
                    </a:rPr>
                    <a:t>旧料盘</a:t>
                  </a:r>
                  <a:endParaRPr lang="zh-CN" altLang="en-US" b="1" dirty="0">
                    <a:solidFill>
                      <a:srgbClr val="00B0F0"/>
                    </a:solidFill>
                  </a:endParaRPr>
                </a:p>
              </p:txBody>
            </p:sp>
            <p:sp>
              <p:nvSpPr>
                <p:cNvPr id="160" name="îṩlíďê">
                  <a:extLst>
                    <a:ext uri="{FF2B5EF4-FFF2-40B4-BE49-F238E27FC236}">
                      <a16:creationId xmlns:a16="http://schemas.microsoft.com/office/drawing/2014/main" id="{02FACDCD-811C-4398-BD9C-160DE312E8E2}"/>
                    </a:ext>
                  </a:extLst>
                </p:cNvPr>
                <p:cNvSpPr/>
                <p:nvPr/>
              </p:nvSpPr>
              <p:spPr>
                <a:xfrm>
                  <a:off x="8202120" y="5154537"/>
                  <a:ext cx="723900" cy="723894"/>
                </a:xfrm>
                <a:prstGeom prst="ellipse">
                  <a:avLst/>
                </a:prstGeom>
                <a:solidFill>
                  <a:srgbClr val="00B0F0"/>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anchor="ctr">
                  <a:normAutofit/>
                </a:bodyPr>
                <a:lstStyle>
                  <a:defPPr>
                    <a:defRPr lang="zh-CN"/>
                  </a:defPPr>
                  <a:lvl1pPr marL="0" algn="l" defTabSz="914377" rtl="0" eaLnBrk="1" latinLnBrk="0" hangingPunct="1">
                    <a:defRPr sz="1800" kern="1200">
                      <a:solidFill>
                        <a:schemeClr val="lt1"/>
                      </a:solidFill>
                    </a:defRPr>
                  </a:lvl1pPr>
                  <a:lvl2pPr marL="457189" algn="l" defTabSz="914377" rtl="0" eaLnBrk="1" latinLnBrk="0" hangingPunct="1">
                    <a:defRPr sz="1800" kern="1200">
                      <a:solidFill>
                        <a:schemeClr val="lt1"/>
                      </a:solidFill>
                    </a:defRPr>
                  </a:lvl2pPr>
                  <a:lvl3pPr marL="914377" algn="l" defTabSz="914377" rtl="0" eaLnBrk="1" latinLnBrk="0" hangingPunct="1">
                    <a:defRPr sz="1800" kern="1200">
                      <a:solidFill>
                        <a:schemeClr val="lt1"/>
                      </a:solidFill>
                    </a:defRPr>
                  </a:lvl3pPr>
                  <a:lvl4pPr marL="1371566" algn="l" defTabSz="914377" rtl="0" eaLnBrk="1" latinLnBrk="0" hangingPunct="1">
                    <a:defRPr sz="1800" kern="1200">
                      <a:solidFill>
                        <a:schemeClr val="lt1"/>
                      </a:solidFill>
                    </a:defRPr>
                  </a:lvl4pPr>
                  <a:lvl5pPr marL="1828754" algn="l" defTabSz="914377" rtl="0" eaLnBrk="1" latinLnBrk="0" hangingPunct="1">
                    <a:defRPr sz="1800" kern="1200">
                      <a:solidFill>
                        <a:schemeClr val="lt1"/>
                      </a:solidFill>
                    </a:defRPr>
                  </a:lvl5pPr>
                  <a:lvl6pPr marL="2285943" algn="l" defTabSz="914377" rtl="0" eaLnBrk="1" latinLnBrk="0" hangingPunct="1">
                    <a:defRPr sz="1800" kern="1200">
                      <a:solidFill>
                        <a:schemeClr val="lt1"/>
                      </a:solidFill>
                    </a:defRPr>
                  </a:lvl6pPr>
                  <a:lvl7pPr marL="2743131" algn="l" defTabSz="914377" rtl="0" eaLnBrk="1" latinLnBrk="0" hangingPunct="1">
                    <a:defRPr sz="1800" kern="1200">
                      <a:solidFill>
                        <a:schemeClr val="lt1"/>
                      </a:solidFill>
                    </a:defRPr>
                  </a:lvl7pPr>
                  <a:lvl8pPr marL="3200320" algn="l" defTabSz="914377" rtl="0" eaLnBrk="1" latinLnBrk="0" hangingPunct="1">
                    <a:defRPr sz="1800" kern="1200">
                      <a:solidFill>
                        <a:schemeClr val="lt1"/>
                      </a:solidFill>
                    </a:defRPr>
                  </a:lvl8pPr>
                  <a:lvl9pPr marL="3657509" algn="l" defTabSz="914377" rtl="0" eaLnBrk="1" latinLnBrk="0" hangingPunct="1">
                    <a:defRPr sz="1800" kern="1200">
                      <a:solidFill>
                        <a:schemeClr val="lt1"/>
                      </a:solidFill>
                    </a:defRPr>
                  </a:lvl9pPr>
                </a:lstStyle>
                <a:p>
                  <a:pPr algn="ctr"/>
                  <a:r>
                    <a:rPr lang="zh-CN" altLang="en-US" dirty="0" smtClean="0">
                      <a:latin typeface="Impact" panose="020B0806030902050204" pitchFamily="34" charset="0"/>
                    </a:rPr>
                    <a:t>对比</a:t>
                  </a:r>
                  <a:endParaRPr dirty="0">
                    <a:latin typeface="Impact" panose="020B0806030902050204" pitchFamily="34" charset="0"/>
                  </a:endParaRPr>
                </a:p>
              </p:txBody>
            </p:sp>
            <p:cxnSp>
              <p:nvCxnSpPr>
                <p:cNvPr id="162" name="直接连接符 161">
                  <a:extLst>
                    <a:ext uri="{FF2B5EF4-FFF2-40B4-BE49-F238E27FC236}">
                      <a16:creationId xmlns:a16="http://schemas.microsoft.com/office/drawing/2014/main" id="{11A6D17D-FCC1-4761-8331-9593F4A7D812}"/>
                    </a:ext>
                  </a:extLst>
                </p:cNvPr>
                <p:cNvCxnSpPr>
                  <a:stCxn id="76" idx="6"/>
                  <a:endCxn id="160" idx="2"/>
                </p:cNvCxnSpPr>
                <p:nvPr/>
              </p:nvCxnSpPr>
              <p:spPr>
                <a:xfrm>
                  <a:off x="7349766" y="5512642"/>
                  <a:ext cx="852354" cy="3842"/>
                </a:xfrm>
                <a:prstGeom prst="line">
                  <a:avLst/>
                </a:prstGeom>
                <a:ln w="152400" cap="rnd">
                  <a:solidFill>
                    <a:schemeClr val="tx1">
                      <a:lumMod val="20000"/>
                      <a:lumOff val="80000"/>
                    </a:schemeClr>
                  </a:solidFill>
                  <a:round/>
                  <a:tailEnd type="arrow" w="sm" len="sm"/>
                </a:ln>
              </p:spPr>
              <p:style>
                <a:lnRef idx="1">
                  <a:schemeClr val="accent1"/>
                </a:lnRef>
                <a:fillRef idx="0">
                  <a:schemeClr val="accent1"/>
                </a:fillRef>
                <a:effectRef idx="0">
                  <a:schemeClr val="accent1"/>
                </a:effectRef>
                <a:fontRef idx="minor">
                  <a:schemeClr val="tx1"/>
                </a:fontRef>
              </p:style>
            </p:cxnSp>
            <p:sp>
              <p:nvSpPr>
                <p:cNvPr id="76" name="îṩlíďê">
                  <a:extLst>
                    <a:ext uri="{FF2B5EF4-FFF2-40B4-BE49-F238E27FC236}">
                      <a16:creationId xmlns:a16="http://schemas.microsoft.com/office/drawing/2014/main" id="{02FACDCD-811C-4398-BD9C-160DE312E8E2}"/>
                    </a:ext>
                  </a:extLst>
                </p:cNvPr>
                <p:cNvSpPr/>
                <p:nvPr/>
              </p:nvSpPr>
              <p:spPr>
                <a:xfrm>
                  <a:off x="6625866" y="5150695"/>
                  <a:ext cx="723900" cy="723894"/>
                </a:xfrm>
                <a:prstGeom prst="ellipse">
                  <a:avLst/>
                </a:prstGeom>
                <a:solidFill>
                  <a:srgbClr val="00B0F0"/>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anchor="ctr">
                  <a:normAutofit/>
                </a:bodyPr>
                <a:lstStyle>
                  <a:defPPr>
                    <a:defRPr lang="zh-CN"/>
                  </a:defPPr>
                  <a:lvl1pPr marL="0" algn="l" defTabSz="914377" rtl="0" eaLnBrk="1" latinLnBrk="0" hangingPunct="1">
                    <a:defRPr sz="1800" kern="1200">
                      <a:solidFill>
                        <a:schemeClr val="lt1"/>
                      </a:solidFill>
                    </a:defRPr>
                  </a:lvl1pPr>
                  <a:lvl2pPr marL="457189" algn="l" defTabSz="914377" rtl="0" eaLnBrk="1" latinLnBrk="0" hangingPunct="1">
                    <a:defRPr sz="1800" kern="1200">
                      <a:solidFill>
                        <a:schemeClr val="lt1"/>
                      </a:solidFill>
                    </a:defRPr>
                  </a:lvl2pPr>
                  <a:lvl3pPr marL="914377" algn="l" defTabSz="914377" rtl="0" eaLnBrk="1" latinLnBrk="0" hangingPunct="1">
                    <a:defRPr sz="1800" kern="1200">
                      <a:solidFill>
                        <a:schemeClr val="lt1"/>
                      </a:solidFill>
                    </a:defRPr>
                  </a:lvl3pPr>
                  <a:lvl4pPr marL="1371566" algn="l" defTabSz="914377" rtl="0" eaLnBrk="1" latinLnBrk="0" hangingPunct="1">
                    <a:defRPr sz="1800" kern="1200">
                      <a:solidFill>
                        <a:schemeClr val="lt1"/>
                      </a:solidFill>
                    </a:defRPr>
                  </a:lvl4pPr>
                  <a:lvl5pPr marL="1828754" algn="l" defTabSz="914377" rtl="0" eaLnBrk="1" latinLnBrk="0" hangingPunct="1">
                    <a:defRPr sz="1800" kern="1200">
                      <a:solidFill>
                        <a:schemeClr val="lt1"/>
                      </a:solidFill>
                    </a:defRPr>
                  </a:lvl5pPr>
                  <a:lvl6pPr marL="2285943" algn="l" defTabSz="914377" rtl="0" eaLnBrk="1" latinLnBrk="0" hangingPunct="1">
                    <a:defRPr sz="1800" kern="1200">
                      <a:solidFill>
                        <a:schemeClr val="lt1"/>
                      </a:solidFill>
                    </a:defRPr>
                  </a:lvl6pPr>
                  <a:lvl7pPr marL="2743131" algn="l" defTabSz="914377" rtl="0" eaLnBrk="1" latinLnBrk="0" hangingPunct="1">
                    <a:defRPr sz="1800" kern="1200">
                      <a:solidFill>
                        <a:schemeClr val="lt1"/>
                      </a:solidFill>
                    </a:defRPr>
                  </a:lvl7pPr>
                  <a:lvl8pPr marL="3200320" algn="l" defTabSz="914377" rtl="0" eaLnBrk="1" latinLnBrk="0" hangingPunct="1">
                    <a:defRPr sz="1800" kern="1200">
                      <a:solidFill>
                        <a:schemeClr val="lt1"/>
                      </a:solidFill>
                    </a:defRPr>
                  </a:lvl8pPr>
                  <a:lvl9pPr marL="3657509" algn="l" defTabSz="914377" rtl="0" eaLnBrk="1" latinLnBrk="0" hangingPunct="1">
                    <a:defRPr sz="1800" kern="1200">
                      <a:solidFill>
                        <a:schemeClr val="lt1"/>
                      </a:solidFill>
                    </a:defRPr>
                  </a:lvl9pPr>
                </a:lstStyle>
                <a:p>
                  <a:pPr algn="ctr"/>
                  <a:r>
                    <a:rPr lang="zh-CN" altLang="en-US" dirty="0" smtClean="0">
                      <a:latin typeface="Impact" panose="020B0806030902050204" pitchFamily="34" charset="0"/>
                    </a:rPr>
                    <a:t>新料盘</a:t>
                  </a:r>
                  <a:endParaRPr dirty="0">
                    <a:latin typeface="Impact" panose="020B0806030902050204" pitchFamily="34" charset="0"/>
                  </a:endParaRPr>
                </a:p>
              </p:txBody>
            </p:sp>
            <p:sp>
              <p:nvSpPr>
                <p:cNvPr id="169" name="iśḷiḍê">
                  <a:extLst>
                    <a:ext uri="{FF2B5EF4-FFF2-40B4-BE49-F238E27FC236}">
                      <a16:creationId xmlns:a16="http://schemas.microsoft.com/office/drawing/2014/main" id="{625C5F23-C6FE-4FED-A8A2-1922EFB1980B}"/>
                    </a:ext>
                  </a:extLst>
                </p:cNvPr>
                <p:cNvSpPr txBox="1"/>
                <p:nvPr/>
              </p:nvSpPr>
              <p:spPr>
                <a:xfrm>
                  <a:off x="6095205" y="5864546"/>
                  <a:ext cx="1760027" cy="406507"/>
                </a:xfrm>
                <a:prstGeom prst="rect">
                  <a:avLst/>
                </a:prstGeom>
                <a:noFill/>
              </p:spPr>
              <p:txBody>
                <a:bodyPr wrap="square" rtlCol="0" anchor="b">
                  <a:normAutofit fontScale="92500"/>
                </a:bodyPr>
                <a:lstStyle/>
                <a:p>
                  <a:pPr lvl="0" defTabSz="914378">
                    <a:spcBef>
                      <a:spcPct val="0"/>
                    </a:spcBef>
                    <a:defRPr/>
                  </a:pPr>
                  <a:r>
                    <a:rPr lang="en-US" altLang="zh-CN" b="1" dirty="0" smtClean="0">
                      <a:solidFill>
                        <a:srgbClr val="00B0F0"/>
                      </a:solidFill>
                      <a:latin typeface="+mn-ea"/>
                    </a:rPr>
                    <a:t>APP</a:t>
                  </a:r>
                  <a:r>
                    <a:rPr lang="zh-CN" altLang="en-US" b="1" dirty="0" smtClean="0">
                      <a:solidFill>
                        <a:srgbClr val="00B0F0"/>
                      </a:solidFill>
                      <a:latin typeface="+mn-ea"/>
                    </a:rPr>
                    <a:t>扫描</a:t>
                  </a:r>
                  <a:r>
                    <a:rPr lang="zh-CN" altLang="en-US" sz="1900" b="1" dirty="0" smtClean="0">
                      <a:solidFill>
                        <a:srgbClr val="00B0F0"/>
                      </a:solidFill>
                      <a:latin typeface="+mn-ea"/>
                    </a:rPr>
                    <a:t>新料盘</a:t>
                  </a:r>
                  <a:endParaRPr lang="zh-CN" altLang="en-US" b="1" dirty="0">
                    <a:solidFill>
                      <a:srgbClr val="00B0F0"/>
                    </a:solidFill>
                    <a:latin typeface="+mn-ea"/>
                  </a:endParaRPr>
                </a:p>
              </p:txBody>
            </p:sp>
            <p:sp>
              <p:nvSpPr>
                <p:cNvPr id="170" name="iśḷiḍê">
                  <a:extLst>
                    <a:ext uri="{FF2B5EF4-FFF2-40B4-BE49-F238E27FC236}">
                      <a16:creationId xmlns:a16="http://schemas.microsoft.com/office/drawing/2014/main" id="{625C5F23-C6FE-4FED-A8A2-1922EFB1980B}"/>
                    </a:ext>
                  </a:extLst>
                </p:cNvPr>
                <p:cNvSpPr txBox="1"/>
                <p:nvPr/>
              </p:nvSpPr>
              <p:spPr>
                <a:xfrm>
                  <a:off x="8008559" y="5914258"/>
                  <a:ext cx="1111021" cy="356795"/>
                </a:xfrm>
                <a:prstGeom prst="rect">
                  <a:avLst/>
                </a:prstGeom>
                <a:noFill/>
              </p:spPr>
              <p:txBody>
                <a:bodyPr wrap="square" rtlCol="0" anchor="b">
                  <a:normAutofit lnSpcReduction="10000"/>
                </a:bodyPr>
                <a:lstStyle/>
                <a:p>
                  <a:pPr lvl="0" defTabSz="914378">
                    <a:spcBef>
                      <a:spcPct val="0"/>
                    </a:spcBef>
                    <a:defRPr/>
                  </a:pPr>
                  <a:r>
                    <a:rPr lang="zh-CN" altLang="en-US" b="1" dirty="0" smtClean="0">
                      <a:solidFill>
                        <a:srgbClr val="00B0F0"/>
                      </a:solidFill>
                    </a:rPr>
                    <a:t>软件对比</a:t>
                  </a:r>
                  <a:endParaRPr lang="zh-CN" altLang="en-US" b="1" dirty="0">
                    <a:solidFill>
                      <a:srgbClr val="00B0F0"/>
                    </a:solidFill>
                  </a:endParaRPr>
                </a:p>
              </p:txBody>
            </p:sp>
            <p:sp>
              <p:nvSpPr>
                <p:cNvPr id="171" name="iśḷiḍê">
                  <a:extLst>
                    <a:ext uri="{FF2B5EF4-FFF2-40B4-BE49-F238E27FC236}">
                      <a16:creationId xmlns:a16="http://schemas.microsoft.com/office/drawing/2014/main" id="{625C5F23-C6FE-4FED-A8A2-1922EFB1980B}"/>
                    </a:ext>
                  </a:extLst>
                </p:cNvPr>
                <p:cNvSpPr txBox="1"/>
                <p:nvPr/>
              </p:nvSpPr>
              <p:spPr>
                <a:xfrm>
                  <a:off x="9912661" y="5858838"/>
                  <a:ext cx="1180728" cy="626251"/>
                </a:xfrm>
                <a:prstGeom prst="rect">
                  <a:avLst/>
                </a:prstGeom>
                <a:noFill/>
              </p:spPr>
              <p:txBody>
                <a:bodyPr wrap="square" rtlCol="0" anchor="b">
                  <a:normAutofit lnSpcReduction="10000"/>
                </a:bodyPr>
                <a:lstStyle/>
                <a:p>
                  <a:pPr lvl="0" defTabSz="914378">
                    <a:spcBef>
                      <a:spcPct val="0"/>
                    </a:spcBef>
                    <a:defRPr/>
                  </a:pPr>
                  <a:r>
                    <a:rPr lang="zh-CN" altLang="en-US" b="1" dirty="0" smtClean="0">
                      <a:solidFill>
                        <a:srgbClr val="00B0F0"/>
                      </a:solidFill>
                    </a:rPr>
                    <a:t>规定时间</a:t>
                  </a:r>
                  <a:endParaRPr lang="en-US" altLang="zh-CN" b="1" dirty="0" smtClean="0">
                    <a:solidFill>
                      <a:srgbClr val="00B0F0"/>
                    </a:solidFill>
                  </a:endParaRPr>
                </a:p>
                <a:p>
                  <a:pPr lvl="0" defTabSz="914378">
                    <a:spcBef>
                      <a:spcPct val="0"/>
                    </a:spcBef>
                    <a:defRPr/>
                  </a:pPr>
                  <a:r>
                    <a:rPr lang="en-US" altLang="zh-CN" b="1" dirty="0" smtClean="0">
                      <a:solidFill>
                        <a:srgbClr val="00B0F0"/>
                      </a:solidFill>
                    </a:rPr>
                    <a:t>QC</a:t>
                  </a:r>
                  <a:r>
                    <a:rPr lang="zh-CN" altLang="en-US" b="1" dirty="0" smtClean="0">
                      <a:solidFill>
                        <a:srgbClr val="00B0F0"/>
                      </a:solidFill>
                    </a:rPr>
                    <a:t>核料</a:t>
                  </a:r>
                  <a:endParaRPr lang="zh-CN" altLang="en-US" b="1" dirty="0">
                    <a:solidFill>
                      <a:srgbClr val="00B0F0"/>
                    </a:solidFill>
                  </a:endParaRPr>
                </a:p>
              </p:txBody>
            </p:sp>
          </p:grpSp>
          <p:sp>
            <p:nvSpPr>
              <p:cNvPr id="173" name="矩形 172"/>
              <p:cNvSpPr/>
              <p:nvPr/>
            </p:nvSpPr>
            <p:spPr>
              <a:xfrm>
                <a:off x="10003030" y="5620116"/>
                <a:ext cx="1081185" cy="307777"/>
              </a:xfrm>
              <a:prstGeom prst="rect">
                <a:avLst/>
              </a:prstGeom>
            </p:spPr>
            <p:txBody>
              <a:bodyPr wrap="square">
                <a:spAutoFit/>
              </a:bodyPr>
              <a:lstStyle/>
              <a:p>
                <a:pPr marL="171450" indent="-171450">
                  <a:buFont typeface="Arial" panose="020B0604020202020204" pitchFamily="34" charset="0"/>
                  <a:buChar char="•"/>
                </a:pPr>
                <a:r>
                  <a:rPr lang="zh-CN" altLang="en-US" sz="1400" dirty="0"/>
                  <a:t>流程监管</a:t>
                </a:r>
              </a:p>
            </p:txBody>
          </p:sp>
          <p:sp>
            <p:nvSpPr>
              <p:cNvPr id="183" name="x-mark_1766"/>
              <p:cNvSpPr>
                <a:spLocks noChangeAspect="1"/>
              </p:cNvSpPr>
              <p:nvPr/>
            </p:nvSpPr>
            <p:spPr bwMode="auto">
              <a:xfrm>
                <a:off x="8485980" y="2496844"/>
                <a:ext cx="609685" cy="608636"/>
              </a:xfrm>
              <a:custGeom>
                <a:avLst/>
                <a:gdLst>
                  <a:gd name="T0" fmla="*/ 373 w 373"/>
                  <a:gd name="T1" fmla="*/ 299 h 373"/>
                  <a:gd name="T2" fmla="*/ 261 w 373"/>
                  <a:gd name="T3" fmla="*/ 187 h 373"/>
                  <a:gd name="T4" fmla="*/ 373 w 373"/>
                  <a:gd name="T5" fmla="*/ 75 h 373"/>
                  <a:gd name="T6" fmla="*/ 299 w 373"/>
                  <a:gd name="T7" fmla="*/ 0 h 373"/>
                  <a:gd name="T8" fmla="*/ 187 w 373"/>
                  <a:gd name="T9" fmla="*/ 112 h 373"/>
                  <a:gd name="T10" fmla="*/ 75 w 373"/>
                  <a:gd name="T11" fmla="*/ 0 h 373"/>
                  <a:gd name="T12" fmla="*/ 0 w 373"/>
                  <a:gd name="T13" fmla="*/ 75 h 373"/>
                  <a:gd name="T14" fmla="*/ 112 w 373"/>
                  <a:gd name="T15" fmla="*/ 187 h 373"/>
                  <a:gd name="T16" fmla="*/ 0 w 373"/>
                  <a:gd name="T17" fmla="*/ 299 h 373"/>
                  <a:gd name="T18" fmla="*/ 75 w 373"/>
                  <a:gd name="T19" fmla="*/ 373 h 373"/>
                  <a:gd name="T20" fmla="*/ 187 w 373"/>
                  <a:gd name="T21" fmla="*/ 261 h 373"/>
                  <a:gd name="T22" fmla="*/ 299 w 373"/>
                  <a:gd name="T23" fmla="*/ 373 h 373"/>
                  <a:gd name="T24" fmla="*/ 373 w 373"/>
                  <a:gd name="T25" fmla="*/ 299 h 3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73" h="373">
                    <a:moveTo>
                      <a:pt x="373" y="299"/>
                    </a:moveTo>
                    <a:lnTo>
                      <a:pt x="261" y="187"/>
                    </a:lnTo>
                    <a:lnTo>
                      <a:pt x="373" y="75"/>
                    </a:lnTo>
                    <a:lnTo>
                      <a:pt x="299" y="0"/>
                    </a:lnTo>
                    <a:lnTo>
                      <a:pt x="187" y="112"/>
                    </a:lnTo>
                    <a:lnTo>
                      <a:pt x="75" y="0"/>
                    </a:lnTo>
                    <a:lnTo>
                      <a:pt x="0" y="75"/>
                    </a:lnTo>
                    <a:lnTo>
                      <a:pt x="112" y="187"/>
                    </a:lnTo>
                    <a:lnTo>
                      <a:pt x="0" y="299"/>
                    </a:lnTo>
                    <a:lnTo>
                      <a:pt x="75" y="373"/>
                    </a:lnTo>
                    <a:lnTo>
                      <a:pt x="187" y="261"/>
                    </a:lnTo>
                    <a:lnTo>
                      <a:pt x="299" y="373"/>
                    </a:lnTo>
                    <a:lnTo>
                      <a:pt x="373" y="299"/>
                    </a:lnTo>
                    <a:close/>
                  </a:path>
                </a:pathLst>
              </a:custGeom>
              <a:solidFill>
                <a:srgbClr val="FF0000"/>
              </a:solidFill>
              <a:ln>
                <a:noFill/>
              </a:ln>
            </p:spPr>
          </p:sp>
          <p:sp>
            <p:nvSpPr>
              <p:cNvPr id="184" name="矩形 183"/>
              <p:cNvSpPr/>
              <p:nvPr/>
            </p:nvSpPr>
            <p:spPr>
              <a:xfrm>
                <a:off x="7994102" y="5446824"/>
                <a:ext cx="1860885" cy="738664"/>
              </a:xfrm>
              <a:prstGeom prst="rect">
                <a:avLst/>
              </a:prstGeom>
            </p:spPr>
            <p:txBody>
              <a:bodyPr wrap="square">
                <a:spAutoFit/>
              </a:bodyPr>
              <a:lstStyle/>
              <a:p>
                <a:pPr marL="171450" indent="-171450">
                  <a:buFont typeface="Arial" panose="020B0604020202020204" pitchFamily="34" charset="0"/>
                  <a:buChar char="•"/>
                </a:pPr>
                <a:r>
                  <a:rPr lang="zh-CN" altLang="en-US" sz="1400" dirty="0"/>
                  <a:t>速度快，瞬间得到结果</a:t>
                </a:r>
              </a:p>
              <a:p>
                <a:pPr marL="171450" indent="-171450">
                  <a:buFont typeface="Arial" panose="020B0604020202020204" pitchFamily="34" charset="0"/>
                  <a:buChar char="•"/>
                </a:pPr>
                <a:r>
                  <a:rPr lang="zh-CN" altLang="en-US" sz="1400" dirty="0"/>
                  <a:t>软件对比不出错</a:t>
                </a:r>
              </a:p>
            </p:txBody>
          </p:sp>
          <p:sp>
            <p:nvSpPr>
              <p:cNvPr id="185" name="iṧ1íḋé">
                <a:extLst>
                  <a:ext uri="{FF2B5EF4-FFF2-40B4-BE49-F238E27FC236}">
                    <a16:creationId xmlns:a16="http://schemas.microsoft.com/office/drawing/2014/main" id="{F53B91B8-097D-4F46-8705-4AA9356BFCD5}"/>
                  </a:ext>
                </a:extLst>
              </p:cNvPr>
              <p:cNvSpPr txBox="1"/>
              <p:nvPr/>
            </p:nvSpPr>
            <p:spPr>
              <a:xfrm>
                <a:off x="9863903" y="1483842"/>
                <a:ext cx="1135398" cy="372966"/>
              </a:xfrm>
              <a:prstGeom prst="rect">
                <a:avLst/>
              </a:prstGeom>
              <a:noFill/>
            </p:spPr>
            <p:txBody>
              <a:bodyPr wrap="square" rtlCol="0" anchor="b">
                <a:normAutofit/>
              </a:bodyPr>
              <a:lstStyle/>
              <a:p>
                <a:pPr lvl="0" defTabSz="914378">
                  <a:spcBef>
                    <a:spcPct val="0"/>
                  </a:spcBef>
                  <a:defRPr/>
                </a:pPr>
                <a:r>
                  <a:rPr lang="zh-CN" altLang="en-US" b="1" dirty="0" smtClean="0">
                    <a:solidFill>
                      <a:schemeClr val="tx1">
                        <a:lumMod val="75000"/>
                        <a:lumOff val="25000"/>
                      </a:schemeClr>
                    </a:solidFill>
                  </a:rPr>
                  <a:t>成功换料</a:t>
                </a:r>
                <a:endParaRPr lang="zh-CN" altLang="en-US" b="1" dirty="0">
                  <a:solidFill>
                    <a:schemeClr val="tx1">
                      <a:lumMod val="75000"/>
                      <a:lumOff val="25000"/>
                    </a:schemeClr>
                  </a:solidFill>
                </a:endParaRPr>
              </a:p>
            </p:txBody>
          </p:sp>
        </p:grpSp>
        <p:cxnSp>
          <p:nvCxnSpPr>
            <p:cNvPr id="44" name="直接连接符 43">
              <a:extLst>
                <a:ext uri="{FF2B5EF4-FFF2-40B4-BE49-F238E27FC236}">
                  <a16:creationId xmlns:a16="http://schemas.microsoft.com/office/drawing/2014/main" id="{3DB4483F-10B1-4B14-94CB-11B5D2972977}"/>
                </a:ext>
              </a:extLst>
            </p:cNvPr>
            <p:cNvCxnSpPr>
              <a:cxnSpLocks/>
            </p:cNvCxnSpPr>
            <p:nvPr/>
          </p:nvCxnSpPr>
          <p:spPr>
            <a:xfrm>
              <a:off x="9613263" y="1636548"/>
              <a:ext cx="1553496" cy="0"/>
            </a:xfrm>
            <a:prstGeom prst="line">
              <a:avLst/>
            </a:prstGeom>
            <a:ln w="3175" cap="rnd">
              <a:solidFill>
                <a:schemeClr val="bg1">
                  <a:lumMod val="75000"/>
                </a:schemeClr>
              </a:solidFill>
              <a:round/>
              <a:headEnd type="none"/>
              <a:tailEnd type="none" w="med" len="med"/>
            </a:ln>
          </p:spPr>
          <p:style>
            <a:lnRef idx="1">
              <a:schemeClr val="accent1"/>
            </a:lnRef>
            <a:fillRef idx="0">
              <a:schemeClr val="accent1"/>
            </a:fillRef>
            <a:effectRef idx="0">
              <a:schemeClr val="accent1"/>
            </a:effectRef>
            <a:fontRef idx="minor">
              <a:schemeClr val="tx1"/>
            </a:fontRef>
          </p:style>
        </p:cxnSp>
        <p:cxnSp>
          <p:nvCxnSpPr>
            <p:cNvPr id="46" name="直接连接符 45">
              <a:extLst>
                <a:ext uri="{FF2B5EF4-FFF2-40B4-BE49-F238E27FC236}">
                  <a16:creationId xmlns:a16="http://schemas.microsoft.com/office/drawing/2014/main" id="{6DC193BF-B8E9-4B1B-B469-CB9ECF52825F}"/>
                </a:ext>
              </a:extLst>
            </p:cNvPr>
            <p:cNvCxnSpPr>
              <a:cxnSpLocks/>
            </p:cNvCxnSpPr>
            <p:nvPr/>
          </p:nvCxnSpPr>
          <p:spPr>
            <a:xfrm flipV="1">
              <a:off x="10431602" y="1995509"/>
              <a:ext cx="0" cy="599653"/>
            </a:xfrm>
            <a:prstGeom prst="line">
              <a:avLst/>
            </a:prstGeom>
            <a:ln w="3175" cap="rnd">
              <a:solidFill>
                <a:schemeClr val="bg1">
                  <a:lumMod val="75000"/>
                </a:schemeClr>
              </a:solidFill>
              <a:round/>
              <a:headEnd type="none"/>
              <a:tailEnd type="none" w="med" len="me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39502685"/>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核</a:t>
            </a:r>
            <a:r>
              <a:rPr lang="zh-CN" altLang="en-US" dirty="0" smtClean="0"/>
              <a:t>料</a:t>
            </a:r>
            <a:r>
              <a:rPr lang="zh-CN" altLang="en-US" dirty="0"/>
              <a:t>流程对比</a:t>
            </a:r>
          </a:p>
        </p:txBody>
      </p:sp>
      <p:grpSp>
        <p:nvGrpSpPr>
          <p:cNvPr id="3" name="组合 2"/>
          <p:cNvGrpSpPr/>
          <p:nvPr/>
        </p:nvGrpSpPr>
        <p:grpSpPr>
          <a:xfrm>
            <a:off x="807148" y="1455378"/>
            <a:ext cx="10449879" cy="4843335"/>
            <a:chOff x="807148" y="1455378"/>
            <a:chExt cx="10449879" cy="4843335"/>
          </a:xfrm>
        </p:grpSpPr>
        <p:grpSp>
          <p:nvGrpSpPr>
            <p:cNvPr id="113" name="组合 112"/>
            <p:cNvGrpSpPr/>
            <p:nvPr/>
          </p:nvGrpSpPr>
          <p:grpSpPr>
            <a:xfrm>
              <a:off x="807148" y="1455378"/>
              <a:ext cx="10449879" cy="4843335"/>
              <a:chOff x="871471" y="1499338"/>
              <a:chExt cx="10449879" cy="4843335"/>
            </a:xfrm>
          </p:grpSpPr>
          <p:sp>
            <p:nvSpPr>
              <p:cNvPr id="96" name="iśḷiḍê">
                <a:extLst>
                  <a:ext uri="{FF2B5EF4-FFF2-40B4-BE49-F238E27FC236}">
                    <a16:creationId xmlns:a16="http://schemas.microsoft.com/office/drawing/2014/main" id="{625C5F23-C6FE-4FED-A8A2-1922EFB1980B}"/>
                  </a:ext>
                </a:extLst>
              </p:cNvPr>
              <p:cNvSpPr txBox="1"/>
              <p:nvPr/>
            </p:nvSpPr>
            <p:spPr>
              <a:xfrm>
                <a:off x="879183" y="5157835"/>
                <a:ext cx="1568434" cy="406507"/>
              </a:xfrm>
              <a:prstGeom prst="rect">
                <a:avLst/>
              </a:prstGeom>
              <a:noFill/>
            </p:spPr>
            <p:txBody>
              <a:bodyPr wrap="square" rtlCol="0" anchor="b">
                <a:normAutofit/>
              </a:bodyPr>
              <a:lstStyle/>
              <a:p>
                <a:pPr lvl="0" defTabSz="914378">
                  <a:spcBef>
                    <a:spcPct val="0"/>
                  </a:spcBef>
                  <a:defRPr/>
                </a:pPr>
                <a:r>
                  <a:rPr lang="en-US" altLang="zh-CN" b="1" dirty="0" smtClean="0">
                    <a:solidFill>
                      <a:srgbClr val="00B0F0"/>
                    </a:solidFill>
                  </a:rPr>
                  <a:t>APP</a:t>
                </a:r>
                <a:r>
                  <a:rPr lang="zh-CN" altLang="en-US" b="1" dirty="0" smtClean="0">
                    <a:solidFill>
                      <a:srgbClr val="00B0F0"/>
                    </a:solidFill>
                  </a:rPr>
                  <a:t>扫描站位</a:t>
                </a:r>
                <a:endParaRPr lang="zh-CN" altLang="en-US" b="1" dirty="0">
                  <a:solidFill>
                    <a:srgbClr val="00B0F0"/>
                  </a:solidFill>
                </a:endParaRPr>
              </a:p>
            </p:txBody>
          </p:sp>
          <p:grpSp>
            <p:nvGrpSpPr>
              <p:cNvPr id="112" name="组合 111"/>
              <p:cNvGrpSpPr/>
              <p:nvPr/>
            </p:nvGrpSpPr>
            <p:grpSpPr>
              <a:xfrm>
                <a:off x="871471" y="1499338"/>
                <a:ext cx="10449879" cy="4843335"/>
                <a:chOff x="871471" y="1499338"/>
                <a:chExt cx="10449879" cy="4843335"/>
              </a:xfrm>
            </p:grpSpPr>
            <p:cxnSp>
              <p:nvCxnSpPr>
                <p:cNvPr id="85" name="直接连接符 84">
                  <a:extLst>
                    <a:ext uri="{FF2B5EF4-FFF2-40B4-BE49-F238E27FC236}">
                      <a16:creationId xmlns:a16="http://schemas.microsoft.com/office/drawing/2014/main" id="{11A6D17D-FCC1-4761-8331-9593F4A7D812}"/>
                    </a:ext>
                  </a:extLst>
                </p:cNvPr>
                <p:cNvCxnSpPr>
                  <a:stCxn id="84" idx="6"/>
                  <a:endCxn id="79" idx="2"/>
                </p:cNvCxnSpPr>
                <p:nvPr/>
              </p:nvCxnSpPr>
              <p:spPr>
                <a:xfrm flipV="1">
                  <a:off x="2091505" y="4795888"/>
                  <a:ext cx="1570879" cy="10043"/>
                </a:xfrm>
                <a:prstGeom prst="line">
                  <a:avLst/>
                </a:prstGeom>
                <a:ln w="152400" cap="rnd">
                  <a:solidFill>
                    <a:schemeClr val="tx1">
                      <a:lumMod val="20000"/>
                      <a:lumOff val="80000"/>
                    </a:schemeClr>
                  </a:solidFill>
                  <a:round/>
                  <a:tailEnd type="arrow" w="sm" len="sm"/>
                </a:ln>
              </p:spPr>
              <p:style>
                <a:lnRef idx="1">
                  <a:schemeClr val="accent1"/>
                </a:lnRef>
                <a:fillRef idx="0">
                  <a:schemeClr val="accent1"/>
                </a:fillRef>
                <a:effectRef idx="0">
                  <a:schemeClr val="accent1"/>
                </a:effectRef>
                <a:fontRef idx="minor">
                  <a:schemeClr val="tx1"/>
                </a:fontRef>
              </p:style>
            </p:cxnSp>
            <p:sp>
              <p:nvSpPr>
                <p:cNvPr id="84" name="îṩlíďê">
                  <a:extLst>
                    <a:ext uri="{FF2B5EF4-FFF2-40B4-BE49-F238E27FC236}">
                      <a16:creationId xmlns:a16="http://schemas.microsoft.com/office/drawing/2014/main" id="{02FACDCD-811C-4398-BD9C-160DE312E8E2}"/>
                    </a:ext>
                  </a:extLst>
                </p:cNvPr>
                <p:cNvSpPr/>
                <p:nvPr/>
              </p:nvSpPr>
              <p:spPr>
                <a:xfrm>
                  <a:off x="1367605" y="4443984"/>
                  <a:ext cx="723900" cy="723894"/>
                </a:xfrm>
                <a:prstGeom prst="ellipse">
                  <a:avLst/>
                </a:prstGeom>
                <a:solidFill>
                  <a:srgbClr val="00B0F0"/>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anchor="ctr">
                  <a:normAutofit/>
                </a:bodyPr>
                <a:lstStyle>
                  <a:defPPr>
                    <a:defRPr lang="zh-CN"/>
                  </a:defPPr>
                  <a:lvl1pPr marL="0" algn="l" defTabSz="914377" rtl="0" eaLnBrk="1" latinLnBrk="0" hangingPunct="1">
                    <a:defRPr sz="1800" kern="1200">
                      <a:solidFill>
                        <a:schemeClr val="lt1"/>
                      </a:solidFill>
                    </a:defRPr>
                  </a:lvl1pPr>
                  <a:lvl2pPr marL="457189" algn="l" defTabSz="914377" rtl="0" eaLnBrk="1" latinLnBrk="0" hangingPunct="1">
                    <a:defRPr sz="1800" kern="1200">
                      <a:solidFill>
                        <a:schemeClr val="lt1"/>
                      </a:solidFill>
                    </a:defRPr>
                  </a:lvl2pPr>
                  <a:lvl3pPr marL="914377" algn="l" defTabSz="914377" rtl="0" eaLnBrk="1" latinLnBrk="0" hangingPunct="1">
                    <a:defRPr sz="1800" kern="1200">
                      <a:solidFill>
                        <a:schemeClr val="lt1"/>
                      </a:solidFill>
                    </a:defRPr>
                  </a:lvl3pPr>
                  <a:lvl4pPr marL="1371566" algn="l" defTabSz="914377" rtl="0" eaLnBrk="1" latinLnBrk="0" hangingPunct="1">
                    <a:defRPr sz="1800" kern="1200">
                      <a:solidFill>
                        <a:schemeClr val="lt1"/>
                      </a:solidFill>
                    </a:defRPr>
                  </a:lvl4pPr>
                  <a:lvl5pPr marL="1828754" algn="l" defTabSz="914377" rtl="0" eaLnBrk="1" latinLnBrk="0" hangingPunct="1">
                    <a:defRPr sz="1800" kern="1200">
                      <a:solidFill>
                        <a:schemeClr val="lt1"/>
                      </a:solidFill>
                    </a:defRPr>
                  </a:lvl5pPr>
                  <a:lvl6pPr marL="2285943" algn="l" defTabSz="914377" rtl="0" eaLnBrk="1" latinLnBrk="0" hangingPunct="1">
                    <a:defRPr sz="1800" kern="1200">
                      <a:solidFill>
                        <a:schemeClr val="lt1"/>
                      </a:solidFill>
                    </a:defRPr>
                  </a:lvl6pPr>
                  <a:lvl7pPr marL="2743131" algn="l" defTabSz="914377" rtl="0" eaLnBrk="1" latinLnBrk="0" hangingPunct="1">
                    <a:defRPr sz="1800" kern="1200">
                      <a:solidFill>
                        <a:schemeClr val="lt1"/>
                      </a:solidFill>
                    </a:defRPr>
                  </a:lvl7pPr>
                  <a:lvl8pPr marL="3200320" algn="l" defTabSz="914377" rtl="0" eaLnBrk="1" latinLnBrk="0" hangingPunct="1">
                    <a:defRPr sz="1800" kern="1200">
                      <a:solidFill>
                        <a:schemeClr val="lt1"/>
                      </a:solidFill>
                    </a:defRPr>
                  </a:lvl8pPr>
                  <a:lvl9pPr marL="3657509" algn="l" defTabSz="914377" rtl="0" eaLnBrk="1" latinLnBrk="0" hangingPunct="1">
                    <a:defRPr sz="1800" kern="1200">
                      <a:solidFill>
                        <a:schemeClr val="lt1"/>
                      </a:solidFill>
                    </a:defRPr>
                  </a:lvl9pPr>
                </a:lstStyle>
                <a:p>
                  <a:pPr algn="ctr"/>
                  <a:r>
                    <a:rPr lang="zh-CN" altLang="en-US" dirty="0" smtClean="0">
                      <a:latin typeface="Impact" panose="020B0806030902050204" pitchFamily="34" charset="0"/>
                    </a:rPr>
                    <a:t>站位</a:t>
                  </a:r>
                  <a:endParaRPr dirty="0">
                    <a:latin typeface="Impact" panose="020B0806030902050204" pitchFamily="34" charset="0"/>
                  </a:endParaRPr>
                </a:p>
              </p:txBody>
            </p:sp>
            <p:cxnSp>
              <p:nvCxnSpPr>
                <p:cNvPr id="90" name="直接连接符 89">
                  <a:extLst>
                    <a:ext uri="{FF2B5EF4-FFF2-40B4-BE49-F238E27FC236}">
                      <a16:creationId xmlns:a16="http://schemas.microsoft.com/office/drawing/2014/main" id="{11A6D17D-FCC1-4761-8331-9593F4A7D812}"/>
                    </a:ext>
                  </a:extLst>
                </p:cNvPr>
                <p:cNvCxnSpPr>
                  <a:stCxn id="86" idx="6"/>
                  <a:endCxn id="77" idx="2"/>
                </p:cNvCxnSpPr>
                <p:nvPr/>
              </p:nvCxnSpPr>
              <p:spPr>
                <a:xfrm>
                  <a:off x="8145309" y="2959424"/>
                  <a:ext cx="1926712" cy="0"/>
                </a:xfrm>
                <a:prstGeom prst="line">
                  <a:avLst/>
                </a:prstGeom>
                <a:ln w="152400" cap="rnd">
                  <a:solidFill>
                    <a:schemeClr val="tx1">
                      <a:lumMod val="20000"/>
                      <a:lumOff val="80000"/>
                    </a:schemeClr>
                  </a:solidFill>
                  <a:round/>
                  <a:tailEnd type="arrow" w="sm" len="sm"/>
                </a:ln>
              </p:spPr>
              <p:style>
                <a:lnRef idx="1">
                  <a:schemeClr val="accent1"/>
                </a:lnRef>
                <a:fillRef idx="0">
                  <a:schemeClr val="accent1"/>
                </a:fillRef>
                <a:effectRef idx="0">
                  <a:schemeClr val="accent1"/>
                </a:effectRef>
                <a:fontRef idx="minor">
                  <a:schemeClr val="tx1"/>
                </a:fontRef>
              </p:style>
            </p:cxnSp>
            <p:sp>
              <p:nvSpPr>
                <p:cNvPr id="86" name="î$líḑê">
                  <a:extLst>
                    <a:ext uri="{FF2B5EF4-FFF2-40B4-BE49-F238E27FC236}">
                      <a16:creationId xmlns:a16="http://schemas.microsoft.com/office/drawing/2014/main" id="{192B4765-9F3F-4759-83F7-8FB6386A1E20}"/>
                    </a:ext>
                  </a:extLst>
                </p:cNvPr>
                <p:cNvSpPr/>
                <p:nvPr/>
              </p:nvSpPr>
              <p:spPr>
                <a:xfrm>
                  <a:off x="7421409" y="2597477"/>
                  <a:ext cx="723900" cy="723894"/>
                </a:xfrm>
                <a:prstGeom prst="ellipse">
                  <a:avLst/>
                </a:prstGeom>
                <a:solidFill>
                  <a:schemeClr val="accent1"/>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anchor="ctr">
                  <a:normAutofit/>
                </a:bodyPr>
                <a:lstStyle>
                  <a:defPPr>
                    <a:defRPr lang="zh-CN"/>
                  </a:defPPr>
                  <a:lvl1pPr marL="0" algn="l" defTabSz="914377" rtl="0" eaLnBrk="1" latinLnBrk="0" hangingPunct="1">
                    <a:defRPr sz="1800" kern="1200">
                      <a:solidFill>
                        <a:schemeClr val="lt1"/>
                      </a:solidFill>
                    </a:defRPr>
                  </a:lvl1pPr>
                  <a:lvl2pPr marL="457189" algn="l" defTabSz="914377" rtl="0" eaLnBrk="1" latinLnBrk="0" hangingPunct="1">
                    <a:defRPr sz="1800" kern="1200">
                      <a:solidFill>
                        <a:schemeClr val="lt1"/>
                      </a:solidFill>
                    </a:defRPr>
                  </a:lvl2pPr>
                  <a:lvl3pPr marL="914377" algn="l" defTabSz="914377" rtl="0" eaLnBrk="1" latinLnBrk="0" hangingPunct="1">
                    <a:defRPr sz="1800" kern="1200">
                      <a:solidFill>
                        <a:schemeClr val="lt1"/>
                      </a:solidFill>
                    </a:defRPr>
                  </a:lvl3pPr>
                  <a:lvl4pPr marL="1371566" algn="l" defTabSz="914377" rtl="0" eaLnBrk="1" latinLnBrk="0" hangingPunct="1">
                    <a:defRPr sz="1800" kern="1200">
                      <a:solidFill>
                        <a:schemeClr val="lt1"/>
                      </a:solidFill>
                    </a:defRPr>
                  </a:lvl4pPr>
                  <a:lvl5pPr marL="1828754" algn="l" defTabSz="914377" rtl="0" eaLnBrk="1" latinLnBrk="0" hangingPunct="1">
                    <a:defRPr sz="1800" kern="1200">
                      <a:solidFill>
                        <a:schemeClr val="lt1"/>
                      </a:solidFill>
                    </a:defRPr>
                  </a:lvl5pPr>
                  <a:lvl6pPr marL="2285943" algn="l" defTabSz="914377" rtl="0" eaLnBrk="1" latinLnBrk="0" hangingPunct="1">
                    <a:defRPr sz="1800" kern="1200">
                      <a:solidFill>
                        <a:schemeClr val="lt1"/>
                      </a:solidFill>
                    </a:defRPr>
                  </a:lvl6pPr>
                  <a:lvl7pPr marL="2743131" algn="l" defTabSz="914377" rtl="0" eaLnBrk="1" latinLnBrk="0" hangingPunct="1">
                    <a:defRPr sz="1800" kern="1200">
                      <a:solidFill>
                        <a:schemeClr val="lt1"/>
                      </a:solidFill>
                    </a:defRPr>
                  </a:lvl7pPr>
                  <a:lvl8pPr marL="3200320" algn="l" defTabSz="914377" rtl="0" eaLnBrk="1" latinLnBrk="0" hangingPunct="1">
                    <a:defRPr sz="1800" kern="1200">
                      <a:solidFill>
                        <a:schemeClr val="lt1"/>
                      </a:solidFill>
                    </a:defRPr>
                  </a:lvl8pPr>
                  <a:lvl9pPr marL="3657509" algn="l" defTabSz="914377" rtl="0" eaLnBrk="1" latinLnBrk="0" hangingPunct="1">
                    <a:defRPr sz="1800" kern="1200">
                      <a:solidFill>
                        <a:schemeClr val="lt1"/>
                      </a:solidFill>
                    </a:defRPr>
                  </a:lvl9pPr>
                </a:lstStyle>
                <a:p>
                  <a:pPr algn="ctr"/>
                  <a:r>
                    <a:rPr lang="zh-CN" altLang="en-US" b="1" dirty="0" smtClean="0">
                      <a:latin typeface="Impact" panose="020B0806030902050204" pitchFamily="34" charset="0"/>
                    </a:rPr>
                    <a:t>记录</a:t>
                  </a:r>
                  <a:endParaRPr b="1" dirty="0">
                    <a:latin typeface="Impact" panose="020B0806030902050204" pitchFamily="34" charset="0"/>
                  </a:endParaRPr>
                </a:p>
              </p:txBody>
            </p:sp>
            <p:grpSp>
              <p:nvGrpSpPr>
                <p:cNvPr id="34" name="组合 33"/>
                <p:cNvGrpSpPr/>
                <p:nvPr/>
              </p:nvGrpSpPr>
              <p:grpSpPr>
                <a:xfrm>
                  <a:off x="871471" y="1499338"/>
                  <a:ext cx="10449879" cy="4843335"/>
                  <a:chOff x="871471" y="1341076"/>
                  <a:chExt cx="10449879" cy="4843335"/>
                </a:xfrm>
              </p:grpSpPr>
              <p:grpSp>
                <p:nvGrpSpPr>
                  <p:cNvPr id="35" name="组合 34"/>
                  <p:cNvGrpSpPr/>
                  <p:nvPr/>
                </p:nvGrpSpPr>
                <p:grpSpPr>
                  <a:xfrm>
                    <a:off x="1161629" y="1341076"/>
                    <a:ext cx="10159721" cy="4108616"/>
                    <a:chOff x="1121031" y="2206049"/>
                    <a:chExt cx="10159721" cy="4108616"/>
                  </a:xfrm>
                </p:grpSpPr>
                <p:cxnSp>
                  <p:nvCxnSpPr>
                    <p:cNvPr id="48" name="直接连接符 47">
                      <a:extLst>
                        <a:ext uri="{FF2B5EF4-FFF2-40B4-BE49-F238E27FC236}">
                          <a16:creationId xmlns:a16="http://schemas.microsoft.com/office/drawing/2014/main" id="{11A6D17D-FCC1-4761-8331-9593F4A7D812}"/>
                        </a:ext>
                      </a:extLst>
                    </p:cNvPr>
                    <p:cNvCxnSpPr>
                      <a:stCxn id="80" idx="6"/>
                      <a:endCxn id="86" idx="2"/>
                    </p:cNvCxnSpPr>
                    <p:nvPr/>
                  </p:nvCxnSpPr>
                  <p:spPr>
                    <a:xfrm>
                      <a:off x="5454099" y="3666135"/>
                      <a:ext cx="1926712" cy="0"/>
                    </a:xfrm>
                    <a:prstGeom prst="line">
                      <a:avLst/>
                    </a:prstGeom>
                    <a:ln w="152400" cap="rnd">
                      <a:solidFill>
                        <a:schemeClr val="tx1">
                          <a:lumMod val="20000"/>
                          <a:lumOff val="80000"/>
                        </a:schemeClr>
                      </a:solidFill>
                      <a:round/>
                      <a:tailEnd type="arrow" w="sm" len="sm"/>
                    </a:ln>
                  </p:spPr>
                  <p:style>
                    <a:lnRef idx="1">
                      <a:schemeClr val="accent1"/>
                    </a:lnRef>
                    <a:fillRef idx="0">
                      <a:schemeClr val="accent1"/>
                    </a:fillRef>
                    <a:effectRef idx="0">
                      <a:schemeClr val="accent1"/>
                    </a:effectRef>
                    <a:fontRef idx="minor">
                      <a:schemeClr val="tx1"/>
                    </a:fontRef>
                  </p:style>
                </p:cxnSp>
                <p:cxnSp>
                  <p:nvCxnSpPr>
                    <p:cNvPr id="50" name="直接连接符 49">
                      <a:extLst>
                        <a:ext uri="{FF2B5EF4-FFF2-40B4-BE49-F238E27FC236}">
                          <a16:creationId xmlns:a16="http://schemas.microsoft.com/office/drawing/2014/main" id="{11A6D17D-FCC1-4761-8331-9593F4A7D812}"/>
                        </a:ext>
                      </a:extLst>
                    </p:cNvPr>
                    <p:cNvCxnSpPr>
                      <a:stCxn id="79" idx="6"/>
                      <a:endCxn id="61" idx="2"/>
                    </p:cNvCxnSpPr>
                    <p:nvPr/>
                  </p:nvCxnSpPr>
                  <p:spPr>
                    <a:xfrm>
                      <a:off x="4345686" y="5502599"/>
                      <a:ext cx="1471664" cy="16344"/>
                    </a:xfrm>
                    <a:prstGeom prst="line">
                      <a:avLst/>
                    </a:prstGeom>
                    <a:ln w="152400" cap="rnd">
                      <a:solidFill>
                        <a:schemeClr val="tx1">
                          <a:lumMod val="20000"/>
                          <a:lumOff val="80000"/>
                        </a:schemeClr>
                      </a:solidFill>
                      <a:round/>
                      <a:tailEnd type="arrow" w="sm" len="sm"/>
                    </a:ln>
                  </p:spPr>
                  <p:style>
                    <a:lnRef idx="1">
                      <a:schemeClr val="accent1"/>
                    </a:lnRef>
                    <a:fillRef idx="0">
                      <a:schemeClr val="accent1"/>
                    </a:fillRef>
                    <a:effectRef idx="0">
                      <a:schemeClr val="accent1"/>
                    </a:effectRef>
                    <a:fontRef idx="minor">
                      <a:schemeClr val="tx1"/>
                    </a:fontRef>
                  </p:style>
                </p:cxnSp>
                <p:grpSp>
                  <p:nvGrpSpPr>
                    <p:cNvPr id="51" name="组合 50"/>
                    <p:cNvGrpSpPr/>
                    <p:nvPr/>
                  </p:nvGrpSpPr>
                  <p:grpSpPr>
                    <a:xfrm>
                      <a:off x="1121031" y="2360294"/>
                      <a:ext cx="9634292" cy="3504252"/>
                      <a:chOff x="-1021136" y="2698923"/>
                      <a:chExt cx="9634292" cy="3504252"/>
                    </a:xfrm>
                  </p:grpSpPr>
                  <p:cxnSp>
                    <p:nvCxnSpPr>
                      <p:cNvPr id="65" name="直接连接符 64">
                        <a:extLst>
                          <a:ext uri="{FF2B5EF4-FFF2-40B4-BE49-F238E27FC236}">
                            <a16:creationId xmlns:a16="http://schemas.microsoft.com/office/drawing/2014/main" id="{11A6D17D-FCC1-4761-8331-9593F4A7D812}"/>
                          </a:ext>
                        </a:extLst>
                      </p:cNvPr>
                      <p:cNvCxnSpPr>
                        <a:stCxn id="67" idx="6"/>
                        <a:endCxn id="80" idx="2"/>
                      </p:cNvCxnSpPr>
                      <p:nvPr/>
                    </p:nvCxnSpPr>
                    <p:spPr>
                      <a:xfrm>
                        <a:off x="-117896" y="4004764"/>
                        <a:ext cx="2705928" cy="0"/>
                      </a:xfrm>
                      <a:prstGeom prst="line">
                        <a:avLst/>
                      </a:prstGeom>
                      <a:ln w="152400" cap="rnd">
                        <a:solidFill>
                          <a:schemeClr val="tx1">
                            <a:lumMod val="20000"/>
                            <a:lumOff val="80000"/>
                          </a:schemeClr>
                        </a:solidFill>
                        <a:round/>
                        <a:tailEnd type="arrow" w="sm" len="sm"/>
                      </a:ln>
                    </p:spPr>
                    <p:style>
                      <a:lnRef idx="1">
                        <a:schemeClr val="accent1"/>
                      </a:lnRef>
                      <a:fillRef idx="0">
                        <a:schemeClr val="accent1"/>
                      </a:fillRef>
                      <a:effectRef idx="0">
                        <a:schemeClr val="accent1"/>
                      </a:effectRef>
                      <a:fontRef idx="minor">
                        <a:schemeClr val="tx1"/>
                      </a:fontRef>
                    </p:style>
                  </p:cxnSp>
                  <p:grpSp>
                    <p:nvGrpSpPr>
                      <p:cNvPr id="66" name="组合 65"/>
                      <p:cNvGrpSpPr/>
                      <p:nvPr/>
                    </p:nvGrpSpPr>
                    <p:grpSpPr>
                      <a:xfrm>
                        <a:off x="-1021136" y="2698923"/>
                        <a:ext cx="9634292" cy="3504252"/>
                        <a:chOff x="-924540" y="3399140"/>
                        <a:chExt cx="9634292" cy="3504252"/>
                      </a:xfrm>
                    </p:grpSpPr>
                    <p:grpSp>
                      <p:nvGrpSpPr>
                        <p:cNvPr id="71" name="组合 70"/>
                        <p:cNvGrpSpPr/>
                        <p:nvPr/>
                      </p:nvGrpSpPr>
                      <p:grpSpPr>
                        <a:xfrm>
                          <a:off x="-924540" y="3399140"/>
                          <a:ext cx="9634292" cy="3504252"/>
                          <a:chOff x="-924540" y="3399140"/>
                          <a:chExt cx="9634292" cy="3504252"/>
                        </a:xfrm>
                      </p:grpSpPr>
                      <p:grpSp>
                        <p:nvGrpSpPr>
                          <p:cNvPr id="73" name="eb9ba11a-87f2-480a-92a1-33ab3fd45950"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p:cNvGrpSpPr>
                            <a:grpSpLocks noChangeAspect="1"/>
                          </p:cNvGrpSpPr>
                          <p:nvPr>
                            <p:custDataLst>
                              <p:tags r:id="rId1"/>
                            </p:custDataLst>
                          </p:nvPr>
                        </p:nvGrpSpPr>
                        <p:grpSpPr>
                          <a:xfrm>
                            <a:off x="-924540" y="3399140"/>
                            <a:ext cx="9634292" cy="3504252"/>
                            <a:chOff x="-924540" y="3399140"/>
                            <a:chExt cx="9634292" cy="3504252"/>
                          </a:xfrm>
                        </p:grpSpPr>
                        <p:grpSp>
                          <p:nvGrpSpPr>
                            <p:cNvPr id="75" name="í$ḻïḍe">
                              <a:extLst>
                                <a:ext uri="{FF2B5EF4-FFF2-40B4-BE49-F238E27FC236}">
                                  <a16:creationId xmlns:a16="http://schemas.microsoft.com/office/drawing/2014/main" id="{D2B43229-8AF3-4CB7-8AD6-0BC57495054A}"/>
                                </a:ext>
                              </a:extLst>
                            </p:cNvPr>
                            <p:cNvGrpSpPr/>
                            <p:nvPr/>
                          </p:nvGrpSpPr>
                          <p:grpSpPr>
                            <a:xfrm>
                              <a:off x="3732231" y="3416482"/>
                              <a:ext cx="2528277" cy="685339"/>
                              <a:chOff x="669396" y="2805854"/>
                              <a:chExt cx="2528277" cy="685339"/>
                            </a:xfrm>
                          </p:grpSpPr>
                          <p:sp>
                            <p:nvSpPr>
                              <p:cNvPr id="81" name="ïṥļíḑé">
                                <a:extLst>
                                  <a:ext uri="{FF2B5EF4-FFF2-40B4-BE49-F238E27FC236}">
                                    <a16:creationId xmlns:a16="http://schemas.microsoft.com/office/drawing/2014/main" id="{D3CEEF8B-96C4-416A-AED4-8116016B8025}"/>
                                  </a:ext>
                                </a:extLst>
                              </p:cNvPr>
                              <p:cNvSpPr txBox="1"/>
                              <p:nvPr/>
                            </p:nvSpPr>
                            <p:spPr>
                              <a:xfrm>
                                <a:off x="669396" y="3131963"/>
                                <a:ext cx="1347923" cy="359230"/>
                              </a:xfrm>
                              <a:prstGeom prst="rect">
                                <a:avLst/>
                              </a:prstGeom>
                              <a:noFill/>
                            </p:spPr>
                            <p:txBody>
                              <a:bodyPr wrap="square" lIns="90000" tIns="46800" rIns="90000" bIns="46800" rtlCol="0">
                                <a:normAutofit/>
                              </a:bodyPr>
                              <a:lstStyle/>
                              <a:p>
                                <a:pPr>
                                  <a:lnSpc>
                                    <a:spcPct val="120000"/>
                                  </a:lnSpc>
                                </a:pPr>
                                <a:endParaRPr lang="en-US" altLang="zh-CN" sz="900" dirty="0"/>
                              </a:p>
                            </p:txBody>
                          </p:sp>
                          <p:sp>
                            <p:nvSpPr>
                              <p:cNvPr id="82" name="iśḷiḍê">
                                <a:extLst>
                                  <a:ext uri="{FF2B5EF4-FFF2-40B4-BE49-F238E27FC236}">
                                    <a16:creationId xmlns:a16="http://schemas.microsoft.com/office/drawing/2014/main" id="{625C5F23-C6FE-4FED-A8A2-1922EFB1980B}"/>
                                  </a:ext>
                                </a:extLst>
                              </p:cNvPr>
                              <p:cNvSpPr txBox="1"/>
                              <p:nvPr/>
                            </p:nvSpPr>
                            <p:spPr>
                              <a:xfrm>
                                <a:off x="2045170" y="2805854"/>
                                <a:ext cx="1152503" cy="386940"/>
                              </a:xfrm>
                              <a:prstGeom prst="rect">
                                <a:avLst/>
                              </a:prstGeom>
                              <a:noFill/>
                            </p:spPr>
                            <p:txBody>
                              <a:bodyPr wrap="square" rtlCol="0" anchor="b">
                                <a:normAutofit/>
                              </a:bodyPr>
                              <a:lstStyle/>
                              <a:p>
                                <a:pPr lvl="0" defTabSz="914378">
                                  <a:spcBef>
                                    <a:spcPct val="0"/>
                                  </a:spcBef>
                                  <a:defRPr/>
                                </a:pPr>
                                <a:r>
                                  <a:rPr lang="zh-CN" altLang="en-US" b="1" dirty="0" smtClean="0">
                                    <a:solidFill>
                                      <a:srgbClr val="FFC000"/>
                                    </a:solidFill>
                                  </a:rPr>
                                  <a:t>手工记录</a:t>
                                </a:r>
                                <a:endParaRPr lang="zh-CN" altLang="en-US" b="1" dirty="0">
                                  <a:solidFill>
                                    <a:srgbClr val="FFC000"/>
                                  </a:solidFill>
                                </a:endParaRPr>
                              </a:p>
                            </p:txBody>
                          </p:sp>
                        </p:grpSp>
                        <p:sp>
                          <p:nvSpPr>
                            <p:cNvPr id="77" name="i$ļïdê">
                              <a:extLst>
                                <a:ext uri="{FF2B5EF4-FFF2-40B4-BE49-F238E27FC236}">
                                  <a16:creationId xmlns:a16="http://schemas.microsoft.com/office/drawing/2014/main" id="{89EDFFFD-99F9-44E3-A25B-751C26ACA19B}"/>
                                </a:ext>
                              </a:extLst>
                            </p:cNvPr>
                            <p:cNvSpPr/>
                            <p:nvPr/>
                          </p:nvSpPr>
                          <p:spPr>
                            <a:xfrm>
                              <a:off x="7985852" y="4343034"/>
                              <a:ext cx="723900" cy="723894"/>
                            </a:xfrm>
                            <a:prstGeom prst="ellipse">
                              <a:avLst/>
                            </a:prstGeom>
                            <a:solidFill>
                              <a:schemeClr val="accent3"/>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anchor="ctr">
                              <a:normAutofit/>
                            </a:bodyPr>
                            <a:lstStyle>
                              <a:defPPr>
                                <a:defRPr lang="zh-CN"/>
                              </a:defPPr>
                              <a:lvl1pPr marL="0" algn="l" defTabSz="914377" rtl="0" eaLnBrk="1" latinLnBrk="0" hangingPunct="1">
                                <a:defRPr sz="1800" kern="1200">
                                  <a:solidFill>
                                    <a:schemeClr val="lt1"/>
                                  </a:solidFill>
                                </a:defRPr>
                              </a:lvl1pPr>
                              <a:lvl2pPr marL="457189" algn="l" defTabSz="914377" rtl="0" eaLnBrk="1" latinLnBrk="0" hangingPunct="1">
                                <a:defRPr sz="1800" kern="1200">
                                  <a:solidFill>
                                    <a:schemeClr val="lt1"/>
                                  </a:solidFill>
                                </a:defRPr>
                              </a:lvl2pPr>
                              <a:lvl3pPr marL="914377" algn="l" defTabSz="914377" rtl="0" eaLnBrk="1" latinLnBrk="0" hangingPunct="1">
                                <a:defRPr sz="1800" kern="1200">
                                  <a:solidFill>
                                    <a:schemeClr val="lt1"/>
                                  </a:solidFill>
                                </a:defRPr>
                              </a:lvl3pPr>
                              <a:lvl4pPr marL="1371566" algn="l" defTabSz="914377" rtl="0" eaLnBrk="1" latinLnBrk="0" hangingPunct="1">
                                <a:defRPr sz="1800" kern="1200">
                                  <a:solidFill>
                                    <a:schemeClr val="lt1"/>
                                  </a:solidFill>
                                </a:defRPr>
                              </a:lvl4pPr>
                              <a:lvl5pPr marL="1828754" algn="l" defTabSz="914377" rtl="0" eaLnBrk="1" latinLnBrk="0" hangingPunct="1">
                                <a:defRPr sz="1800" kern="1200">
                                  <a:solidFill>
                                    <a:schemeClr val="lt1"/>
                                  </a:solidFill>
                                </a:defRPr>
                              </a:lvl5pPr>
                              <a:lvl6pPr marL="2285943" algn="l" defTabSz="914377" rtl="0" eaLnBrk="1" latinLnBrk="0" hangingPunct="1">
                                <a:defRPr sz="1800" kern="1200">
                                  <a:solidFill>
                                    <a:schemeClr val="lt1"/>
                                  </a:solidFill>
                                </a:defRPr>
                              </a:lvl6pPr>
                              <a:lvl7pPr marL="2743131" algn="l" defTabSz="914377" rtl="0" eaLnBrk="1" latinLnBrk="0" hangingPunct="1">
                                <a:defRPr sz="1800" kern="1200">
                                  <a:solidFill>
                                    <a:schemeClr val="lt1"/>
                                  </a:solidFill>
                                </a:defRPr>
                              </a:lvl7pPr>
                              <a:lvl8pPr marL="3200320" algn="l" defTabSz="914377" rtl="0" eaLnBrk="1" latinLnBrk="0" hangingPunct="1">
                                <a:defRPr sz="1800" kern="1200">
                                  <a:solidFill>
                                    <a:schemeClr val="lt1"/>
                                  </a:solidFill>
                                </a:defRPr>
                              </a:lvl8pPr>
                              <a:lvl9pPr marL="3657509" algn="l" defTabSz="914377" rtl="0" eaLnBrk="1" latinLnBrk="0" hangingPunct="1">
                                <a:defRPr sz="1800" kern="1200">
                                  <a:solidFill>
                                    <a:schemeClr val="lt1"/>
                                  </a:solidFill>
                                </a:defRPr>
                              </a:lvl9pPr>
                            </a:lstStyle>
                            <a:p>
                              <a:pPr algn="ctr"/>
                              <a:r>
                                <a:rPr lang="zh-CN" altLang="en-US" dirty="0" smtClean="0">
                                  <a:latin typeface="Impact" panose="020B0806030902050204" pitchFamily="34" charset="0"/>
                                </a:rPr>
                                <a:t>成功</a:t>
                              </a:r>
                              <a:endParaRPr dirty="0">
                                <a:latin typeface="Impact" panose="020B0806030902050204" pitchFamily="34" charset="0"/>
                              </a:endParaRPr>
                            </a:p>
                          </p:txBody>
                        </p:sp>
                        <p:sp>
                          <p:nvSpPr>
                            <p:cNvPr id="78" name="îśľíḑê">
                              <a:extLst>
                                <a:ext uri="{FF2B5EF4-FFF2-40B4-BE49-F238E27FC236}">
                                  <a16:creationId xmlns:a16="http://schemas.microsoft.com/office/drawing/2014/main" id="{8A71189F-8904-4951-B4FC-381094B54451}"/>
                                </a:ext>
                              </a:extLst>
                            </p:cNvPr>
                            <p:cNvSpPr txBox="1"/>
                            <p:nvPr/>
                          </p:nvSpPr>
                          <p:spPr>
                            <a:xfrm>
                              <a:off x="-924540" y="3399140"/>
                              <a:ext cx="1135851" cy="403229"/>
                            </a:xfrm>
                            <a:prstGeom prst="rect">
                              <a:avLst/>
                            </a:prstGeom>
                            <a:noFill/>
                          </p:spPr>
                          <p:txBody>
                            <a:bodyPr wrap="square" rtlCol="0" anchor="b">
                              <a:normAutofit/>
                            </a:bodyPr>
                            <a:lstStyle/>
                            <a:p>
                              <a:pPr lvl="0" defTabSz="914378">
                                <a:spcBef>
                                  <a:spcPct val="0"/>
                                </a:spcBef>
                                <a:defRPr/>
                              </a:pPr>
                              <a:r>
                                <a:rPr lang="zh-CN" altLang="en-US" b="1" dirty="0" smtClean="0">
                                  <a:solidFill>
                                    <a:schemeClr val="accent1"/>
                                  </a:solidFill>
                                </a:rPr>
                                <a:t>查看站位</a:t>
                              </a:r>
                              <a:endParaRPr lang="zh-CN" altLang="en-US" b="1" dirty="0">
                                <a:solidFill>
                                  <a:schemeClr val="accent1"/>
                                </a:solidFill>
                              </a:endParaRPr>
                            </a:p>
                          </p:txBody>
                        </p:sp>
                        <p:sp>
                          <p:nvSpPr>
                            <p:cNvPr id="79" name="îṩlíďê">
                              <a:extLst>
                                <a:ext uri="{FF2B5EF4-FFF2-40B4-BE49-F238E27FC236}">
                                  <a16:creationId xmlns:a16="http://schemas.microsoft.com/office/drawing/2014/main" id="{02FACDCD-811C-4398-BD9C-160DE312E8E2}"/>
                                </a:ext>
                              </a:extLst>
                            </p:cNvPr>
                            <p:cNvSpPr/>
                            <p:nvPr/>
                          </p:nvSpPr>
                          <p:spPr>
                            <a:xfrm>
                              <a:off x="1576215" y="6179498"/>
                              <a:ext cx="723900" cy="723894"/>
                            </a:xfrm>
                            <a:prstGeom prst="ellipse">
                              <a:avLst/>
                            </a:prstGeom>
                            <a:solidFill>
                              <a:srgbClr val="00B0F0"/>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anchor="ctr">
                              <a:normAutofit/>
                            </a:bodyPr>
                            <a:lstStyle>
                              <a:defPPr>
                                <a:defRPr lang="zh-CN"/>
                              </a:defPPr>
                              <a:lvl1pPr marL="0" algn="l" defTabSz="914377" rtl="0" eaLnBrk="1" latinLnBrk="0" hangingPunct="1">
                                <a:defRPr sz="1800" kern="1200">
                                  <a:solidFill>
                                    <a:schemeClr val="lt1"/>
                                  </a:solidFill>
                                </a:defRPr>
                              </a:lvl1pPr>
                              <a:lvl2pPr marL="457189" algn="l" defTabSz="914377" rtl="0" eaLnBrk="1" latinLnBrk="0" hangingPunct="1">
                                <a:defRPr sz="1800" kern="1200">
                                  <a:solidFill>
                                    <a:schemeClr val="lt1"/>
                                  </a:solidFill>
                                </a:defRPr>
                              </a:lvl2pPr>
                              <a:lvl3pPr marL="914377" algn="l" defTabSz="914377" rtl="0" eaLnBrk="1" latinLnBrk="0" hangingPunct="1">
                                <a:defRPr sz="1800" kern="1200">
                                  <a:solidFill>
                                    <a:schemeClr val="lt1"/>
                                  </a:solidFill>
                                </a:defRPr>
                              </a:lvl3pPr>
                              <a:lvl4pPr marL="1371566" algn="l" defTabSz="914377" rtl="0" eaLnBrk="1" latinLnBrk="0" hangingPunct="1">
                                <a:defRPr sz="1800" kern="1200">
                                  <a:solidFill>
                                    <a:schemeClr val="lt1"/>
                                  </a:solidFill>
                                </a:defRPr>
                              </a:lvl4pPr>
                              <a:lvl5pPr marL="1828754" algn="l" defTabSz="914377" rtl="0" eaLnBrk="1" latinLnBrk="0" hangingPunct="1">
                                <a:defRPr sz="1800" kern="1200">
                                  <a:solidFill>
                                    <a:schemeClr val="lt1"/>
                                  </a:solidFill>
                                </a:defRPr>
                              </a:lvl5pPr>
                              <a:lvl6pPr marL="2285943" algn="l" defTabSz="914377" rtl="0" eaLnBrk="1" latinLnBrk="0" hangingPunct="1">
                                <a:defRPr sz="1800" kern="1200">
                                  <a:solidFill>
                                    <a:schemeClr val="lt1"/>
                                  </a:solidFill>
                                </a:defRPr>
                              </a:lvl6pPr>
                              <a:lvl7pPr marL="2743131" algn="l" defTabSz="914377" rtl="0" eaLnBrk="1" latinLnBrk="0" hangingPunct="1">
                                <a:defRPr sz="1800" kern="1200">
                                  <a:solidFill>
                                    <a:schemeClr val="lt1"/>
                                  </a:solidFill>
                                </a:defRPr>
                              </a:lvl7pPr>
                              <a:lvl8pPr marL="3200320" algn="l" defTabSz="914377" rtl="0" eaLnBrk="1" latinLnBrk="0" hangingPunct="1">
                                <a:defRPr sz="1800" kern="1200">
                                  <a:solidFill>
                                    <a:schemeClr val="lt1"/>
                                  </a:solidFill>
                                </a:defRPr>
                              </a:lvl8pPr>
                              <a:lvl9pPr marL="3657509" algn="l" defTabSz="914377" rtl="0" eaLnBrk="1" latinLnBrk="0" hangingPunct="1">
                                <a:defRPr sz="1800" kern="1200">
                                  <a:solidFill>
                                    <a:schemeClr val="lt1"/>
                                  </a:solidFill>
                                </a:defRPr>
                              </a:lvl9pPr>
                            </a:lstStyle>
                            <a:p>
                              <a:pPr algn="ctr"/>
                              <a:r>
                                <a:rPr lang="zh-CN" altLang="en-US" dirty="0" smtClean="0">
                                  <a:latin typeface="Impact" panose="020B0806030902050204" pitchFamily="34" charset="0"/>
                                </a:rPr>
                                <a:t>物料</a:t>
                              </a:r>
                              <a:endParaRPr dirty="0">
                                <a:latin typeface="Impact" panose="020B0806030902050204" pitchFamily="34" charset="0"/>
                              </a:endParaRPr>
                            </a:p>
                          </p:txBody>
                        </p:sp>
                        <p:sp>
                          <p:nvSpPr>
                            <p:cNvPr id="80" name="î$líḑê">
                              <a:extLst>
                                <a:ext uri="{FF2B5EF4-FFF2-40B4-BE49-F238E27FC236}">
                                  <a16:creationId xmlns:a16="http://schemas.microsoft.com/office/drawing/2014/main" id="{192B4765-9F3F-4759-83F7-8FB6386A1E20}"/>
                                </a:ext>
                              </a:extLst>
                            </p:cNvPr>
                            <p:cNvSpPr/>
                            <p:nvPr/>
                          </p:nvSpPr>
                          <p:spPr>
                            <a:xfrm>
                              <a:off x="2684628" y="4343034"/>
                              <a:ext cx="723900" cy="723894"/>
                            </a:xfrm>
                            <a:prstGeom prst="ellipse">
                              <a:avLst/>
                            </a:prstGeom>
                            <a:solidFill>
                              <a:schemeClr val="accent1"/>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anchor="ctr">
                              <a:normAutofit/>
                            </a:bodyPr>
                            <a:lstStyle>
                              <a:defPPr>
                                <a:defRPr lang="zh-CN"/>
                              </a:defPPr>
                              <a:lvl1pPr marL="0" algn="l" defTabSz="914377" rtl="0" eaLnBrk="1" latinLnBrk="0" hangingPunct="1">
                                <a:defRPr sz="1800" kern="1200">
                                  <a:solidFill>
                                    <a:schemeClr val="lt1"/>
                                  </a:solidFill>
                                </a:defRPr>
                              </a:lvl1pPr>
                              <a:lvl2pPr marL="457189" algn="l" defTabSz="914377" rtl="0" eaLnBrk="1" latinLnBrk="0" hangingPunct="1">
                                <a:defRPr sz="1800" kern="1200">
                                  <a:solidFill>
                                    <a:schemeClr val="lt1"/>
                                  </a:solidFill>
                                </a:defRPr>
                              </a:lvl2pPr>
                              <a:lvl3pPr marL="914377" algn="l" defTabSz="914377" rtl="0" eaLnBrk="1" latinLnBrk="0" hangingPunct="1">
                                <a:defRPr sz="1800" kern="1200">
                                  <a:solidFill>
                                    <a:schemeClr val="lt1"/>
                                  </a:solidFill>
                                </a:defRPr>
                              </a:lvl3pPr>
                              <a:lvl4pPr marL="1371566" algn="l" defTabSz="914377" rtl="0" eaLnBrk="1" latinLnBrk="0" hangingPunct="1">
                                <a:defRPr sz="1800" kern="1200">
                                  <a:solidFill>
                                    <a:schemeClr val="lt1"/>
                                  </a:solidFill>
                                </a:defRPr>
                              </a:lvl4pPr>
                              <a:lvl5pPr marL="1828754" algn="l" defTabSz="914377" rtl="0" eaLnBrk="1" latinLnBrk="0" hangingPunct="1">
                                <a:defRPr sz="1800" kern="1200">
                                  <a:solidFill>
                                    <a:schemeClr val="lt1"/>
                                  </a:solidFill>
                                </a:defRPr>
                              </a:lvl5pPr>
                              <a:lvl6pPr marL="2285943" algn="l" defTabSz="914377" rtl="0" eaLnBrk="1" latinLnBrk="0" hangingPunct="1">
                                <a:defRPr sz="1800" kern="1200">
                                  <a:solidFill>
                                    <a:schemeClr val="lt1"/>
                                  </a:solidFill>
                                </a:defRPr>
                              </a:lvl6pPr>
                              <a:lvl7pPr marL="2743131" algn="l" defTabSz="914377" rtl="0" eaLnBrk="1" latinLnBrk="0" hangingPunct="1">
                                <a:defRPr sz="1800" kern="1200">
                                  <a:solidFill>
                                    <a:schemeClr val="lt1"/>
                                  </a:solidFill>
                                </a:defRPr>
                              </a:lvl7pPr>
                              <a:lvl8pPr marL="3200320" algn="l" defTabSz="914377" rtl="0" eaLnBrk="1" latinLnBrk="0" hangingPunct="1">
                                <a:defRPr sz="1800" kern="1200">
                                  <a:solidFill>
                                    <a:schemeClr val="lt1"/>
                                  </a:solidFill>
                                </a:defRPr>
                              </a:lvl8pPr>
                              <a:lvl9pPr marL="3657509" algn="l" defTabSz="914377" rtl="0" eaLnBrk="1" latinLnBrk="0" hangingPunct="1">
                                <a:defRPr sz="1800" kern="1200">
                                  <a:solidFill>
                                    <a:schemeClr val="lt1"/>
                                  </a:solidFill>
                                </a:defRPr>
                              </a:lvl9pPr>
                            </a:lstStyle>
                            <a:p>
                              <a:pPr algn="ctr"/>
                              <a:r>
                                <a:rPr lang="zh-CN" altLang="en-US" b="1" dirty="0">
                                  <a:latin typeface="Impact" panose="020B0806030902050204" pitchFamily="34" charset="0"/>
                                </a:rPr>
                                <a:t>核对</a:t>
                              </a:r>
                              <a:endParaRPr b="1" dirty="0">
                                <a:latin typeface="Impact" panose="020B0806030902050204" pitchFamily="34" charset="0"/>
                              </a:endParaRPr>
                            </a:p>
                          </p:txBody>
                        </p:sp>
                      </p:grpSp>
                      <p:sp>
                        <p:nvSpPr>
                          <p:cNvPr id="74" name="矩形 73"/>
                          <p:cNvSpPr/>
                          <p:nvPr/>
                        </p:nvSpPr>
                        <p:spPr>
                          <a:xfrm>
                            <a:off x="5109338" y="3775531"/>
                            <a:ext cx="2763044" cy="523220"/>
                          </a:xfrm>
                          <a:prstGeom prst="rect">
                            <a:avLst/>
                          </a:prstGeom>
                        </p:spPr>
                        <p:txBody>
                          <a:bodyPr wrap="square">
                            <a:spAutoFit/>
                          </a:bodyPr>
                          <a:lstStyle/>
                          <a:p>
                            <a:pPr marL="171450" indent="-171450">
                              <a:buFont typeface="Arial" panose="020B0604020202020204" pitchFamily="34" charset="0"/>
                              <a:buChar char="•"/>
                            </a:pPr>
                            <a:r>
                              <a:rPr lang="zh-CN" altLang="en-US" sz="1400" dirty="0"/>
                              <a:t>使用纸质档，难以管理和存储</a:t>
                            </a:r>
                          </a:p>
                          <a:p>
                            <a:pPr marL="171450" indent="-171450">
                              <a:buFont typeface="Arial" panose="020B0604020202020204" pitchFamily="34" charset="0"/>
                              <a:buChar char="•"/>
                            </a:pPr>
                            <a:r>
                              <a:rPr lang="zh-CN" altLang="en-US" sz="1400" dirty="0"/>
                              <a:t>容易记录出错</a:t>
                            </a:r>
                          </a:p>
                        </p:txBody>
                      </p:sp>
                    </p:grpSp>
                    <p:sp>
                      <p:nvSpPr>
                        <p:cNvPr id="69" name="x-mark_1766"/>
                        <p:cNvSpPr>
                          <a:spLocks noChangeAspect="1"/>
                        </p:cNvSpPr>
                        <p:nvPr/>
                      </p:nvSpPr>
                      <p:spPr bwMode="auto">
                        <a:xfrm>
                          <a:off x="6537903" y="4383126"/>
                          <a:ext cx="609685" cy="608636"/>
                        </a:xfrm>
                        <a:custGeom>
                          <a:avLst/>
                          <a:gdLst>
                            <a:gd name="T0" fmla="*/ 373 w 373"/>
                            <a:gd name="T1" fmla="*/ 299 h 373"/>
                            <a:gd name="T2" fmla="*/ 261 w 373"/>
                            <a:gd name="T3" fmla="*/ 187 h 373"/>
                            <a:gd name="T4" fmla="*/ 373 w 373"/>
                            <a:gd name="T5" fmla="*/ 75 h 373"/>
                            <a:gd name="T6" fmla="*/ 299 w 373"/>
                            <a:gd name="T7" fmla="*/ 0 h 373"/>
                            <a:gd name="T8" fmla="*/ 187 w 373"/>
                            <a:gd name="T9" fmla="*/ 112 h 373"/>
                            <a:gd name="T10" fmla="*/ 75 w 373"/>
                            <a:gd name="T11" fmla="*/ 0 h 373"/>
                            <a:gd name="T12" fmla="*/ 0 w 373"/>
                            <a:gd name="T13" fmla="*/ 75 h 373"/>
                            <a:gd name="T14" fmla="*/ 112 w 373"/>
                            <a:gd name="T15" fmla="*/ 187 h 373"/>
                            <a:gd name="T16" fmla="*/ 0 w 373"/>
                            <a:gd name="T17" fmla="*/ 299 h 373"/>
                            <a:gd name="T18" fmla="*/ 75 w 373"/>
                            <a:gd name="T19" fmla="*/ 373 h 373"/>
                            <a:gd name="T20" fmla="*/ 187 w 373"/>
                            <a:gd name="T21" fmla="*/ 261 h 373"/>
                            <a:gd name="T22" fmla="*/ 299 w 373"/>
                            <a:gd name="T23" fmla="*/ 373 h 373"/>
                            <a:gd name="T24" fmla="*/ 373 w 373"/>
                            <a:gd name="T25" fmla="*/ 299 h 3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73" h="373">
                              <a:moveTo>
                                <a:pt x="373" y="299"/>
                              </a:moveTo>
                              <a:lnTo>
                                <a:pt x="261" y="187"/>
                              </a:lnTo>
                              <a:lnTo>
                                <a:pt x="373" y="75"/>
                              </a:lnTo>
                              <a:lnTo>
                                <a:pt x="299" y="0"/>
                              </a:lnTo>
                              <a:lnTo>
                                <a:pt x="187" y="112"/>
                              </a:lnTo>
                              <a:lnTo>
                                <a:pt x="75" y="0"/>
                              </a:lnTo>
                              <a:lnTo>
                                <a:pt x="0" y="75"/>
                              </a:lnTo>
                              <a:lnTo>
                                <a:pt x="112" y="187"/>
                              </a:lnTo>
                              <a:lnTo>
                                <a:pt x="0" y="299"/>
                              </a:lnTo>
                              <a:lnTo>
                                <a:pt x="75" y="373"/>
                              </a:lnTo>
                              <a:lnTo>
                                <a:pt x="187" y="261"/>
                              </a:lnTo>
                              <a:lnTo>
                                <a:pt x="299" y="373"/>
                              </a:lnTo>
                              <a:lnTo>
                                <a:pt x="373" y="299"/>
                              </a:lnTo>
                              <a:close/>
                            </a:path>
                          </a:pathLst>
                        </a:custGeom>
                        <a:solidFill>
                          <a:srgbClr val="FF0000"/>
                        </a:solidFill>
                        <a:ln>
                          <a:noFill/>
                        </a:ln>
                      </p:spPr>
                    </p:sp>
                  </p:grpSp>
                  <p:sp>
                    <p:nvSpPr>
                      <p:cNvPr id="67" name="î$líḑê">
                        <a:extLst>
                          <a:ext uri="{FF2B5EF4-FFF2-40B4-BE49-F238E27FC236}">
                            <a16:creationId xmlns:a16="http://schemas.microsoft.com/office/drawing/2014/main" id="{192B4765-9F3F-4759-83F7-8FB6386A1E20}"/>
                          </a:ext>
                        </a:extLst>
                      </p:cNvPr>
                      <p:cNvSpPr/>
                      <p:nvPr/>
                    </p:nvSpPr>
                    <p:spPr>
                      <a:xfrm>
                        <a:off x="-841796" y="3642817"/>
                        <a:ext cx="723900" cy="723894"/>
                      </a:xfrm>
                      <a:prstGeom prst="ellipse">
                        <a:avLst/>
                      </a:prstGeom>
                      <a:solidFill>
                        <a:schemeClr val="accent1"/>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anchor="ctr">
                        <a:normAutofit/>
                      </a:bodyPr>
                      <a:lstStyle>
                        <a:defPPr>
                          <a:defRPr lang="zh-CN"/>
                        </a:defPPr>
                        <a:lvl1pPr marL="0" algn="l" defTabSz="914377" rtl="0" eaLnBrk="1" latinLnBrk="0" hangingPunct="1">
                          <a:defRPr sz="1800" kern="1200">
                            <a:solidFill>
                              <a:schemeClr val="lt1"/>
                            </a:solidFill>
                          </a:defRPr>
                        </a:lvl1pPr>
                        <a:lvl2pPr marL="457189" algn="l" defTabSz="914377" rtl="0" eaLnBrk="1" latinLnBrk="0" hangingPunct="1">
                          <a:defRPr sz="1800" kern="1200">
                            <a:solidFill>
                              <a:schemeClr val="lt1"/>
                            </a:solidFill>
                          </a:defRPr>
                        </a:lvl2pPr>
                        <a:lvl3pPr marL="914377" algn="l" defTabSz="914377" rtl="0" eaLnBrk="1" latinLnBrk="0" hangingPunct="1">
                          <a:defRPr sz="1800" kern="1200">
                            <a:solidFill>
                              <a:schemeClr val="lt1"/>
                            </a:solidFill>
                          </a:defRPr>
                        </a:lvl3pPr>
                        <a:lvl4pPr marL="1371566" algn="l" defTabSz="914377" rtl="0" eaLnBrk="1" latinLnBrk="0" hangingPunct="1">
                          <a:defRPr sz="1800" kern="1200">
                            <a:solidFill>
                              <a:schemeClr val="lt1"/>
                            </a:solidFill>
                          </a:defRPr>
                        </a:lvl4pPr>
                        <a:lvl5pPr marL="1828754" algn="l" defTabSz="914377" rtl="0" eaLnBrk="1" latinLnBrk="0" hangingPunct="1">
                          <a:defRPr sz="1800" kern="1200">
                            <a:solidFill>
                              <a:schemeClr val="lt1"/>
                            </a:solidFill>
                          </a:defRPr>
                        </a:lvl5pPr>
                        <a:lvl6pPr marL="2285943" algn="l" defTabSz="914377" rtl="0" eaLnBrk="1" latinLnBrk="0" hangingPunct="1">
                          <a:defRPr sz="1800" kern="1200">
                            <a:solidFill>
                              <a:schemeClr val="lt1"/>
                            </a:solidFill>
                          </a:defRPr>
                        </a:lvl6pPr>
                        <a:lvl7pPr marL="2743131" algn="l" defTabSz="914377" rtl="0" eaLnBrk="1" latinLnBrk="0" hangingPunct="1">
                          <a:defRPr sz="1800" kern="1200">
                            <a:solidFill>
                              <a:schemeClr val="lt1"/>
                            </a:solidFill>
                          </a:defRPr>
                        </a:lvl7pPr>
                        <a:lvl8pPr marL="3200320" algn="l" defTabSz="914377" rtl="0" eaLnBrk="1" latinLnBrk="0" hangingPunct="1">
                          <a:defRPr sz="1800" kern="1200">
                            <a:solidFill>
                              <a:schemeClr val="lt1"/>
                            </a:solidFill>
                          </a:defRPr>
                        </a:lvl8pPr>
                        <a:lvl9pPr marL="3657509" algn="l" defTabSz="914377" rtl="0" eaLnBrk="1" latinLnBrk="0" hangingPunct="1">
                          <a:defRPr sz="1800" kern="1200">
                            <a:solidFill>
                              <a:schemeClr val="lt1"/>
                            </a:solidFill>
                          </a:defRPr>
                        </a:lvl9pPr>
                      </a:lstStyle>
                      <a:p>
                        <a:pPr algn="ctr"/>
                        <a:r>
                          <a:rPr lang="zh-CN" altLang="en-US" dirty="0" smtClean="0">
                            <a:latin typeface="Impact" panose="020B0806030902050204" pitchFamily="34" charset="0"/>
                          </a:rPr>
                          <a:t>站位</a:t>
                        </a:r>
                        <a:endParaRPr dirty="0">
                          <a:latin typeface="Impact" panose="020B0806030902050204" pitchFamily="34" charset="0"/>
                        </a:endParaRPr>
                      </a:p>
                    </p:txBody>
                  </p:sp>
                </p:grpSp>
                <p:cxnSp>
                  <p:nvCxnSpPr>
                    <p:cNvPr id="52" name="直接连接符 51">
                      <a:extLst>
                        <a:ext uri="{FF2B5EF4-FFF2-40B4-BE49-F238E27FC236}">
                          <a16:creationId xmlns:a16="http://schemas.microsoft.com/office/drawing/2014/main" id="{11A6D17D-FCC1-4761-8331-9593F4A7D812}"/>
                        </a:ext>
                      </a:extLst>
                    </p:cNvPr>
                    <p:cNvCxnSpPr>
                      <a:stCxn id="59" idx="6"/>
                      <a:endCxn id="54" idx="2"/>
                    </p:cNvCxnSpPr>
                    <p:nvPr/>
                  </p:nvCxnSpPr>
                  <p:spPr>
                    <a:xfrm>
                      <a:off x="8697894" y="5518943"/>
                      <a:ext cx="1333529" cy="0"/>
                    </a:xfrm>
                    <a:prstGeom prst="line">
                      <a:avLst/>
                    </a:prstGeom>
                    <a:ln w="152400" cap="rnd">
                      <a:solidFill>
                        <a:schemeClr val="tx1">
                          <a:lumMod val="20000"/>
                          <a:lumOff val="80000"/>
                        </a:schemeClr>
                      </a:solidFill>
                      <a:round/>
                      <a:tailEnd type="arrow" w="sm" len="sm"/>
                    </a:ln>
                  </p:spPr>
                  <p:style>
                    <a:lnRef idx="1">
                      <a:schemeClr val="accent1"/>
                    </a:lnRef>
                    <a:fillRef idx="0">
                      <a:schemeClr val="accent1"/>
                    </a:fillRef>
                    <a:effectRef idx="0">
                      <a:schemeClr val="accent1"/>
                    </a:effectRef>
                    <a:fontRef idx="minor">
                      <a:schemeClr val="tx1"/>
                    </a:fontRef>
                  </p:style>
                </p:cxnSp>
                <p:cxnSp>
                  <p:nvCxnSpPr>
                    <p:cNvPr id="53" name="直接连接符 52">
                      <a:extLst>
                        <a:ext uri="{FF2B5EF4-FFF2-40B4-BE49-F238E27FC236}">
                          <a16:creationId xmlns:a16="http://schemas.microsoft.com/office/drawing/2014/main" id="{1D65AEF2-392B-4502-8EB4-54BF09655759}"/>
                        </a:ext>
                      </a:extLst>
                    </p:cNvPr>
                    <p:cNvCxnSpPr>
                      <a:cxnSpLocks/>
                      <a:stCxn id="54" idx="0"/>
                      <a:endCxn id="77" idx="4"/>
                    </p:cNvCxnSpPr>
                    <p:nvPr/>
                  </p:nvCxnSpPr>
                  <p:spPr>
                    <a:xfrm flipV="1">
                      <a:off x="10393373" y="4028082"/>
                      <a:ext cx="0" cy="1128914"/>
                    </a:xfrm>
                    <a:prstGeom prst="line">
                      <a:avLst/>
                    </a:prstGeom>
                    <a:ln w="152400" cap="rnd">
                      <a:solidFill>
                        <a:schemeClr val="tx1">
                          <a:lumMod val="20000"/>
                          <a:lumOff val="80000"/>
                        </a:schemeClr>
                      </a:solidFill>
                      <a:round/>
                      <a:tailEnd type="arrow" w="sm" len="sm"/>
                    </a:ln>
                  </p:spPr>
                  <p:style>
                    <a:lnRef idx="1">
                      <a:schemeClr val="accent1"/>
                    </a:lnRef>
                    <a:fillRef idx="0">
                      <a:schemeClr val="accent1"/>
                    </a:fillRef>
                    <a:effectRef idx="0">
                      <a:schemeClr val="accent1"/>
                    </a:effectRef>
                    <a:fontRef idx="minor">
                      <a:schemeClr val="tx1"/>
                    </a:fontRef>
                  </p:style>
                </p:cxnSp>
                <p:sp>
                  <p:nvSpPr>
                    <p:cNvPr id="54" name="îṩlíďê">
                      <a:extLst>
                        <a:ext uri="{FF2B5EF4-FFF2-40B4-BE49-F238E27FC236}">
                          <a16:creationId xmlns:a16="http://schemas.microsoft.com/office/drawing/2014/main" id="{02FACDCD-811C-4398-BD9C-160DE312E8E2}"/>
                        </a:ext>
                      </a:extLst>
                    </p:cNvPr>
                    <p:cNvSpPr/>
                    <p:nvPr/>
                  </p:nvSpPr>
                  <p:spPr>
                    <a:xfrm>
                      <a:off x="10031423" y="5156996"/>
                      <a:ext cx="723900" cy="723894"/>
                    </a:xfrm>
                    <a:prstGeom prst="ellipse">
                      <a:avLst/>
                    </a:prstGeom>
                    <a:solidFill>
                      <a:srgbClr val="00B0F0"/>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anchor="ctr">
                      <a:normAutofit/>
                    </a:bodyPr>
                    <a:lstStyle>
                      <a:defPPr>
                        <a:defRPr lang="zh-CN"/>
                      </a:defPPr>
                      <a:lvl1pPr marL="0" algn="l" defTabSz="914377" rtl="0" eaLnBrk="1" latinLnBrk="0" hangingPunct="1">
                        <a:defRPr sz="1800" kern="1200">
                          <a:solidFill>
                            <a:schemeClr val="lt1"/>
                          </a:solidFill>
                        </a:defRPr>
                      </a:lvl1pPr>
                      <a:lvl2pPr marL="457189" algn="l" defTabSz="914377" rtl="0" eaLnBrk="1" latinLnBrk="0" hangingPunct="1">
                        <a:defRPr sz="1800" kern="1200">
                          <a:solidFill>
                            <a:schemeClr val="lt1"/>
                          </a:solidFill>
                        </a:defRPr>
                      </a:lvl2pPr>
                      <a:lvl3pPr marL="914377" algn="l" defTabSz="914377" rtl="0" eaLnBrk="1" latinLnBrk="0" hangingPunct="1">
                        <a:defRPr sz="1800" kern="1200">
                          <a:solidFill>
                            <a:schemeClr val="lt1"/>
                          </a:solidFill>
                        </a:defRPr>
                      </a:lvl3pPr>
                      <a:lvl4pPr marL="1371566" algn="l" defTabSz="914377" rtl="0" eaLnBrk="1" latinLnBrk="0" hangingPunct="1">
                        <a:defRPr sz="1800" kern="1200">
                          <a:solidFill>
                            <a:schemeClr val="lt1"/>
                          </a:solidFill>
                        </a:defRPr>
                      </a:lvl4pPr>
                      <a:lvl5pPr marL="1828754" algn="l" defTabSz="914377" rtl="0" eaLnBrk="1" latinLnBrk="0" hangingPunct="1">
                        <a:defRPr sz="1800" kern="1200">
                          <a:solidFill>
                            <a:schemeClr val="lt1"/>
                          </a:solidFill>
                        </a:defRPr>
                      </a:lvl5pPr>
                      <a:lvl6pPr marL="2285943" algn="l" defTabSz="914377" rtl="0" eaLnBrk="1" latinLnBrk="0" hangingPunct="1">
                        <a:defRPr sz="1800" kern="1200">
                          <a:solidFill>
                            <a:schemeClr val="lt1"/>
                          </a:solidFill>
                        </a:defRPr>
                      </a:lvl6pPr>
                      <a:lvl7pPr marL="2743131" algn="l" defTabSz="914377" rtl="0" eaLnBrk="1" latinLnBrk="0" hangingPunct="1">
                        <a:defRPr sz="1800" kern="1200">
                          <a:solidFill>
                            <a:schemeClr val="lt1"/>
                          </a:solidFill>
                        </a:defRPr>
                      </a:lvl7pPr>
                      <a:lvl8pPr marL="3200320" algn="l" defTabSz="914377" rtl="0" eaLnBrk="1" latinLnBrk="0" hangingPunct="1">
                        <a:defRPr sz="1800" kern="1200">
                          <a:solidFill>
                            <a:schemeClr val="lt1"/>
                          </a:solidFill>
                        </a:defRPr>
                      </a:lvl8pPr>
                      <a:lvl9pPr marL="3657509" algn="l" defTabSz="914377" rtl="0" eaLnBrk="1" latinLnBrk="0" hangingPunct="1">
                        <a:defRPr sz="1800" kern="1200">
                          <a:solidFill>
                            <a:schemeClr val="lt1"/>
                          </a:solidFill>
                        </a:defRPr>
                      </a:lvl9pPr>
                    </a:lstStyle>
                    <a:p>
                      <a:pPr algn="ctr"/>
                      <a:r>
                        <a:rPr lang="zh-CN" altLang="en-US" dirty="0" smtClean="0">
                          <a:latin typeface="Impact" panose="020B0806030902050204" pitchFamily="34" charset="0"/>
                        </a:rPr>
                        <a:t>报警</a:t>
                      </a:r>
                      <a:endParaRPr dirty="0">
                        <a:latin typeface="Impact" panose="020B0806030902050204" pitchFamily="34" charset="0"/>
                      </a:endParaRPr>
                    </a:p>
                  </p:txBody>
                </p:sp>
                <p:sp>
                  <p:nvSpPr>
                    <p:cNvPr id="56" name="îśľíḑê">
                      <a:extLst>
                        <a:ext uri="{FF2B5EF4-FFF2-40B4-BE49-F238E27FC236}">
                          <a16:creationId xmlns:a16="http://schemas.microsoft.com/office/drawing/2014/main" id="{8A71189F-8904-4951-B4FC-381094B54451}"/>
                        </a:ext>
                      </a:extLst>
                    </p:cNvPr>
                    <p:cNvSpPr txBox="1"/>
                    <p:nvPr/>
                  </p:nvSpPr>
                  <p:spPr>
                    <a:xfrm>
                      <a:off x="4105533" y="2206049"/>
                      <a:ext cx="2042432" cy="632479"/>
                    </a:xfrm>
                    <a:prstGeom prst="rect">
                      <a:avLst/>
                    </a:prstGeom>
                    <a:noFill/>
                  </p:spPr>
                  <p:txBody>
                    <a:bodyPr wrap="square" rtlCol="0" anchor="b">
                      <a:normAutofit lnSpcReduction="10000"/>
                    </a:bodyPr>
                    <a:lstStyle/>
                    <a:p>
                      <a:pPr lvl="0" defTabSz="914378">
                        <a:spcBef>
                          <a:spcPct val="0"/>
                        </a:spcBef>
                        <a:defRPr/>
                      </a:pPr>
                      <a:r>
                        <a:rPr lang="zh-CN" altLang="en-US" b="1" dirty="0">
                          <a:solidFill>
                            <a:schemeClr val="accent1"/>
                          </a:solidFill>
                        </a:rPr>
                        <a:t>根据站位表校验物料编号是否一致</a:t>
                      </a:r>
                    </a:p>
                  </p:txBody>
                </p:sp>
                <p:sp>
                  <p:nvSpPr>
                    <p:cNvPr id="57" name="iśḷiḍê">
                      <a:extLst>
                        <a:ext uri="{FF2B5EF4-FFF2-40B4-BE49-F238E27FC236}">
                          <a16:creationId xmlns:a16="http://schemas.microsoft.com/office/drawing/2014/main" id="{625C5F23-C6FE-4FED-A8A2-1922EFB1980B}"/>
                        </a:ext>
                      </a:extLst>
                    </p:cNvPr>
                    <p:cNvSpPr txBox="1"/>
                    <p:nvPr/>
                  </p:nvSpPr>
                  <p:spPr>
                    <a:xfrm>
                      <a:off x="3192388" y="5874588"/>
                      <a:ext cx="1568434" cy="406507"/>
                    </a:xfrm>
                    <a:prstGeom prst="rect">
                      <a:avLst/>
                    </a:prstGeom>
                    <a:noFill/>
                  </p:spPr>
                  <p:txBody>
                    <a:bodyPr wrap="square" rtlCol="0" anchor="b">
                      <a:normAutofit/>
                    </a:bodyPr>
                    <a:lstStyle/>
                    <a:p>
                      <a:pPr lvl="0" defTabSz="914378">
                        <a:spcBef>
                          <a:spcPct val="0"/>
                        </a:spcBef>
                        <a:defRPr/>
                      </a:pPr>
                      <a:r>
                        <a:rPr lang="en-US" altLang="zh-CN" b="1" dirty="0" smtClean="0">
                          <a:solidFill>
                            <a:srgbClr val="00B0F0"/>
                          </a:solidFill>
                        </a:rPr>
                        <a:t>APP</a:t>
                      </a:r>
                      <a:r>
                        <a:rPr lang="zh-CN" altLang="en-US" b="1" dirty="0" smtClean="0">
                          <a:solidFill>
                            <a:srgbClr val="00B0F0"/>
                          </a:solidFill>
                        </a:rPr>
                        <a:t>扫描物料</a:t>
                      </a:r>
                      <a:endParaRPr lang="zh-CN" altLang="en-US" b="1" dirty="0">
                        <a:solidFill>
                          <a:srgbClr val="00B0F0"/>
                        </a:solidFill>
                      </a:endParaRPr>
                    </a:p>
                  </p:txBody>
                </p:sp>
                <p:sp>
                  <p:nvSpPr>
                    <p:cNvPr id="59" name="îṩlíďê">
                      <a:extLst>
                        <a:ext uri="{FF2B5EF4-FFF2-40B4-BE49-F238E27FC236}">
                          <a16:creationId xmlns:a16="http://schemas.microsoft.com/office/drawing/2014/main" id="{02FACDCD-811C-4398-BD9C-160DE312E8E2}"/>
                        </a:ext>
                      </a:extLst>
                    </p:cNvPr>
                    <p:cNvSpPr/>
                    <p:nvPr/>
                  </p:nvSpPr>
                  <p:spPr>
                    <a:xfrm>
                      <a:off x="7973994" y="5156996"/>
                      <a:ext cx="723900" cy="723894"/>
                    </a:xfrm>
                    <a:prstGeom prst="ellipse">
                      <a:avLst/>
                    </a:prstGeom>
                    <a:solidFill>
                      <a:srgbClr val="00B0F0"/>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anchor="ctr">
                      <a:normAutofit/>
                    </a:bodyPr>
                    <a:lstStyle>
                      <a:defPPr>
                        <a:defRPr lang="zh-CN"/>
                      </a:defPPr>
                      <a:lvl1pPr marL="0" algn="l" defTabSz="914377" rtl="0" eaLnBrk="1" latinLnBrk="0" hangingPunct="1">
                        <a:defRPr sz="1800" kern="1200">
                          <a:solidFill>
                            <a:schemeClr val="lt1"/>
                          </a:solidFill>
                        </a:defRPr>
                      </a:lvl1pPr>
                      <a:lvl2pPr marL="457189" algn="l" defTabSz="914377" rtl="0" eaLnBrk="1" latinLnBrk="0" hangingPunct="1">
                        <a:defRPr sz="1800" kern="1200">
                          <a:solidFill>
                            <a:schemeClr val="lt1"/>
                          </a:solidFill>
                        </a:defRPr>
                      </a:lvl2pPr>
                      <a:lvl3pPr marL="914377" algn="l" defTabSz="914377" rtl="0" eaLnBrk="1" latinLnBrk="0" hangingPunct="1">
                        <a:defRPr sz="1800" kern="1200">
                          <a:solidFill>
                            <a:schemeClr val="lt1"/>
                          </a:solidFill>
                        </a:defRPr>
                      </a:lvl3pPr>
                      <a:lvl4pPr marL="1371566" algn="l" defTabSz="914377" rtl="0" eaLnBrk="1" latinLnBrk="0" hangingPunct="1">
                        <a:defRPr sz="1800" kern="1200">
                          <a:solidFill>
                            <a:schemeClr val="lt1"/>
                          </a:solidFill>
                        </a:defRPr>
                      </a:lvl4pPr>
                      <a:lvl5pPr marL="1828754" algn="l" defTabSz="914377" rtl="0" eaLnBrk="1" latinLnBrk="0" hangingPunct="1">
                        <a:defRPr sz="1800" kern="1200">
                          <a:solidFill>
                            <a:schemeClr val="lt1"/>
                          </a:solidFill>
                        </a:defRPr>
                      </a:lvl5pPr>
                      <a:lvl6pPr marL="2285943" algn="l" defTabSz="914377" rtl="0" eaLnBrk="1" latinLnBrk="0" hangingPunct="1">
                        <a:defRPr sz="1800" kern="1200">
                          <a:solidFill>
                            <a:schemeClr val="lt1"/>
                          </a:solidFill>
                        </a:defRPr>
                      </a:lvl6pPr>
                      <a:lvl7pPr marL="2743131" algn="l" defTabSz="914377" rtl="0" eaLnBrk="1" latinLnBrk="0" hangingPunct="1">
                        <a:defRPr sz="1800" kern="1200">
                          <a:solidFill>
                            <a:schemeClr val="lt1"/>
                          </a:solidFill>
                        </a:defRPr>
                      </a:lvl7pPr>
                      <a:lvl8pPr marL="3200320" algn="l" defTabSz="914377" rtl="0" eaLnBrk="1" latinLnBrk="0" hangingPunct="1">
                        <a:defRPr sz="1800" kern="1200">
                          <a:solidFill>
                            <a:schemeClr val="lt1"/>
                          </a:solidFill>
                        </a:defRPr>
                      </a:lvl8pPr>
                      <a:lvl9pPr marL="3657509" algn="l" defTabSz="914377" rtl="0" eaLnBrk="1" latinLnBrk="0" hangingPunct="1">
                        <a:defRPr sz="1800" kern="1200">
                          <a:solidFill>
                            <a:schemeClr val="lt1"/>
                          </a:solidFill>
                        </a:defRPr>
                      </a:lvl9pPr>
                    </a:lstStyle>
                    <a:p>
                      <a:pPr algn="ctr"/>
                      <a:r>
                        <a:rPr lang="zh-CN" altLang="en-US" dirty="0" smtClean="0">
                          <a:latin typeface="Impact" panose="020B0806030902050204" pitchFamily="34" charset="0"/>
                        </a:rPr>
                        <a:t>记录</a:t>
                      </a:r>
                      <a:endParaRPr dirty="0">
                        <a:latin typeface="Impact" panose="020B0806030902050204" pitchFamily="34" charset="0"/>
                      </a:endParaRPr>
                    </a:p>
                  </p:txBody>
                </p:sp>
                <p:cxnSp>
                  <p:nvCxnSpPr>
                    <p:cNvPr id="60" name="直接连接符 59">
                      <a:extLst>
                        <a:ext uri="{FF2B5EF4-FFF2-40B4-BE49-F238E27FC236}">
                          <a16:creationId xmlns:a16="http://schemas.microsoft.com/office/drawing/2014/main" id="{11A6D17D-FCC1-4761-8331-9593F4A7D812}"/>
                        </a:ext>
                      </a:extLst>
                    </p:cNvPr>
                    <p:cNvCxnSpPr>
                      <a:stCxn id="61" idx="6"/>
                      <a:endCxn id="59" idx="2"/>
                    </p:cNvCxnSpPr>
                    <p:nvPr/>
                  </p:nvCxnSpPr>
                  <p:spPr>
                    <a:xfrm>
                      <a:off x="6541250" y="5518943"/>
                      <a:ext cx="1432744" cy="0"/>
                    </a:xfrm>
                    <a:prstGeom prst="line">
                      <a:avLst/>
                    </a:prstGeom>
                    <a:ln w="152400" cap="rnd">
                      <a:solidFill>
                        <a:schemeClr val="tx1">
                          <a:lumMod val="20000"/>
                          <a:lumOff val="80000"/>
                        </a:schemeClr>
                      </a:solidFill>
                      <a:round/>
                      <a:tailEnd type="arrow" w="sm" len="sm"/>
                    </a:ln>
                  </p:spPr>
                  <p:style>
                    <a:lnRef idx="1">
                      <a:schemeClr val="accent1"/>
                    </a:lnRef>
                    <a:fillRef idx="0">
                      <a:schemeClr val="accent1"/>
                    </a:fillRef>
                    <a:effectRef idx="0">
                      <a:schemeClr val="accent1"/>
                    </a:effectRef>
                    <a:fontRef idx="minor">
                      <a:schemeClr val="tx1"/>
                    </a:fontRef>
                  </p:style>
                </p:cxnSp>
                <p:sp>
                  <p:nvSpPr>
                    <p:cNvPr id="61" name="îṩlíďê">
                      <a:extLst>
                        <a:ext uri="{FF2B5EF4-FFF2-40B4-BE49-F238E27FC236}">
                          <a16:creationId xmlns:a16="http://schemas.microsoft.com/office/drawing/2014/main" id="{02FACDCD-811C-4398-BD9C-160DE312E8E2}"/>
                        </a:ext>
                      </a:extLst>
                    </p:cNvPr>
                    <p:cNvSpPr/>
                    <p:nvPr/>
                  </p:nvSpPr>
                  <p:spPr>
                    <a:xfrm>
                      <a:off x="5817350" y="5156996"/>
                      <a:ext cx="723900" cy="723894"/>
                    </a:xfrm>
                    <a:prstGeom prst="ellipse">
                      <a:avLst/>
                    </a:prstGeom>
                    <a:solidFill>
                      <a:srgbClr val="00B0F0"/>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anchor="ctr">
                      <a:normAutofit/>
                    </a:bodyPr>
                    <a:lstStyle>
                      <a:defPPr>
                        <a:defRPr lang="zh-CN"/>
                      </a:defPPr>
                      <a:lvl1pPr marL="0" algn="l" defTabSz="914377" rtl="0" eaLnBrk="1" latinLnBrk="0" hangingPunct="1">
                        <a:defRPr sz="1800" kern="1200">
                          <a:solidFill>
                            <a:schemeClr val="lt1"/>
                          </a:solidFill>
                        </a:defRPr>
                      </a:lvl1pPr>
                      <a:lvl2pPr marL="457189" algn="l" defTabSz="914377" rtl="0" eaLnBrk="1" latinLnBrk="0" hangingPunct="1">
                        <a:defRPr sz="1800" kern="1200">
                          <a:solidFill>
                            <a:schemeClr val="lt1"/>
                          </a:solidFill>
                        </a:defRPr>
                      </a:lvl2pPr>
                      <a:lvl3pPr marL="914377" algn="l" defTabSz="914377" rtl="0" eaLnBrk="1" latinLnBrk="0" hangingPunct="1">
                        <a:defRPr sz="1800" kern="1200">
                          <a:solidFill>
                            <a:schemeClr val="lt1"/>
                          </a:solidFill>
                        </a:defRPr>
                      </a:lvl3pPr>
                      <a:lvl4pPr marL="1371566" algn="l" defTabSz="914377" rtl="0" eaLnBrk="1" latinLnBrk="0" hangingPunct="1">
                        <a:defRPr sz="1800" kern="1200">
                          <a:solidFill>
                            <a:schemeClr val="lt1"/>
                          </a:solidFill>
                        </a:defRPr>
                      </a:lvl4pPr>
                      <a:lvl5pPr marL="1828754" algn="l" defTabSz="914377" rtl="0" eaLnBrk="1" latinLnBrk="0" hangingPunct="1">
                        <a:defRPr sz="1800" kern="1200">
                          <a:solidFill>
                            <a:schemeClr val="lt1"/>
                          </a:solidFill>
                        </a:defRPr>
                      </a:lvl5pPr>
                      <a:lvl6pPr marL="2285943" algn="l" defTabSz="914377" rtl="0" eaLnBrk="1" latinLnBrk="0" hangingPunct="1">
                        <a:defRPr sz="1800" kern="1200">
                          <a:solidFill>
                            <a:schemeClr val="lt1"/>
                          </a:solidFill>
                        </a:defRPr>
                      </a:lvl6pPr>
                      <a:lvl7pPr marL="2743131" algn="l" defTabSz="914377" rtl="0" eaLnBrk="1" latinLnBrk="0" hangingPunct="1">
                        <a:defRPr sz="1800" kern="1200">
                          <a:solidFill>
                            <a:schemeClr val="lt1"/>
                          </a:solidFill>
                        </a:defRPr>
                      </a:lvl7pPr>
                      <a:lvl8pPr marL="3200320" algn="l" defTabSz="914377" rtl="0" eaLnBrk="1" latinLnBrk="0" hangingPunct="1">
                        <a:defRPr sz="1800" kern="1200">
                          <a:solidFill>
                            <a:schemeClr val="lt1"/>
                          </a:solidFill>
                        </a:defRPr>
                      </a:lvl8pPr>
                      <a:lvl9pPr marL="3657509" algn="l" defTabSz="914377" rtl="0" eaLnBrk="1" latinLnBrk="0" hangingPunct="1">
                        <a:defRPr sz="1800" kern="1200">
                          <a:solidFill>
                            <a:schemeClr val="lt1"/>
                          </a:solidFill>
                        </a:defRPr>
                      </a:lvl9pPr>
                    </a:lstStyle>
                    <a:p>
                      <a:pPr algn="ctr"/>
                      <a:r>
                        <a:rPr lang="zh-CN" altLang="en-US" dirty="0">
                          <a:latin typeface="Impact" panose="020B0806030902050204" pitchFamily="34" charset="0"/>
                        </a:rPr>
                        <a:t>对比</a:t>
                      </a:r>
                      <a:endParaRPr dirty="0">
                        <a:latin typeface="Impact" panose="020B0806030902050204" pitchFamily="34" charset="0"/>
                      </a:endParaRPr>
                    </a:p>
                  </p:txBody>
                </p:sp>
                <p:sp>
                  <p:nvSpPr>
                    <p:cNvPr id="62" name="iśḷiḍê">
                      <a:extLst>
                        <a:ext uri="{FF2B5EF4-FFF2-40B4-BE49-F238E27FC236}">
                          <a16:creationId xmlns:a16="http://schemas.microsoft.com/office/drawing/2014/main" id="{625C5F23-C6FE-4FED-A8A2-1922EFB1980B}"/>
                        </a:ext>
                      </a:extLst>
                    </p:cNvPr>
                    <p:cNvSpPr txBox="1"/>
                    <p:nvPr/>
                  </p:nvSpPr>
                  <p:spPr>
                    <a:xfrm>
                      <a:off x="5628391" y="5908158"/>
                      <a:ext cx="1101817" cy="406507"/>
                    </a:xfrm>
                    <a:prstGeom prst="rect">
                      <a:avLst/>
                    </a:prstGeom>
                    <a:noFill/>
                  </p:spPr>
                  <p:txBody>
                    <a:bodyPr wrap="square" rtlCol="0" anchor="b">
                      <a:normAutofit/>
                    </a:bodyPr>
                    <a:lstStyle/>
                    <a:p>
                      <a:pPr lvl="0" defTabSz="914378">
                        <a:spcBef>
                          <a:spcPct val="0"/>
                        </a:spcBef>
                        <a:defRPr/>
                      </a:pPr>
                      <a:r>
                        <a:rPr lang="zh-CN" altLang="en-US" b="1" dirty="0" smtClean="0">
                          <a:solidFill>
                            <a:srgbClr val="00B0F0"/>
                          </a:solidFill>
                          <a:latin typeface="+mn-ea"/>
                        </a:rPr>
                        <a:t>软件对比</a:t>
                      </a:r>
                      <a:endParaRPr lang="zh-CN" altLang="en-US" b="1" dirty="0">
                        <a:solidFill>
                          <a:srgbClr val="00B0F0"/>
                        </a:solidFill>
                        <a:latin typeface="+mn-ea"/>
                      </a:endParaRPr>
                    </a:p>
                  </p:txBody>
                </p:sp>
                <p:sp>
                  <p:nvSpPr>
                    <p:cNvPr id="63" name="iśḷiḍê">
                      <a:extLst>
                        <a:ext uri="{FF2B5EF4-FFF2-40B4-BE49-F238E27FC236}">
                          <a16:creationId xmlns:a16="http://schemas.microsoft.com/office/drawing/2014/main" id="{625C5F23-C6FE-4FED-A8A2-1922EFB1980B}"/>
                        </a:ext>
                      </a:extLst>
                    </p:cNvPr>
                    <p:cNvSpPr txBox="1"/>
                    <p:nvPr/>
                  </p:nvSpPr>
                  <p:spPr>
                    <a:xfrm>
                      <a:off x="7827563" y="5914258"/>
                      <a:ext cx="1111021" cy="356795"/>
                    </a:xfrm>
                    <a:prstGeom prst="rect">
                      <a:avLst/>
                    </a:prstGeom>
                    <a:noFill/>
                  </p:spPr>
                  <p:txBody>
                    <a:bodyPr wrap="square" rtlCol="0" anchor="b">
                      <a:normAutofit lnSpcReduction="10000"/>
                    </a:bodyPr>
                    <a:lstStyle/>
                    <a:p>
                      <a:pPr lvl="0" defTabSz="914378">
                        <a:spcBef>
                          <a:spcPct val="0"/>
                        </a:spcBef>
                        <a:defRPr/>
                      </a:pPr>
                      <a:r>
                        <a:rPr lang="zh-CN" altLang="en-US" b="1" dirty="0" smtClean="0">
                          <a:solidFill>
                            <a:srgbClr val="00B0F0"/>
                          </a:solidFill>
                        </a:rPr>
                        <a:t>自动记录</a:t>
                      </a:r>
                      <a:endParaRPr lang="zh-CN" altLang="en-US" b="1" dirty="0">
                        <a:solidFill>
                          <a:srgbClr val="00B0F0"/>
                        </a:solidFill>
                      </a:endParaRPr>
                    </a:p>
                  </p:txBody>
                </p:sp>
                <p:sp>
                  <p:nvSpPr>
                    <p:cNvPr id="64" name="iśḷiḍê">
                      <a:extLst>
                        <a:ext uri="{FF2B5EF4-FFF2-40B4-BE49-F238E27FC236}">
                          <a16:creationId xmlns:a16="http://schemas.microsoft.com/office/drawing/2014/main" id="{625C5F23-C6FE-4FED-A8A2-1922EFB1980B}"/>
                        </a:ext>
                      </a:extLst>
                    </p:cNvPr>
                    <p:cNvSpPr txBox="1"/>
                    <p:nvPr/>
                  </p:nvSpPr>
                  <p:spPr>
                    <a:xfrm>
                      <a:off x="9671084" y="5924798"/>
                      <a:ext cx="1609668" cy="371110"/>
                    </a:xfrm>
                    <a:prstGeom prst="rect">
                      <a:avLst/>
                    </a:prstGeom>
                    <a:noFill/>
                  </p:spPr>
                  <p:txBody>
                    <a:bodyPr wrap="square" rtlCol="0" anchor="b">
                      <a:normAutofit/>
                    </a:bodyPr>
                    <a:lstStyle/>
                    <a:p>
                      <a:pPr lvl="0" defTabSz="914378">
                        <a:spcBef>
                          <a:spcPct val="0"/>
                        </a:spcBef>
                        <a:defRPr/>
                      </a:pPr>
                      <a:r>
                        <a:rPr lang="zh-CN" altLang="en-US" b="1" dirty="0" smtClean="0">
                          <a:solidFill>
                            <a:srgbClr val="00B0F0"/>
                          </a:solidFill>
                        </a:rPr>
                        <a:t>出错自动报警</a:t>
                      </a:r>
                      <a:endParaRPr lang="zh-CN" altLang="en-US" b="1" dirty="0">
                        <a:solidFill>
                          <a:srgbClr val="00B0F0"/>
                        </a:solidFill>
                      </a:endParaRPr>
                    </a:p>
                  </p:txBody>
                </p:sp>
              </p:grpSp>
              <p:sp>
                <p:nvSpPr>
                  <p:cNvPr id="44" name="矩形 43"/>
                  <p:cNvSpPr/>
                  <p:nvPr/>
                </p:nvSpPr>
                <p:spPr>
                  <a:xfrm>
                    <a:off x="9711693" y="5406080"/>
                    <a:ext cx="1444555" cy="523220"/>
                  </a:xfrm>
                  <a:prstGeom prst="rect">
                    <a:avLst/>
                  </a:prstGeom>
                </p:spPr>
                <p:txBody>
                  <a:bodyPr wrap="square">
                    <a:spAutoFit/>
                  </a:bodyPr>
                  <a:lstStyle/>
                  <a:p>
                    <a:pPr marL="171450" indent="-171450">
                      <a:buFont typeface="Arial" panose="020B0604020202020204" pitchFamily="34" charset="0"/>
                      <a:buChar char="•"/>
                    </a:pPr>
                    <a:r>
                      <a:rPr lang="zh-CN" altLang="en-US" sz="1400" dirty="0"/>
                      <a:t>及时通知操作人员处理错误</a:t>
                    </a:r>
                  </a:p>
                </p:txBody>
              </p:sp>
              <p:sp>
                <p:nvSpPr>
                  <p:cNvPr id="45" name="x-mark_1766"/>
                  <p:cNvSpPr>
                    <a:spLocks noChangeAspect="1"/>
                  </p:cNvSpPr>
                  <p:nvPr/>
                </p:nvSpPr>
                <p:spPr bwMode="auto">
                  <a:xfrm>
                    <a:off x="2912933" y="2486751"/>
                    <a:ext cx="609685" cy="608636"/>
                  </a:xfrm>
                  <a:custGeom>
                    <a:avLst/>
                    <a:gdLst>
                      <a:gd name="T0" fmla="*/ 373 w 373"/>
                      <a:gd name="T1" fmla="*/ 299 h 373"/>
                      <a:gd name="T2" fmla="*/ 261 w 373"/>
                      <a:gd name="T3" fmla="*/ 187 h 373"/>
                      <a:gd name="T4" fmla="*/ 373 w 373"/>
                      <a:gd name="T5" fmla="*/ 75 h 373"/>
                      <a:gd name="T6" fmla="*/ 299 w 373"/>
                      <a:gd name="T7" fmla="*/ 0 h 373"/>
                      <a:gd name="T8" fmla="*/ 187 w 373"/>
                      <a:gd name="T9" fmla="*/ 112 h 373"/>
                      <a:gd name="T10" fmla="*/ 75 w 373"/>
                      <a:gd name="T11" fmla="*/ 0 h 373"/>
                      <a:gd name="T12" fmla="*/ 0 w 373"/>
                      <a:gd name="T13" fmla="*/ 75 h 373"/>
                      <a:gd name="T14" fmla="*/ 112 w 373"/>
                      <a:gd name="T15" fmla="*/ 187 h 373"/>
                      <a:gd name="T16" fmla="*/ 0 w 373"/>
                      <a:gd name="T17" fmla="*/ 299 h 373"/>
                      <a:gd name="T18" fmla="*/ 75 w 373"/>
                      <a:gd name="T19" fmla="*/ 373 h 373"/>
                      <a:gd name="T20" fmla="*/ 187 w 373"/>
                      <a:gd name="T21" fmla="*/ 261 h 373"/>
                      <a:gd name="T22" fmla="*/ 299 w 373"/>
                      <a:gd name="T23" fmla="*/ 373 h 373"/>
                      <a:gd name="T24" fmla="*/ 373 w 373"/>
                      <a:gd name="T25" fmla="*/ 299 h 3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73" h="373">
                        <a:moveTo>
                          <a:pt x="373" y="299"/>
                        </a:moveTo>
                        <a:lnTo>
                          <a:pt x="261" y="187"/>
                        </a:lnTo>
                        <a:lnTo>
                          <a:pt x="373" y="75"/>
                        </a:lnTo>
                        <a:lnTo>
                          <a:pt x="299" y="0"/>
                        </a:lnTo>
                        <a:lnTo>
                          <a:pt x="187" y="112"/>
                        </a:lnTo>
                        <a:lnTo>
                          <a:pt x="75" y="0"/>
                        </a:lnTo>
                        <a:lnTo>
                          <a:pt x="0" y="75"/>
                        </a:lnTo>
                        <a:lnTo>
                          <a:pt x="112" y="187"/>
                        </a:lnTo>
                        <a:lnTo>
                          <a:pt x="0" y="299"/>
                        </a:lnTo>
                        <a:lnTo>
                          <a:pt x="75" y="373"/>
                        </a:lnTo>
                        <a:lnTo>
                          <a:pt x="187" y="261"/>
                        </a:lnTo>
                        <a:lnTo>
                          <a:pt x="299" y="373"/>
                        </a:lnTo>
                        <a:lnTo>
                          <a:pt x="373" y="299"/>
                        </a:lnTo>
                        <a:close/>
                      </a:path>
                    </a:pathLst>
                  </a:custGeom>
                  <a:solidFill>
                    <a:srgbClr val="FF0000"/>
                  </a:solidFill>
                  <a:ln>
                    <a:noFill/>
                  </a:ln>
                </p:spPr>
              </p:sp>
              <p:sp>
                <p:nvSpPr>
                  <p:cNvPr id="46" name="矩形 45"/>
                  <p:cNvSpPr/>
                  <p:nvPr/>
                </p:nvSpPr>
                <p:spPr>
                  <a:xfrm>
                    <a:off x="871471" y="5445747"/>
                    <a:ext cx="1860885" cy="738664"/>
                  </a:xfrm>
                  <a:prstGeom prst="rect">
                    <a:avLst/>
                  </a:prstGeom>
                </p:spPr>
                <p:txBody>
                  <a:bodyPr wrap="square">
                    <a:spAutoFit/>
                  </a:bodyPr>
                  <a:lstStyle/>
                  <a:p>
                    <a:pPr marL="171450" indent="-171450">
                      <a:buFont typeface="Arial" panose="020B0604020202020204" pitchFamily="34" charset="0"/>
                      <a:buChar char="•"/>
                    </a:pPr>
                    <a:r>
                      <a:rPr lang="zh-CN" altLang="en-US" sz="1400" dirty="0"/>
                      <a:t>换料后未按时核料会报警</a:t>
                    </a:r>
                  </a:p>
                  <a:p>
                    <a:pPr marL="171450" indent="-171450">
                      <a:buFont typeface="Arial" panose="020B0604020202020204" pitchFamily="34" charset="0"/>
                      <a:buChar char="•"/>
                    </a:pPr>
                    <a:r>
                      <a:rPr lang="zh-CN" altLang="en-US" sz="1400" dirty="0"/>
                      <a:t>不会看偏</a:t>
                    </a:r>
                  </a:p>
                </p:txBody>
              </p:sp>
              <p:sp>
                <p:nvSpPr>
                  <p:cNvPr id="47" name="iṧ1íḋé">
                    <a:extLst>
                      <a:ext uri="{FF2B5EF4-FFF2-40B4-BE49-F238E27FC236}">
                        <a16:creationId xmlns:a16="http://schemas.microsoft.com/office/drawing/2014/main" id="{F53B91B8-097D-4F46-8705-4AA9356BFCD5}"/>
                      </a:ext>
                    </a:extLst>
                  </p:cNvPr>
                  <p:cNvSpPr txBox="1"/>
                  <p:nvPr/>
                </p:nvSpPr>
                <p:spPr>
                  <a:xfrm>
                    <a:off x="9866271" y="1520046"/>
                    <a:ext cx="1135398" cy="372966"/>
                  </a:xfrm>
                  <a:prstGeom prst="rect">
                    <a:avLst/>
                  </a:prstGeom>
                  <a:noFill/>
                </p:spPr>
                <p:txBody>
                  <a:bodyPr wrap="square" rtlCol="0" anchor="b">
                    <a:normAutofit/>
                  </a:bodyPr>
                  <a:lstStyle/>
                  <a:p>
                    <a:pPr lvl="0" defTabSz="914378">
                      <a:spcBef>
                        <a:spcPct val="0"/>
                      </a:spcBef>
                      <a:defRPr/>
                    </a:pPr>
                    <a:r>
                      <a:rPr lang="zh-CN" altLang="en-US" b="1" dirty="0">
                        <a:solidFill>
                          <a:schemeClr val="tx1">
                            <a:lumMod val="75000"/>
                            <a:lumOff val="25000"/>
                          </a:schemeClr>
                        </a:solidFill>
                      </a:rPr>
                      <a:t>核</a:t>
                    </a:r>
                    <a:r>
                      <a:rPr lang="zh-CN" altLang="en-US" b="1" dirty="0" smtClean="0">
                        <a:solidFill>
                          <a:schemeClr val="tx1">
                            <a:lumMod val="75000"/>
                            <a:lumOff val="25000"/>
                          </a:schemeClr>
                        </a:solidFill>
                      </a:rPr>
                      <a:t>料成功</a:t>
                    </a:r>
                    <a:endParaRPr lang="zh-CN" altLang="en-US" b="1" dirty="0">
                      <a:solidFill>
                        <a:schemeClr val="tx1">
                          <a:lumMod val="75000"/>
                          <a:lumOff val="25000"/>
                        </a:schemeClr>
                      </a:solidFill>
                    </a:endParaRPr>
                  </a:p>
                </p:txBody>
              </p:sp>
            </p:grpSp>
            <p:sp>
              <p:nvSpPr>
                <p:cNvPr id="93" name="x-mark_1766"/>
                <p:cNvSpPr>
                  <a:spLocks noChangeAspect="1"/>
                </p:cNvSpPr>
                <p:nvPr/>
              </p:nvSpPr>
              <p:spPr bwMode="auto">
                <a:xfrm>
                  <a:off x="6012414" y="2655106"/>
                  <a:ext cx="609685" cy="608636"/>
                </a:xfrm>
                <a:custGeom>
                  <a:avLst/>
                  <a:gdLst>
                    <a:gd name="T0" fmla="*/ 373 w 373"/>
                    <a:gd name="T1" fmla="*/ 299 h 373"/>
                    <a:gd name="T2" fmla="*/ 261 w 373"/>
                    <a:gd name="T3" fmla="*/ 187 h 373"/>
                    <a:gd name="T4" fmla="*/ 373 w 373"/>
                    <a:gd name="T5" fmla="*/ 75 h 373"/>
                    <a:gd name="T6" fmla="*/ 299 w 373"/>
                    <a:gd name="T7" fmla="*/ 0 h 373"/>
                    <a:gd name="T8" fmla="*/ 187 w 373"/>
                    <a:gd name="T9" fmla="*/ 112 h 373"/>
                    <a:gd name="T10" fmla="*/ 75 w 373"/>
                    <a:gd name="T11" fmla="*/ 0 h 373"/>
                    <a:gd name="T12" fmla="*/ 0 w 373"/>
                    <a:gd name="T13" fmla="*/ 75 h 373"/>
                    <a:gd name="T14" fmla="*/ 112 w 373"/>
                    <a:gd name="T15" fmla="*/ 187 h 373"/>
                    <a:gd name="T16" fmla="*/ 0 w 373"/>
                    <a:gd name="T17" fmla="*/ 299 h 373"/>
                    <a:gd name="T18" fmla="*/ 75 w 373"/>
                    <a:gd name="T19" fmla="*/ 373 h 373"/>
                    <a:gd name="T20" fmla="*/ 187 w 373"/>
                    <a:gd name="T21" fmla="*/ 261 h 373"/>
                    <a:gd name="T22" fmla="*/ 299 w 373"/>
                    <a:gd name="T23" fmla="*/ 373 h 373"/>
                    <a:gd name="T24" fmla="*/ 373 w 373"/>
                    <a:gd name="T25" fmla="*/ 299 h 3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73" h="373">
                      <a:moveTo>
                        <a:pt x="373" y="299"/>
                      </a:moveTo>
                      <a:lnTo>
                        <a:pt x="261" y="187"/>
                      </a:lnTo>
                      <a:lnTo>
                        <a:pt x="373" y="75"/>
                      </a:lnTo>
                      <a:lnTo>
                        <a:pt x="299" y="0"/>
                      </a:lnTo>
                      <a:lnTo>
                        <a:pt x="187" y="112"/>
                      </a:lnTo>
                      <a:lnTo>
                        <a:pt x="75" y="0"/>
                      </a:lnTo>
                      <a:lnTo>
                        <a:pt x="0" y="75"/>
                      </a:lnTo>
                      <a:lnTo>
                        <a:pt x="112" y="187"/>
                      </a:lnTo>
                      <a:lnTo>
                        <a:pt x="0" y="299"/>
                      </a:lnTo>
                      <a:lnTo>
                        <a:pt x="75" y="373"/>
                      </a:lnTo>
                      <a:lnTo>
                        <a:pt x="187" y="261"/>
                      </a:lnTo>
                      <a:lnTo>
                        <a:pt x="299" y="373"/>
                      </a:lnTo>
                      <a:lnTo>
                        <a:pt x="373" y="299"/>
                      </a:lnTo>
                      <a:close/>
                    </a:path>
                  </a:pathLst>
                </a:custGeom>
                <a:solidFill>
                  <a:srgbClr val="FF0000"/>
                </a:solidFill>
                <a:ln>
                  <a:noFill/>
                </a:ln>
              </p:spPr>
            </p:sp>
            <p:sp>
              <p:nvSpPr>
                <p:cNvPr id="94" name="矩形 93"/>
                <p:cNvSpPr/>
                <p:nvPr/>
              </p:nvSpPr>
              <p:spPr>
                <a:xfrm>
                  <a:off x="4151497" y="2103349"/>
                  <a:ext cx="1099272" cy="307777"/>
                </a:xfrm>
                <a:prstGeom prst="rect">
                  <a:avLst/>
                </a:prstGeom>
              </p:spPr>
              <p:txBody>
                <a:bodyPr wrap="square">
                  <a:spAutoFit/>
                </a:bodyPr>
                <a:lstStyle/>
                <a:p>
                  <a:pPr marL="171450" indent="-171450">
                    <a:buFont typeface="Arial" panose="020B0604020202020204" pitchFamily="34" charset="0"/>
                    <a:buChar char="•"/>
                  </a:pPr>
                  <a:r>
                    <a:rPr lang="zh-CN" altLang="en-US" sz="1400" dirty="0" smtClean="0"/>
                    <a:t>容易出错</a:t>
                  </a:r>
                  <a:endParaRPr lang="zh-CN" altLang="en-US" sz="1400" dirty="0"/>
                </a:p>
              </p:txBody>
            </p:sp>
            <p:sp>
              <p:nvSpPr>
                <p:cNvPr id="95" name="矩形 94"/>
                <p:cNvSpPr/>
                <p:nvPr/>
              </p:nvSpPr>
              <p:spPr>
                <a:xfrm>
                  <a:off x="1161629" y="2103349"/>
                  <a:ext cx="1278276" cy="307777"/>
                </a:xfrm>
                <a:prstGeom prst="rect">
                  <a:avLst/>
                </a:prstGeom>
              </p:spPr>
              <p:txBody>
                <a:bodyPr wrap="square">
                  <a:spAutoFit/>
                </a:bodyPr>
                <a:lstStyle/>
                <a:p>
                  <a:pPr marL="171450" indent="-171450">
                    <a:buFont typeface="Arial" panose="020B0604020202020204" pitchFamily="34" charset="0"/>
                    <a:buChar char="•"/>
                  </a:pPr>
                  <a:r>
                    <a:rPr lang="zh-CN" altLang="en-US" sz="1400" dirty="0" smtClean="0"/>
                    <a:t>人工易看错</a:t>
                  </a:r>
                  <a:endParaRPr lang="zh-CN" altLang="en-US" sz="1400" dirty="0"/>
                </a:p>
              </p:txBody>
            </p:sp>
            <p:sp>
              <p:nvSpPr>
                <p:cNvPr id="110" name="矩形 109"/>
                <p:cNvSpPr/>
                <p:nvPr/>
              </p:nvSpPr>
              <p:spPr>
                <a:xfrm>
                  <a:off x="7960701" y="5572853"/>
                  <a:ext cx="1444555" cy="523220"/>
                </a:xfrm>
                <a:prstGeom prst="rect">
                  <a:avLst/>
                </a:prstGeom>
              </p:spPr>
              <p:txBody>
                <a:bodyPr wrap="square">
                  <a:spAutoFit/>
                </a:bodyPr>
                <a:lstStyle/>
                <a:p>
                  <a:pPr marL="171450" indent="-171450">
                    <a:buFont typeface="Arial" panose="020B0604020202020204" pitchFamily="34" charset="0"/>
                    <a:buChar char="•"/>
                  </a:pPr>
                  <a:r>
                    <a:rPr lang="zh-CN" altLang="en-US" sz="1400" dirty="0"/>
                    <a:t>无纸化</a:t>
                  </a:r>
                </a:p>
                <a:p>
                  <a:pPr marL="171450" indent="-171450">
                    <a:buFont typeface="Arial" panose="020B0604020202020204" pitchFamily="34" charset="0"/>
                    <a:buChar char="•"/>
                  </a:pPr>
                  <a:r>
                    <a:rPr lang="zh-CN" altLang="en-US" sz="1400" dirty="0"/>
                    <a:t>不会出错</a:t>
                  </a:r>
                </a:p>
              </p:txBody>
            </p:sp>
            <p:sp>
              <p:nvSpPr>
                <p:cNvPr id="111" name="矩形 110"/>
                <p:cNvSpPr/>
                <p:nvPr/>
              </p:nvSpPr>
              <p:spPr>
                <a:xfrm>
                  <a:off x="5567003" y="5638777"/>
                  <a:ext cx="2244509" cy="523220"/>
                </a:xfrm>
                <a:prstGeom prst="rect">
                  <a:avLst/>
                </a:prstGeom>
              </p:spPr>
              <p:txBody>
                <a:bodyPr wrap="square">
                  <a:spAutoFit/>
                </a:bodyPr>
                <a:lstStyle/>
                <a:p>
                  <a:pPr marL="171450" indent="-171450">
                    <a:buFont typeface="Arial" panose="020B0604020202020204" pitchFamily="34" charset="0"/>
                    <a:buChar char="•"/>
                  </a:pPr>
                  <a:r>
                    <a:rPr lang="zh-CN" altLang="en-US" sz="1400" dirty="0"/>
                    <a:t>速度快，瞬间得到结果</a:t>
                  </a:r>
                </a:p>
                <a:p>
                  <a:pPr marL="171450" indent="-171450">
                    <a:buFont typeface="Arial" panose="020B0604020202020204" pitchFamily="34" charset="0"/>
                    <a:buChar char="•"/>
                  </a:pPr>
                  <a:r>
                    <a:rPr lang="zh-CN" altLang="en-US" sz="1400" dirty="0"/>
                    <a:t>软件对比不出错</a:t>
                  </a:r>
                </a:p>
              </p:txBody>
            </p:sp>
          </p:grpSp>
        </p:grpSp>
        <p:cxnSp>
          <p:nvCxnSpPr>
            <p:cNvPr id="49" name="直接连接符 48">
              <a:extLst>
                <a:ext uri="{FF2B5EF4-FFF2-40B4-BE49-F238E27FC236}">
                  <a16:creationId xmlns:a16="http://schemas.microsoft.com/office/drawing/2014/main" id="{3DB4483F-10B1-4B14-94CB-11B5D2972977}"/>
                </a:ext>
              </a:extLst>
            </p:cNvPr>
            <p:cNvCxnSpPr>
              <a:cxnSpLocks/>
            </p:cNvCxnSpPr>
            <p:nvPr/>
          </p:nvCxnSpPr>
          <p:spPr>
            <a:xfrm>
              <a:off x="9568228" y="1627757"/>
              <a:ext cx="1553496" cy="0"/>
            </a:xfrm>
            <a:prstGeom prst="line">
              <a:avLst/>
            </a:prstGeom>
            <a:ln w="3175" cap="rnd">
              <a:solidFill>
                <a:schemeClr val="bg1">
                  <a:lumMod val="75000"/>
                </a:schemeClr>
              </a:solidFill>
              <a:round/>
              <a:headEnd type="none"/>
              <a:tailEnd type="none" w="med" len="med"/>
            </a:ln>
          </p:spPr>
          <p:style>
            <a:lnRef idx="1">
              <a:schemeClr val="accent1"/>
            </a:lnRef>
            <a:fillRef idx="0">
              <a:schemeClr val="accent1"/>
            </a:fillRef>
            <a:effectRef idx="0">
              <a:schemeClr val="accent1"/>
            </a:effectRef>
            <a:fontRef idx="minor">
              <a:schemeClr val="tx1"/>
            </a:fontRef>
          </p:style>
        </p:cxnSp>
        <p:cxnSp>
          <p:nvCxnSpPr>
            <p:cNvPr id="55" name="直接连接符 54">
              <a:extLst>
                <a:ext uri="{FF2B5EF4-FFF2-40B4-BE49-F238E27FC236}">
                  <a16:creationId xmlns:a16="http://schemas.microsoft.com/office/drawing/2014/main" id="{6DC193BF-B8E9-4B1B-B469-CB9ECF52825F}"/>
                </a:ext>
              </a:extLst>
            </p:cNvPr>
            <p:cNvCxnSpPr>
              <a:cxnSpLocks/>
            </p:cNvCxnSpPr>
            <p:nvPr/>
          </p:nvCxnSpPr>
          <p:spPr>
            <a:xfrm flipV="1">
              <a:off x="10369648" y="1958982"/>
              <a:ext cx="0" cy="599653"/>
            </a:xfrm>
            <a:prstGeom prst="line">
              <a:avLst/>
            </a:prstGeom>
            <a:ln w="3175" cap="rnd">
              <a:solidFill>
                <a:schemeClr val="bg1">
                  <a:lumMod val="75000"/>
                </a:schemeClr>
              </a:solidFill>
              <a:round/>
              <a:headEnd type="none"/>
              <a:tailEnd type="none" w="med" len="me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609256137"/>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smtClean="0"/>
              <a:t>全检</a:t>
            </a:r>
            <a:r>
              <a:rPr lang="en-US" altLang="zh-CN" dirty="0" smtClean="0"/>
              <a:t>(</a:t>
            </a:r>
            <a:r>
              <a:rPr lang="zh-CN" altLang="en-US" dirty="0" smtClean="0"/>
              <a:t>首检</a:t>
            </a:r>
            <a:r>
              <a:rPr lang="en-US" altLang="zh-CN" dirty="0" smtClean="0"/>
              <a:t>)</a:t>
            </a:r>
            <a:r>
              <a:rPr lang="zh-CN" altLang="en-US" dirty="0"/>
              <a:t>流程对比</a:t>
            </a:r>
          </a:p>
        </p:txBody>
      </p:sp>
      <p:grpSp>
        <p:nvGrpSpPr>
          <p:cNvPr id="34" name="组合 33"/>
          <p:cNvGrpSpPr/>
          <p:nvPr/>
        </p:nvGrpSpPr>
        <p:grpSpPr>
          <a:xfrm>
            <a:off x="871471" y="1499338"/>
            <a:ext cx="10394165" cy="4636241"/>
            <a:chOff x="871471" y="1499338"/>
            <a:chExt cx="10394165" cy="4636241"/>
          </a:xfrm>
        </p:grpSpPr>
        <p:cxnSp>
          <p:nvCxnSpPr>
            <p:cNvPr id="35" name="直接连接符 34">
              <a:extLst>
                <a:ext uri="{FF2B5EF4-FFF2-40B4-BE49-F238E27FC236}">
                  <a16:creationId xmlns:a16="http://schemas.microsoft.com/office/drawing/2014/main" id="{11A6D17D-FCC1-4761-8331-9593F4A7D812}"/>
                </a:ext>
              </a:extLst>
            </p:cNvPr>
            <p:cNvCxnSpPr>
              <a:stCxn id="44" idx="6"/>
              <a:endCxn id="68" idx="2"/>
            </p:cNvCxnSpPr>
            <p:nvPr/>
          </p:nvCxnSpPr>
          <p:spPr>
            <a:xfrm>
              <a:off x="2091505" y="4805931"/>
              <a:ext cx="2494556" cy="6301"/>
            </a:xfrm>
            <a:prstGeom prst="line">
              <a:avLst/>
            </a:prstGeom>
            <a:ln w="152400" cap="rnd">
              <a:solidFill>
                <a:schemeClr val="tx1">
                  <a:lumMod val="20000"/>
                  <a:lumOff val="80000"/>
                </a:schemeClr>
              </a:solidFill>
              <a:round/>
              <a:tailEnd type="arrow" w="sm" len="sm"/>
            </a:ln>
          </p:spPr>
          <p:style>
            <a:lnRef idx="1">
              <a:schemeClr val="accent1"/>
            </a:lnRef>
            <a:fillRef idx="0">
              <a:schemeClr val="accent1"/>
            </a:fillRef>
            <a:effectRef idx="0">
              <a:schemeClr val="accent1"/>
            </a:effectRef>
            <a:fontRef idx="minor">
              <a:schemeClr val="tx1"/>
            </a:fontRef>
          </p:style>
        </p:cxnSp>
        <p:sp>
          <p:nvSpPr>
            <p:cNvPr id="44" name="îṩlíďê">
              <a:extLst>
                <a:ext uri="{FF2B5EF4-FFF2-40B4-BE49-F238E27FC236}">
                  <a16:creationId xmlns:a16="http://schemas.microsoft.com/office/drawing/2014/main" id="{02FACDCD-811C-4398-BD9C-160DE312E8E2}"/>
                </a:ext>
              </a:extLst>
            </p:cNvPr>
            <p:cNvSpPr/>
            <p:nvPr/>
          </p:nvSpPr>
          <p:spPr>
            <a:xfrm>
              <a:off x="1367605" y="4443984"/>
              <a:ext cx="723900" cy="723894"/>
            </a:xfrm>
            <a:prstGeom prst="ellipse">
              <a:avLst/>
            </a:prstGeom>
            <a:solidFill>
              <a:srgbClr val="00B0F0"/>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anchor="ctr">
              <a:normAutofit/>
            </a:bodyPr>
            <a:lstStyle>
              <a:defPPr>
                <a:defRPr lang="zh-CN"/>
              </a:defPPr>
              <a:lvl1pPr marL="0" algn="l" defTabSz="914377" rtl="0" eaLnBrk="1" latinLnBrk="0" hangingPunct="1">
                <a:defRPr sz="1800" kern="1200">
                  <a:solidFill>
                    <a:schemeClr val="lt1"/>
                  </a:solidFill>
                </a:defRPr>
              </a:lvl1pPr>
              <a:lvl2pPr marL="457189" algn="l" defTabSz="914377" rtl="0" eaLnBrk="1" latinLnBrk="0" hangingPunct="1">
                <a:defRPr sz="1800" kern="1200">
                  <a:solidFill>
                    <a:schemeClr val="lt1"/>
                  </a:solidFill>
                </a:defRPr>
              </a:lvl2pPr>
              <a:lvl3pPr marL="914377" algn="l" defTabSz="914377" rtl="0" eaLnBrk="1" latinLnBrk="0" hangingPunct="1">
                <a:defRPr sz="1800" kern="1200">
                  <a:solidFill>
                    <a:schemeClr val="lt1"/>
                  </a:solidFill>
                </a:defRPr>
              </a:lvl3pPr>
              <a:lvl4pPr marL="1371566" algn="l" defTabSz="914377" rtl="0" eaLnBrk="1" latinLnBrk="0" hangingPunct="1">
                <a:defRPr sz="1800" kern="1200">
                  <a:solidFill>
                    <a:schemeClr val="lt1"/>
                  </a:solidFill>
                </a:defRPr>
              </a:lvl4pPr>
              <a:lvl5pPr marL="1828754" algn="l" defTabSz="914377" rtl="0" eaLnBrk="1" latinLnBrk="0" hangingPunct="1">
                <a:defRPr sz="1800" kern="1200">
                  <a:solidFill>
                    <a:schemeClr val="lt1"/>
                  </a:solidFill>
                </a:defRPr>
              </a:lvl5pPr>
              <a:lvl6pPr marL="2285943" algn="l" defTabSz="914377" rtl="0" eaLnBrk="1" latinLnBrk="0" hangingPunct="1">
                <a:defRPr sz="1800" kern="1200">
                  <a:solidFill>
                    <a:schemeClr val="lt1"/>
                  </a:solidFill>
                </a:defRPr>
              </a:lvl6pPr>
              <a:lvl7pPr marL="2743131" algn="l" defTabSz="914377" rtl="0" eaLnBrk="1" latinLnBrk="0" hangingPunct="1">
                <a:defRPr sz="1800" kern="1200">
                  <a:solidFill>
                    <a:schemeClr val="lt1"/>
                  </a:solidFill>
                </a:defRPr>
              </a:lvl7pPr>
              <a:lvl8pPr marL="3200320" algn="l" defTabSz="914377" rtl="0" eaLnBrk="1" latinLnBrk="0" hangingPunct="1">
                <a:defRPr sz="1800" kern="1200">
                  <a:solidFill>
                    <a:schemeClr val="lt1"/>
                  </a:solidFill>
                </a:defRPr>
              </a:lvl8pPr>
              <a:lvl9pPr marL="3657509" algn="l" defTabSz="914377" rtl="0" eaLnBrk="1" latinLnBrk="0" hangingPunct="1">
                <a:defRPr sz="1800" kern="1200">
                  <a:solidFill>
                    <a:schemeClr val="lt1"/>
                  </a:solidFill>
                </a:defRPr>
              </a:lvl9pPr>
            </a:lstStyle>
            <a:p>
              <a:pPr algn="ctr"/>
              <a:r>
                <a:rPr lang="zh-CN" altLang="en-US" dirty="0" smtClean="0">
                  <a:latin typeface="Impact" panose="020B0806030902050204" pitchFamily="34" charset="0"/>
                </a:rPr>
                <a:t>物料</a:t>
              </a:r>
              <a:endParaRPr dirty="0">
                <a:latin typeface="Impact" panose="020B0806030902050204" pitchFamily="34" charset="0"/>
              </a:endParaRPr>
            </a:p>
          </p:txBody>
        </p:sp>
        <p:cxnSp>
          <p:nvCxnSpPr>
            <p:cNvPr id="45" name="直接连接符 44">
              <a:extLst>
                <a:ext uri="{FF2B5EF4-FFF2-40B4-BE49-F238E27FC236}">
                  <a16:creationId xmlns:a16="http://schemas.microsoft.com/office/drawing/2014/main" id="{11A6D17D-FCC1-4761-8331-9593F4A7D812}"/>
                </a:ext>
              </a:extLst>
            </p:cNvPr>
            <p:cNvCxnSpPr>
              <a:stCxn id="46" idx="6"/>
              <a:endCxn id="80" idx="2"/>
            </p:cNvCxnSpPr>
            <p:nvPr/>
          </p:nvCxnSpPr>
          <p:spPr>
            <a:xfrm>
              <a:off x="8039744" y="2959424"/>
              <a:ext cx="2032277" cy="0"/>
            </a:xfrm>
            <a:prstGeom prst="line">
              <a:avLst/>
            </a:prstGeom>
            <a:ln w="152400" cap="rnd">
              <a:solidFill>
                <a:schemeClr val="tx1">
                  <a:lumMod val="20000"/>
                  <a:lumOff val="80000"/>
                </a:schemeClr>
              </a:solidFill>
              <a:round/>
              <a:tailEnd type="arrow" w="sm" len="sm"/>
            </a:ln>
          </p:spPr>
          <p:style>
            <a:lnRef idx="1">
              <a:schemeClr val="accent1"/>
            </a:lnRef>
            <a:fillRef idx="0">
              <a:schemeClr val="accent1"/>
            </a:fillRef>
            <a:effectRef idx="0">
              <a:schemeClr val="accent1"/>
            </a:effectRef>
            <a:fontRef idx="minor">
              <a:schemeClr val="tx1"/>
            </a:fontRef>
          </p:style>
        </p:cxnSp>
        <p:sp>
          <p:nvSpPr>
            <p:cNvPr id="46" name="î$líḑê">
              <a:extLst>
                <a:ext uri="{FF2B5EF4-FFF2-40B4-BE49-F238E27FC236}">
                  <a16:creationId xmlns:a16="http://schemas.microsoft.com/office/drawing/2014/main" id="{192B4765-9F3F-4759-83F7-8FB6386A1E20}"/>
                </a:ext>
              </a:extLst>
            </p:cNvPr>
            <p:cNvSpPr/>
            <p:nvPr/>
          </p:nvSpPr>
          <p:spPr>
            <a:xfrm>
              <a:off x="7315844" y="2597477"/>
              <a:ext cx="723900" cy="723894"/>
            </a:xfrm>
            <a:prstGeom prst="ellipse">
              <a:avLst/>
            </a:prstGeom>
            <a:solidFill>
              <a:schemeClr val="accent1"/>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anchor="ctr">
              <a:normAutofit/>
            </a:bodyPr>
            <a:lstStyle>
              <a:defPPr>
                <a:defRPr lang="zh-CN"/>
              </a:defPPr>
              <a:lvl1pPr marL="0" algn="l" defTabSz="914377" rtl="0" eaLnBrk="1" latinLnBrk="0" hangingPunct="1">
                <a:defRPr sz="1800" kern="1200">
                  <a:solidFill>
                    <a:schemeClr val="lt1"/>
                  </a:solidFill>
                </a:defRPr>
              </a:lvl1pPr>
              <a:lvl2pPr marL="457189" algn="l" defTabSz="914377" rtl="0" eaLnBrk="1" latinLnBrk="0" hangingPunct="1">
                <a:defRPr sz="1800" kern="1200">
                  <a:solidFill>
                    <a:schemeClr val="lt1"/>
                  </a:solidFill>
                </a:defRPr>
              </a:lvl2pPr>
              <a:lvl3pPr marL="914377" algn="l" defTabSz="914377" rtl="0" eaLnBrk="1" latinLnBrk="0" hangingPunct="1">
                <a:defRPr sz="1800" kern="1200">
                  <a:solidFill>
                    <a:schemeClr val="lt1"/>
                  </a:solidFill>
                </a:defRPr>
              </a:lvl3pPr>
              <a:lvl4pPr marL="1371566" algn="l" defTabSz="914377" rtl="0" eaLnBrk="1" latinLnBrk="0" hangingPunct="1">
                <a:defRPr sz="1800" kern="1200">
                  <a:solidFill>
                    <a:schemeClr val="lt1"/>
                  </a:solidFill>
                </a:defRPr>
              </a:lvl4pPr>
              <a:lvl5pPr marL="1828754" algn="l" defTabSz="914377" rtl="0" eaLnBrk="1" latinLnBrk="0" hangingPunct="1">
                <a:defRPr sz="1800" kern="1200">
                  <a:solidFill>
                    <a:schemeClr val="lt1"/>
                  </a:solidFill>
                </a:defRPr>
              </a:lvl5pPr>
              <a:lvl6pPr marL="2285943" algn="l" defTabSz="914377" rtl="0" eaLnBrk="1" latinLnBrk="0" hangingPunct="1">
                <a:defRPr sz="1800" kern="1200">
                  <a:solidFill>
                    <a:schemeClr val="lt1"/>
                  </a:solidFill>
                </a:defRPr>
              </a:lvl6pPr>
              <a:lvl7pPr marL="2743131" algn="l" defTabSz="914377" rtl="0" eaLnBrk="1" latinLnBrk="0" hangingPunct="1">
                <a:defRPr sz="1800" kern="1200">
                  <a:solidFill>
                    <a:schemeClr val="lt1"/>
                  </a:solidFill>
                </a:defRPr>
              </a:lvl7pPr>
              <a:lvl8pPr marL="3200320" algn="l" defTabSz="914377" rtl="0" eaLnBrk="1" latinLnBrk="0" hangingPunct="1">
                <a:defRPr sz="1800" kern="1200">
                  <a:solidFill>
                    <a:schemeClr val="lt1"/>
                  </a:solidFill>
                </a:defRPr>
              </a:lvl8pPr>
              <a:lvl9pPr marL="3657509" algn="l" defTabSz="914377" rtl="0" eaLnBrk="1" latinLnBrk="0" hangingPunct="1">
                <a:defRPr sz="1800" kern="1200">
                  <a:solidFill>
                    <a:schemeClr val="lt1"/>
                  </a:solidFill>
                </a:defRPr>
              </a:lvl9pPr>
            </a:lstStyle>
            <a:p>
              <a:pPr algn="ctr"/>
              <a:r>
                <a:rPr lang="zh-CN" altLang="en-US" b="1" dirty="0" smtClean="0">
                  <a:latin typeface="Impact" panose="020B0806030902050204" pitchFamily="34" charset="0"/>
                </a:rPr>
                <a:t>记录</a:t>
              </a:r>
              <a:endParaRPr b="1" dirty="0">
                <a:latin typeface="Impact" panose="020B0806030902050204" pitchFamily="34" charset="0"/>
              </a:endParaRPr>
            </a:p>
          </p:txBody>
        </p:sp>
        <p:grpSp>
          <p:nvGrpSpPr>
            <p:cNvPr id="47" name="组合 46"/>
            <p:cNvGrpSpPr/>
            <p:nvPr/>
          </p:nvGrpSpPr>
          <p:grpSpPr>
            <a:xfrm>
              <a:off x="871471" y="1499338"/>
              <a:ext cx="10394165" cy="4636241"/>
              <a:chOff x="871471" y="1341076"/>
              <a:chExt cx="10394165" cy="4636241"/>
            </a:xfrm>
          </p:grpSpPr>
          <p:grpSp>
            <p:nvGrpSpPr>
              <p:cNvPr id="53" name="组合 52"/>
              <p:cNvGrpSpPr/>
              <p:nvPr/>
            </p:nvGrpSpPr>
            <p:grpSpPr>
              <a:xfrm>
                <a:off x="1161629" y="1341076"/>
                <a:ext cx="10051089" cy="4084478"/>
                <a:chOff x="1121031" y="2206049"/>
                <a:chExt cx="10051089" cy="4084478"/>
              </a:xfrm>
            </p:grpSpPr>
            <p:cxnSp>
              <p:nvCxnSpPr>
                <p:cNvPr id="58" name="直接连接符 57">
                  <a:extLst>
                    <a:ext uri="{FF2B5EF4-FFF2-40B4-BE49-F238E27FC236}">
                      <a16:creationId xmlns:a16="http://schemas.microsoft.com/office/drawing/2014/main" id="{11A6D17D-FCC1-4761-8331-9593F4A7D812}"/>
                    </a:ext>
                  </a:extLst>
                </p:cNvPr>
                <p:cNvCxnSpPr>
                  <a:stCxn id="83" idx="6"/>
                  <a:endCxn id="46" idx="2"/>
                </p:cNvCxnSpPr>
                <p:nvPr/>
              </p:nvCxnSpPr>
              <p:spPr>
                <a:xfrm>
                  <a:off x="5273124" y="3666135"/>
                  <a:ext cx="2002122" cy="0"/>
                </a:xfrm>
                <a:prstGeom prst="line">
                  <a:avLst/>
                </a:prstGeom>
                <a:ln w="152400" cap="rnd">
                  <a:solidFill>
                    <a:schemeClr val="tx1">
                      <a:lumMod val="20000"/>
                      <a:lumOff val="80000"/>
                    </a:schemeClr>
                  </a:solidFill>
                  <a:round/>
                  <a:tailEnd type="arrow" w="sm" len="sm"/>
                </a:ln>
              </p:spPr>
              <p:style>
                <a:lnRef idx="1">
                  <a:schemeClr val="accent1"/>
                </a:lnRef>
                <a:fillRef idx="0">
                  <a:schemeClr val="accent1"/>
                </a:fillRef>
                <a:effectRef idx="0">
                  <a:schemeClr val="accent1"/>
                </a:effectRef>
                <a:fontRef idx="minor">
                  <a:schemeClr val="tx1"/>
                </a:fontRef>
              </p:style>
            </p:cxnSp>
            <p:grpSp>
              <p:nvGrpSpPr>
                <p:cNvPr id="60" name="组合 59"/>
                <p:cNvGrpSpPr/>
                <p:nvPr/>
              </p:nvGrpSpPr>
              <p:grpSpPr>
                <a:xfrm>
                  <a:off x="1121031" y="2360294"/>
                  <a:ext cx="9634292" cy="1667788"/>
                  <a:chOff x="-1021136" y="2698923"/>
                  <a:chExt cx="9634292" cy="1667788"/>
                </a:xfrm>
              </p:grpSpPr>
              <p:cxnSp>
                <p:nvCxnSpPr>
                  <p:cNvPr id="72" name="直接连接符 71">
                    <a:extLst>
                      <a:ext uri="{FF2B5EF4-FFF2-40B4-BE49-F238E27FC236}">
                        <a16:creationId xmlns:a16="http://schemas.microsoft.com/office/drawing/2014/main" id="{11A6D17D-FCC1-4761-8331-9593F4A7D812}"/>
                      </a:ext>
                    </a:extLst>
                  </p:cNvPr>
                  <p:cNvCxnSpPr>
                    <a:stCxn id="74" idx="6"/>
                    <a:endCxn id="83" idx="2"/>
                  </p:cNvCxnSpPr>
                  <p:nvPr/>
                </p:nvCxnSpPr>
                <p:spPr>
                  <a:xfrm>
                    <a:off x="-117896" y="4004764"/>
                    <a:ext cx="2524953" cy="0"/>
                  </a:xfrm>
                  <a:prstGeom prst="line">
                    <a:avLst/>
                  </a:prstGeom>
                  <a:ln w="152400" cap="rnd">
                    <a:solidFill>
                      <a:schemeClr val="tx1">
                        <a:lumMod val="20000"/>
                        <a:lumOff val="80000"/>
                      </a:schemeClr>
                    </a:solidFill>
                    <a:round/>
                    <a:tailEnd type="arrow" w="sm" len="sm"/>
                  </a:ln>
                </p:spPr>
                <p:style>
                  <a:lnRef idx="1">
                    <a:schemeClr val="accent1"/>
                  </a:lnRef>
                  <a:fillRef idx="0">
                    <a:schemeClr val="accent1"/>
                  </a:fillRef>
                  <a:effectRef idx="0">
                    <a:schemeClr val="accent1"/>
                  </a:effectRef>
                  <a:fontRef idx="minor">
                    <a:schemeClr val="tx1"/>
                  </a:fontRef>
                </p:style>
              </p:cxnSp>
              <p:grpSp>
                <p:nvGrpSpPr>
                  <p:cNvPr id="73" name="组合 72"/>
                  <p:cNvGrpSpPr/>
                  <p:nvPr/>
                </p:nvGrpSpPr>
                <p:grpSpPr>
                  <a:xfrm>
                    <a:off x="-1021136" y="2698923"/>
                    <a:ext cx="9634292" cy="1667788"/>
                    <a:chOff x="-924540" y="3399140"/>
                    <a:chExt cx="9634292" cy="1667788"/>
                  </a:xfrm>
                </p:grpSpPr>
                <p:grpSp>
                  <p:nvGrpSpPr>
                    <p:cNvPr id="75" name="组合 74"/>
                    <p:cNvGrpSpPr/>
                    <p:nvPr/>
                  </p:nvGrpSpPr>
                  <p:grpSpPr>
                    <a:xfrm>
                      <a:off x="-924540" y="3399140"/>
                      <a:ext cx="9634292" cy="1667788"/>
                      <a:chOff x="-924540" y="3399140"/>
                      <a:chExt cx="9634292" cy="1667788"/>
                    </a:xfrm>
                  </p:grpSpPr>
                  <p:grpSp>
                    <p:nvGrpSpPr>
                      <p:cNvPr id="77" name="eb9ba11a-87f2-480a-92a1-33ab3fd45950"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p:cNvGrpSpPr>
                        <a:grpSpLocks noChangeAspect="1"/>
                      </p:cNvGrpSpPr>
                      <p:nvPr>
                        <p:custDataLst>
                          <p:tags r:id="rId1"/>
                        </p:custDataLst>
                      </p:nvPr>
                    </p:nvGrpSpPr>
                    <p:grpSpPr>
                      <a:xfrm>
                        <a:off x="-924540" y="3399140"/>
                        <a:ext cx="9634292" cy="1667788"/>
                        <a:chOff x="-924540" y="3399140"/>
                        <a:chExt cx="9634292" cy="1667788"/>
                      </a:xfrm>
                    </p:grpSpPr>
                    <p:grpSp>
                      <p:nvGrpSpPr>
                        <p:cNvPr id="79" name="í$ḻïḍe">
                          <a:extLst>
                            <a:ext uri="{FF2B5EF4-FFF2-40B4-BE49-F238E27FC236}">
                              <a16:creationId xmlns:a16="http://schemas.microsoft.com/office/drawing/2014/main" id="{D2B43229-8AF3-4CB7-8AD6-0BC57495054A}"/>
                            </a:ext>
                          </a:extLst>
                        </p:cNvPr>
                        <p:cNvGrpSpPr/>
                        <p:nvPr/>
                      </p:nvGrpSpPr>
                      <p:grpSpPr>
                        <a:xfrm>
                          <a:off x="3732231" y="3416482"/>
                          <a:ext cx="2569462" cy="685339"/>
                          <a:chOff x="669396" y="2805854"/>
                          <a:chExt cx="2569462" cy="685339"/>
                        </a:xfrm>
                      </p:grpSpPr>
                      <p:sp>
                        <p:nvSpPr>
                          <p:cNvPr id="84" name="ïṥļíḑé">
                            <a:extLst>
                              <a:ext uri="{FF2B5EF4-FFF2-40B4-BE49-F238E27FC236}">
                                <a16:creationId xmlns:a16="http://schemas.microsoft.com/office/drawing/2014/main" id="{D3CEEF8B-96C4-416A-AED4-8116016B8025}"/>
                              </a:ext>
                            </a:extLst>
                          </p:cNvPr>
                          <p:cNvSpPr txBox="1"/>
                          <p:nvPr/>
                        </p:nvSpPr>
                        <p:spPr>
                          <a:xfrm>
                            <a:off x="669396" y="3131963"/>
                            <a:ext cx="1347923" cy="359230"/>
                          </a:xfrm>
                          <a:prstGeom prst="rect">
                            <a:avLst/>
                          </a:prstGeom>
                          <a:noFill/>
                        </p:spPr>
                        <p:txBody>
                          <a:bodyPr wrap="square" lIns="90000" tIns="46800" rIns="90000" bIns="46800" rtlCol="0">
                            <a:normAutofit/>
                          </a:bodyPr>
                          <a:lstStyle/>
                          <a:p>
                            <a:pPr>
                              <a:lnSpc>
                                <a:spcPct val="120000"/>
                              </a:lnSpc>
                            </a:pPr>
                            <a:endParaRPr lang="en-US" altLang="zh-CN" sz="900" dirty="0"/>
                          </a:p>
                        </p:txBody>
                      </p:sp>
                      <p:sp>
                        <p:nvSpPr>
                          <p:cNvPr id="85" name="iśḷiḍê">
                            <a:extLst>
                              <a:ext uri="{FF2B5EF4-FFF2-40B4-BE49-F238E27FC236}">
                                <a16:creationId xmlns:a16="http://schemas.microsoft.com/office/drawing/2014/main" id="{625C5F23-C6FE-4FED-A8A2-1922EFB1980B}"/>
                              </a:ext>
                            </a:extLst>
                          </p:cNvPr>
                          <p:cNvSpPr txBox="1"/>
                          <p:nvPr/>
                        </p:nvSpPr>
                        <p:spPr>
                          <a:xfrm>
                            <a:off x="2045170" y="2805854"/>
                            <a:ext cx="1193688" cy="386940"/>
                          </a:xfrm>
                          <a:prstGeom prst="rect">
                            <a:avLst/>
                          </a:prstGeom>
                          <a:noFill/>
                        </p:spPr>
                        <p:txBody>
                          <a:bodyPr wrap="square" rtlCol="0" anchor="b">
                            <a:noAutofit/>
                          </a:bodyPr>
                          <a:lstStyle/>
                          <a:p>
                            <a:pPr lvl="0" defTabSz="914378">
                              <a:spcBef>
                                <a:spcPct val="0"/>
                              </a:spcBef>
                              <a:defRPr/>
                            </a:pPr>
                            <a:r>
                              <a:rPr lang="zh-CN" altLang="en-US" b="1" dirty="0" smtClean="0">
                                <a:solidFill>
                                  <a:srgbClr val="FFC000"/>
                                </a:solidFill>
                              </a:rPr>
                              <a:t>手工记录</a:t>
                            </a:r>
                            <a:endParaRPr lang="zh-CN" altLang="en-US" b="1" dirty="0">
                              <a:solidFill>
                                <a:srgbClr val="FFC000"/>
                              </a:solidFill>
                            </a:endParaRPr>
                          </a:p>
                        </p:txBody>
                      </p:sp>
                    </p:grpSp>
                    <p:sp>
                      <p:nvSpPr>
                        <p:cNvPr id="80" name="i$ļïdê">
                          <a:extLst>
                            <a:ext uri="{FF2B5EF4-FFF2-40B4-BE49-F238E27FC236}">
                              <a16:creationId xmlns:a16="http://schemas.microsoft.com/office/drawing/2014/main" id="{89EDFFFD-99F9-44E3-A25B-751C26ACA19B}"/>
                            </a:ext>
                          </a:extLst>
                        </p:cNvPr>
                        <p:cNvSpPr/>
                        <p:nvPr/>
                      </p:nvSpPr>
                      <p:spPr>
                        <a:xfrm>
                          <a:off x="7985852" y="4343034"/>
                          <a:ext cx="723900" cy="723894"/>
                        </a:xfrm>
                        <a:prstGeom prst="ellipse">
                          <a:avLst/>
                        </a:prstGeom>
                        <a:solidFill>
                          <a:schemeClr val="accent3"/>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anchor="ctr">
                          <a:normAutofit/>
                        </a:bodyPr>
                        <a:lstStyle>
                          <a:defPPr>
                            <a:defRPr lang="zh-CN"/>
                          </a:defPPr>
                          <a:lvl1pPr marL="0" algn="l" defTabSz="914377" rtl="0" eaLnBrk="1" latinLnBrk="0" hangingPunct="1">
                            <a:defRPr sz="1800" kern="1200">
                              <a:solidFill>
                                <a:schemeClr val="lt1"/>
                              </a:solidFill>
                            </a:defRPr>
                          </a:lvl1pPr>
                          <a:lvl2pPr marL="457189" algn="l" defTabSz="914377" rtl="0" eaLnBrk="1" latinLnBrk="0" hangingPunct="1">
                            <a:defRPr sz="1800" kern="1200">
                              <a:solidFill>
                                <a:schemeClr val="lt1"/>
                              </a:solidFill>
                            </a:defRPr>
                          </a:lvl2pPr>
                          <a:lvl3pPr marL="914377" algn="l" defTabSz="914377" rtl="0" eaLnBrk="1" latinLnBrk="0" hangingPunct="1">
                            <a:defRPr sz="1800" kern="1200">
                              <a:solidFill>
                                <a:schemeClr val="lt1"/>
                              </a:solidFill>
                            </a:defRPr>
                          </a:lvl3pPr>
                          <a:lvl4pPr marL="1371566" algn="l" defTabSz="914377" rtl="0" eaLnBrk="1" latinLnBrk="0" hangingPunct="1">
                            <a:defRPr sz="1800" kern="1200">
                              <a:solidFill>
                                <a:schemeClr val="lt1"/>
                              </a:solidFill>
                            </a:defRPr>
                          </a:lvl4pPr>
                          <a:lvl5pPr marL="1828754" algn="l" defTabSz="914377" rtl="0" eaLnBrk="1" latinLnBrk="0" hangingPunct="1">
                            <a:defRPr sz="1800" kern="1200">
                              <a:solidFill>
                                <a:schemeClr val="lt1"/>
                              </a:solidFill>
                            </a:defRPr>
                          </a:lvl5pPr>
                          <a:lvl6pPr marL="2285943" algn="l" defTabSz="914377" rtl="0" eaLnBrk="1" latinLnBrk="0" hangingPunct="1">
                            <a:defRPr sz="1800" kern="1200">
                              <a:solidFill>
                                <a:schemeClr val="lt1"/>
                              </a:solidFill>
                            </a:defRPr>
                          </a:lvl6pPr>
                          <a:lvl7pPr marL="2743131" algn="l" defTabSz="914377" rtl="0" eaLnBrk="1" latinLnBrk="0" hangingPunct="1">
                            <a:defRPr sz="1800" kern="1200">
                              <a:solidFill>
                                <a:schemeClr val="lt1"/>
                              </a:solidFill>
                            </a:defRPr>
                          </a:lvl7pPr>
                          <a:lvl8pPr marL="3200320" algn="l" defTabSz="914377" rtl="0" eaLnBrk="1" latinLnBrk="0" hangingPunct="1">
                            <a:defRPr sz="1800" kern="1200">
                              <a:solidFill>
                                <a:schemeClr val="lt1"/>
                              </a:solidFill>
                            </a:defRPr>
                          </a:lvl8pPr>
                          <a:lvl9pPr marL="3657509" algn="l" defTabSz="914377" rtl="0" eaLnBrk="1" latinLnBrk="0" hangingPunct="1">
                            <a:defRPr sz="1800" kern="1200">
                              <a:solidFill>
                                <a:schemeClr val="lt1"/>
                              </a:solidFill>
                            </a:defRPr>
                          </a:lvl9pPr>
                        </a:lstStyle>
                        <a:p>
                          <a:pPr algn="ctr"/>
                          <a:r>
                            <a:rPr lang="zh-CN" altLang="en-US" dirty="0" smtClean="0">
                              <a:latin typeface="Impact" panose="020B0806030902050204" pitchFamily="34" charset="0"/>
                            </a:rPr>
                            <a:t>成功</a:t>
                          </a:r>
                          <a:endParaRPr dirty="0">
                            <a:latin typeface="Impact" panose="020B0806030902050204" pitchFamily="34" charset="0"/>
                          </a:endParaRPr>
                        </a:p>
                      </p:txBody>
                    </p:sp>
                    <p:sp>
                      <p:nvSpPr>
                        <p:cNvPr id="81" name="îśľíḑê">
                          <a:extLst>
                            <a:ext uri="{FF2B5EF4-FFF2-40B4-BE49-F238E27FC236}">
                              <a16:creationId xmlns:a16="http://schemas.microsoft.com/office/drawing/2014/main" id="{8A71189F-8904-4951-B4FC-381094B54451}"/>
                            </a:ext>
                          </a:extLst>
                        </p:cNvPr>
                        <p:cNvSpPr txBox="1"/>
                        <p:nvPr/>
                      </p:nvSpPr>
                      <p:spPr>
                        <a:xfrm>
                          <a:off x="-924540" y="3399140"/>
                          <a:ext cx="1135851" cy="403229"/>
                        </a:xfrm>
                        <a:prstGeom prst="rect">
                          <a:avLst/>
                        </a:prstGeom>
                        <a:noFill/>
                      </p:spPr>
                      <p:txBody>
                        <a:bodyPr wrap="square" rtlCol="0" anchor="b">
                          <a:normAutofit/>
                        </a:bodyPr>
                        <a:lstStyle/>
                        <a:p>
                          <a:pPr lvl="0" defTabSz="914378">
                            <a:spcBef>
                              <a:spcPct val="0"/>
                            </a:spcBef>
                            <a:defRPr/>
                          </a:pPr>
                          <a:r>
                            <a:rPr lang="zh-CN" altLang="en-US" b="1" dirty="0" smtClean="0">
                              <a:solidFill>
                                <a:schemeClr val="accent1"/>
                              </a:solidFill>
                            </a:rPr>
                            <a:t>查看站位</a:t>
                          </a:r>
                          <a:endParaRPr lang="zh-CN" altLang="en-US" b="1" dirty="0">
                            <a:solidFill>
                              <a:schemeClr val="accent1"/>
                            </a:solidFill>
                          </a:endParaRPr>
                        </a:p>
                      </p:txBody>
                    </p:sp>
                    <p:sp>
                      <p:nvSpPr>
                        <p:cNvPr id="83" name="î$líḑê">
                          <a:extLst>
                            <a:ext uri="{FF2B5EF4-FFF2-40B4-BE49-F238E27FC236}">
                              <a16:creationId xmlns:a16="http://schemas.microsoft.com/office/drawing/2014/main" id="{192B4765-9F3F-4759-83F7-8FB6386A1E20}"/>
                            </a:ext>
                          </a:extLst>
                        </p:cNvPr>
                        <p:cNvSpPr/>
                        <p:nvPr/>
                      </p:nvSpPr>
                      <p:spPr>
                        <a:xfrm>
                          <a:off x="2503653" y="4343034"/>
                          <a:ext cx="723900" cy="723894"/>
                        </a:xfrm>
                        <a:prstGeom prst="ellipse">
                          <a:avLst/>
                        </a:prstGeom>
                        <a:solidFill>
                          <a:schemeClr val="accent1"/>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anchor="ctr">
                          <a:normAutofit/>
                        </a:bodyPr>
                        <a:lstStyle>
                          <a:defPPr>
                            <a:defRPr lang="zh-CN"/>
                          </a:defPPr>
                          <a:lvl1pPr marL="0" algn="l" defTabSz="914377" rtl="0" eaLnBrk="1" latinLnBrk="0" hangingPunct="1">
                            <a:defRPr sz="1800" kern="1200">
                              <a:solidFill>
                                <a:schemeClr val="lt1"/>
                              </a:solidFill>
                            </a:defRPr>
                          </a:lvl1pPr>
                          <a:lvl2pPr marL="457189" algn="l" defTabSz="914377" rtl="0" eaLnBrk="1" latinLnBrk="0" hangingPunct="1">
                            <a:defRPr sz="1800" kern="1200">
                              <a:solidFill>
                                <a:schemeClr val="lt1"/>
                              </a:solidFill>
                            </a:defRPr>
                          </a:lvl2pPr>
                          <a:lvl3pPr marL="914377" algn="l" defTabSz="914377" rtl="0" eaLnBrk="1" latinLnBrk="0" hangingPunct="1">
                            <a:defRPr sz="1800" kern="1200">
                              <a:solidFill>
                                <a:schemeClr val="lt1"/>
                              </a:solidFill>
                            </a:defRPr>
                          </a:lvl3pPr>
                          <a:lvl4pPr marL="1371566" algn="l" defTabSz="914377" rtl="0" eaLnBrk="1" latinLnBrk="0" hangingPunct="1">
                            <a:defRPr sz="1800" kern="1200">
                              <a:solidFill>
                                <a:schemeClr val="lt1"/>
                              </a:solidFill>
                            </a:defRPr>
                          </a:lvl4pPr>
                          <a:lvl5pPr marL="1828754" algn="l" defTabSz="914377" rtl="0" eaLnBrk="1" latinLnBrk="0" hangingPunct="1">
                            <a:defRPr sz="1800" kern="1200">
                              <a:solidFill>
                                <a:schemeClr val="lt1"/>
                              </a:solidFill>
                            </a:defRPr>
                          </a:lvl5pPr>
                          <a:lvl6pPr marL="2285943" algn="l" defTabSz="914377" rtl="0" eaLnBrk="1" latinLnBrk="0" hangingPunct="1">
                            <a:defRPr sz="1800" kern="1200">
                              <a:solidFill>
                                <a:schemeClr val="lt1"/>
                              </a:solidFill>
                            </a:defRPr>
                          </a:lvl6pPr>
                          <a:lvl7pPr marL="2743131" algn="l" defTabSz="914377" rtl="0" eaLnBrk="1" latinLnBrk="0" hangingPunct="1">
                            <a:defRPr sz="1800" kern="1200">
                              <a:solidFill>
                                <a:schemeClr val="lt1"/>
                              </a:solidFill>
                            </a:defRPr>
                          </a:lvl7pPr>
                          <a:lvl8pPr marL="3200320" algn="l" defTabSz="914377" rtl="0" eaLnBrk="1" latinLnBrk="0" hangingPunct="1">
                            <a:defRPr sz="1800" kern="1200">
                              <a:solidFill>
                                <a:schemeClr val="lt1"/>
                              </a:solidFill>
                            </a:defRPr>
                          </a:lvl8pPr>
                          <a:lvl9pPr marL="3657509" algn="l" defTabSz="914377" rtl="0" eaLnBrk="1" latinLnBrk="0" hangingPunct="1">
                            <a:defRPr sz="1800" kern="1200">
                              <a:solidFill>
                                <a:schemeClr val="lt1"/>
                              </a:solidFill>
                            </a:defRPr>
                          </a:lvl9pPr>
                        </a:lstStyle>
                        <a:p>
                          <a:pPr algn="ctr"/>
                          <a:r>
                            <a:rPr lang="zh-CN" altLang="en-US" b="1" dirty="0">
                              <a:latin typeface="Impact" panose="020B0806030902050204" pitchFamily="34" charset="0"/>
                            </a:rPr>
                            <a:t>核对</a:t>
                          </a:r>
                          <a:endParaRPr b="1" dirty="0">
                            <a:latin typeface="Impact" panose="020B0806030902050204" pitchFamily="34" charset="0"/>
                          </a:endParaRPr>
                        </a:p>
                      </p:txBody>
                    </p:sp>
                  </p:grpSp>
                  <p:sp>
                    <p:nvSpPr>
                      <p:cNvPr id="78" name="矩形 77"/>
                      <p:cNvSpPr/>
                      <p:nvPr/>
                    </p:nvSpPr>
                    <p:spPr>
                      <a:xfrm>
                        <a:off x="5109338" y="3775531"/>
                        <a:ext cx="2763044" cy="523220"/>
                      </a:xfrm>
                      <a:prstGeom prst="rect">
                        <a:avLst/>
                      </a:prstGeom>
                    </p:spPr>
                    <p:txBody>
                      <a:bodyPr wrap="square">
                        <a:spAutoFit/>
                      </a:bodyPr>
                      <a:lstStyle/>
                      <a:p>
                        <a:pPr marL="171450" indent="-171450">
                          <a:buFont typeface="Arial" panose="020B0604020202020204" pitchFamily="34" charset="0"/>
                          <a:buChar char="•"/>
                        </a:pPr>
                        <a:r>
                          <a:rPr lang="zh-CN" altLang="en-US" sz="1400" dirty="0"/>
                          <a:t>使用纸质档，难以管理和存储</a:t>
                        </a:r>
                      </a:p>
                      <a:p>
                        <a:pPr marL="171450" indent="-171450">
                          <a:buFont typeface="Arial" panose="020B0604020202020204" pitchFamily="34" charset="0"/>
                          <a:buChar char="•"/>
                        </a:pPr>
                        <a:r>
                          <a:rPr lang="zh-CN" altLang="en-US" sz="1400" dirty="0"/>
                          <a:t>容易记录出错</a:t>
                        </a:r>
                      </a:p>
                    </p:txBody>
                  </p:sp>
                </p:grpSp>
                <p:sp>
                  <p:nvSpPr>
                    <p:cNvPr id="76" name="x-mark_1766"/>
                    <p:cNvSpPr>
                      <a:spLocks noChangeAspect="1"/>
                    </p:cNvSpPr>
                    <p:nvPr/>
                  </p:nvSpPr>
                  <p:spPr bwMode="auto">
                    <a:xfrm>
                      <a:off x="6537903" y="4383126"/>
                      <a:ext cx="609685" cy="608636"/>
                    </a:xfrm>
                    <a:custGeom>
                      <a:avLst/>
                      <a:gdLst>
                        <a:gd name="T0" fmla="*/ 373 w 373"/>
                        <a:gd name="T1" fmla="*/ 299 h 373"/>
                        <a:gd name="T2" fmla="*/ 261 w 373"/>
                        <a:gd name="T3" fmla="*/ 187 h 373"/>
                        <a:gd name="T4" fmla="*/ 373 w 373"/>
                        <a:gd name="T5" fmla="*/ 75 h 373"/>
                        <a:gd name="T6" fmla="*/ 299 w 373"/>
                        <a:gd name="T7" fmla="*/ 0 h 373"/>
                        <a:gd name="T8" fmla="*/ 187 w 373"/>
                        <a:gd name="T9" fmla="*/ 112 h 373"/>
                        <a:gd name="T10" fmla="*/ 75 w 373"/>
                        <a:gd name="T11" fmla="*/ 0 h 373"/>
                        <a:gd name="T12" fmla="*/ 0 w 373"/>
                        <a:gd name="T13" fmla="*/ 75 h 373"/>
                        <a:gd name="T14" fmla="*/ 112 w 373"/>
                        <a:gd name="T15" fmla="*/ 187 h 373"/>
                        <a:gd name="T16" fmla="*/ 0 w 373"/>
                        <a:gd name="T17" fmla="*/ 299 h 373"/>
                        <a:gd name="T18" fmla="*/ 75 w 373"/>
                        <a:gd name="T19" fmla="*/ 373 h 373"/>
                        <a:gd name="T20" fmla="*/ 187 w 373"/>
                        <a:gd name="T21" fmla="*/ 261 h 373"/>
                        <a:gd name="T22" fmla="*/ 299 w 373"/>
                        <a:gd name="T23" fmla="*/ 373 h 373"/>
                        <a:gd name="T24" fmla="*/ 373 w 373"/>
                        <a:gd name="T25" fmla="*/ 299 h 3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73" h="373">
                          <a:moveTo>
                            <a:pt x="373" y="299"/>
                          </a:moveTo>
                          <a:lnTo>
                            <a:pt x="261" y="187"/>
                          </a:lnTo>
                          <a:lnTo>
                            <a:pt x="373" y="75"/>
                          </a:lnTo>
                          <a:lnTo>
                            <a:pt x="299" y="0"/>
                          </a:lnTo>
                          <a:lnTo>
                            <a:pt x="187" y="112"/>
                          </a:lnTo>
                          <a:lnTo>
                            <a:pt x="75" y="0"/>
                          </a:lnTo>
                          <a:lnTo>
                            <a:pt x="0" y="75"/>
                          </a:lnTo>
                          <a:lnTo>
                            <a:pt x="112" y="187"/>
                          </a:lnTo>
                          <a:lnTo>
                            <a:pt x="0" y="299"/>
                          </a:lnTo>
                          <a:lnTo>
                            <a:pt x="75" y="373"/>
                          </a:lnTo>
                          <a:lnTo>
                            <a:pt x="187" y="261"/>
                          </a:lnTo>
                          <a:lnTo>
                            <a:pt x="299" y="373"/>
                          </a:lnTo>
                          <a:lnTo>
                            <a:pt x="373" y="299"/>
                          </a:lnTo>
                          <a:close/>
                        </a:path>
                      </a:pathLst>
                    </a:custGeom>
                    <a:solidFill>
                      <a:srgbClr val="FF0000"/>
                    </a:solidFill>
                    <a:ln>
                      <a:noFill/>
                    </a:ln>
                  </p:spPr>
                </p:sp>
              </p:grpSp>
              <p:sp>
                <p:nvSpPr>
                  <p:cNvPr id="74" name="î$líḑê">
                    <a:extLst>
                      <a:ext uri="{FF2B5EF4-FFF2-40B4-BE49-F238E27FC236}">
                        <a16:creationId xmlns:a16="http://schemas.microsoft.com/office/drawing/2014/main" id="{192B4765-9F3F-4759-83F7-8FB6386A1E20}"/>
                      </a:ext>
                    </a:extLst>
                  </p:cNvPr>
                  <p:cNvSpPr/>
                  <p:nvPr/>
                </p:nvSpPr>
                <p:spPr>
                  <a:xfrm>
                    <a:off x="-841796" y="3642817"/>
                    <a:ext cx="723900" cy="723894"/>
                  </a:xfrm>
                  <a:prstGeom prst="ellipse">
                    <a:avLst/>
                  </a:prstGeom>
                  <a:solidFill>
                    <a:schemeClr val="accent1"/>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anchor="ctr">
                    <a:normAutofit/>
                  </a:bodyPr>
                  <a:lstStyle>
                    <a:defPPr>
                      <a:defRPr lang="zh-CN"/>
                    </a:defPPr>
                    <a:lvl1pPr marL="0" algn="l" defTabSz="914377" rtl="0" eaLnBrk="1" latinLnBrk="0" hangingPunct="1">
                      <a:defRPr sz="1800" kern="1200">
                        <a:solidFill>
                          <a:schemeClr val="lt1"/>
                        </a:solidFill>
                      </a:defRPr>
                    </a:lvl1pPr>
                    <a:lvl2pPr marL="457189" algn="l" defTabSz="914377" rtl="0" eaLnBrk="1" latinLnBrk="0" hangingPunct="1">
                      <a:defRPr sz="1800" kern="1200">
                        <a:solidFill>
                          <a:schemeClr val="lt1"/>
                        </a:solidFill>
                      </a:defRPr>
                    </a:lvl2pPr>
                    <a:lvl3pPr marL="914377" algn="l" defTabSz="914377" rtl="0" eaLnBrk="1" latinLnBrk="0" hangingPunct="1">
                      <a:defRPr sz="1800" kern="1200">
                        <a:solidFill>
                          <a:schemeClr val="lt1"/>
                        </a:solidFill>
                      </a:defRPr>
                    </a:lvl3pPr>
                    <a:lvl4pPr marL="1371566" algn="l" defTabSz="914377" rtl="0" eaLnBrk="1" latinLnBrk="0" hangingPunct="1">
                      <a:defRPr sz="1800" kern="1200">
                        <a:solidFill>
                          <a:schemeClr val="lt1"/>
                        </a:solidFill>
                      </a:defRPr>
                    </a:lvl4pPr>
                    <a:lvl5pPr marL="1828754" algn="l" defTabSz="914377" rtl="0" eaLnBrk="1" latinLnBrk="0" hangingPunct="1">
                      <a:defRPr sz="1800" kern="1200">
                        <a:solidFill>
                          <a:schemeClr val="lt1"/>
                        </a:solidFill>
                      </a:defRPr>
                    </a:lvl5pPr>
                    <a:lvl6pPr marL="2285943" algn="l" defTabSz="914377" rtl="0" eaLnBrk="1" latinLnBrk="0" hangingPunct="1">
                      <a:defRPr sz="1800" kern="1200">
                        <a:solidFill>
                          <a:schemeClr val="lt1"/>
                        </a:solidFill>
                      </a:defRPr>
                    </a:lvl6pPr>
                    <a:lvl7pPr marL="2743131" algn="l" defTabSz="914377" rtl="0" eaLnBrk="1" latinLnBrk="0" hangingPunct="1">
                      <a:defRPr sz="1800" kern="1200">
                        <a:solidFill>
                          <a:schemeClr val="lt1"/>
                        </a:solidFill>
                      </a:defRPr>
                    </a:lvl7pPr>
                    <a:lvl8pPr marL="3200320" algn="l" defTabSz="914377" rtl="0" eaLnBrk="1" latinLnBrk="0" hangingPunct="1">
                      <a:defRPr sz="1800" kern="1200">
                        <a:solidFill>
                          <a:schemeClr val="lt1"/>
                        </a:solidFill>
                      </a:defRPr>
                    </a:lvl8pPr>
                    <a:lvl9pPr marL="3657509" algn="l" defTabSz="914377" rtl="0" eaLnBrk="1" latinLnBrk="0" hangingPunct="1">
                      <a:defRPr sz="1800" kern="1200">
                        <a:solidFill>
                          <a:schemeClr val="lt1"/>
                        </a:solidFill>
                      </a:defRPr>
                    </a:lvl9pPr>
                  </a:lstStyle>
                  <a:p>
                    <a:pPr algn="ctr"/>
                    <a:r>
                      <a:rPr lang="zh-CN" altLang="en-US" dirty="0" smtClean="0">
                        <a:latin typeface="Impact" panose="020B0806030902050204" pitchFamily="34" charset="0"/>
                      </a:rPr>
                      <a:t>站位</a:t>
                    </a:r>
                    <a:endParaRPr dirty="0">
                      <a:latin typeface="Impact" panose="020B0806030902050204" pitchFamily="34" charset="0"/>
                    </a:endParaRPr>
                  </a:p>
                </p:txBody>
              </p:sp>
            </p:grpSp>
            <p:cxnSp>
              <p:nvCxnSpPr>
                <p:cNvPr id="61" name="直接连接符 60">
                  <a:extLst>
                    <a:ext uri="{FF2B5EF4-FFF2-40B4-BE49-F238E27FC236}">
                      <a16:creationId xmlns:a16="http://schemas.microsoft.com/office/drawing/2014/main" id="{11A6D17D-FCC1-4761-8331-9593F4A7D812}"/>
                    </a:ext>
                  </a:extLst>
                </p:cNvPr>
                <p:cNvCxnSpPr>
                  <a:stCxn id="66" idx="6"/>
                  <a:endCxn id="63" idx="2"/>
                </p:cNvCxnSpPr>
                <p:nvPr/>
              </p:nvCxnSpPr>
              <p:spPr>
                <a:xfrm>
                  <a:off x="8058088" y="5496891"/>
                  <a:ext cx="1973335" cy="22052"/>
                </a:xfrm>
                <a:prstGeom prst="line">
                  <a:avLst/>
                </a:prstGeom>
                <a:ln w="152400" cap="rnd">
                  <a:solidFill>
                    <a:schemeClr val="tx1">
                      <a:lumMod val="20000"/>
                      <a:lumOff val="80000"/>
                    </a:schemeClr>
                  </a:solidFill>
                  <a:round/>
                  <a:tailEnd type="arrow" w="sm" len="sm"/>
                </a:ln>
              </p:spPr>
              <p:style>
                <a:lnRef idx="1">
                  <a:schemeClr val="accent1"/>
                </a:lnRef>
                <a:fillRef idx="0">
                  <a:schemeClr val="accent1"/>
                </a:fillRef>
                <a:effectRef idx="0">
                  <a:schemeClr val="accent1"/>
                </a:effectRef>
                <a:fontRef idx="minor">
                  <a:schemeClr val="tx1"/>
                </a:fontRef>
              </p:style>
            </p:cxnSp>
            <p:cxnSp>
              <p:nvCxnSpPr>
                <p:cNvPr id="62" name="直接连接符 61">
                  <a:extLst>
                    <a:ext uri="{FF2B5EF4-FFF2-40B4-BE49-F238E27FC236}">
                      <a16:creationId xmlns:a16="http://schemas.microsoft.com/office/drawing/2014/main" id="{1D65AEF2-392B-4502-8EB4-54BF09655759}"/>
                    </a:ext>
                  </a:extLst>
                </p:cNvPr>
                <p:cNvCxnSpPr>
                  <a:cxnSpLocks/>
                  <a:stCxn id="63" idx="0"/>
                  <a:endCxn id="80" idx="4"/>
                </p:cNvCxnSpPr>
                <p:nvPr/>
              </p:nvCxnSpPr>
              <p:spPr>
                <a:xfrm flipV="1">
                  <a:off x="10393373" y="4028082"/>
                  <a:ext cx="0" cy="1128914"/>
                </a:xfrm>
                <a:prstGeom prst="line">
                  <a:avLst/>
                </a:prstGeom>
                <a:ln w="152400" cap="rnd">
                  <a:solidFill>
                    <a:schemeClr val="tx1">
                      <a:lumMod val="20000"/>
                      <a:lumOff val="80000"/>
                    </a:schemeClr>
                  </a:solidFill>
                  <a:round/>
                  <a:tailEnd type="arrow" w="sm" len="sm"/>
                </a:ln>
              </p:spPr>
              <p:style>
                <a:lnRef idx="1">
                  <a:schemeClr val="accent1"/>
                </a:lnRef>
                <a:fillRef idx="0">
                  <a:schemeClr val="accent1"/>
                </a:fillRef>
                <a:effectRef idx="0">
                  <a:schemeClr val="accent1"/>
                </a:effectRef>
                <a:fontRef idx="minor">
                  <a:schemeClr val="tx1"/>
                </a:fontRef>
              </p:style>
            </p:cxnSp>
            <p:sp>
              <p:nvSpPr>
                <p:cNvPr id="63" name="îṩlíďê">
                  <a:extLst>
                    <a:ext uri="{FF2B5EF4-FFF2-40B4-BE49-F238E27FC236}">
                      <a16:creationId xmlns:a16="http://schemas.microsoft.com/office/drawing/2014/main" id="{02FACDCD-811C-4398-BD9C-160DE312E8E2}"/>
                    </a:ext>
                  </a:extLst>
                </p:cNvPr>
                <p:cNvSpPr/>
                <p:nvPr/>
              </p:nvSpPr>
              <p:spPr>
                <a:xfrm>
                  <a:off x="10031423" y="5156996"/>
                  <a:ext cx="723900" cy="723894"/>
                </a:xfrm>
                <a:prstGeom prst="ellipse">
                  <a:avLst/>
                </a:prstGeom>
                <a:solidFill>
                  <a:srgbClr val="00B0F0"/>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anchor="ctr">
                  <a:normAutofit/>
                </a:bodyPr>
                <a:lstStyle>
                  <a:defPPr>
                    <a:defRPr lang="zh-CN"/>
                  </a:defPPr>
                  <a:lvl1pPr marL="0" algn="l" defTabSz="914377" rtl="0" eaLnBrk="1" latinLnBrk="0" hangingPunct="1">
                    <a:defRPr sz="1800" kern="1200">
                      <a:solidFill>
                        <a:schemeClr val="lt1"/>
                      </a:solidFill>
                    </a:defRPr>
                  </a:lvl1pPr>
                  <a:lvl2pPr marL="457189" algn="l" defTabSz="914377" rtl="0" eaLnBrk="1" latinLnBrk="0" hangingPunct="1">
                    <a:defRPr sz="1800" kern="1200">
                      <a:solidFill>
                        <a:schemeClr val="lt1"/>
                      </a:solidFill>
                    </a:defRPr>
                  </a:lvl2pPr>
                  <a:lvl3pPr marL="914377" algn="l" defTabSz="914377" rtl="0" eaLnBrk="1" latinLnBrk="0" hangingPunct="1">
                    <a:defRPr sz="1800" kern="1200">
                      <a:solidFill>
                        <a:schemeClr val="lt1"/>
                      </a:solidFill>
                    </a:defRPr>
                  </a:lvl3pPr>
                  <a:lvl4pPr marL="1371566" algn="l" defTabSz="914377" rtl="0" eaLnBrk="1" latinLnBrk="0" hangingPunct="1">
                    <a:defRPr sz="1800" kern="1200">
                      <a:solidFill>
                        <a:schemeClr val="lt1"/>
                      </a:solidFill>
                    </a:defRPr>
                  </a:lvl4pPr>
                  <a:lvl5pPr marL="1828754" algn="l" defTabSz="914377" rtl="0" eaLnBrk="1" latinLnBrk="0" hangingPunct="1">
                    <a:defRPr sz="1800" kern="1200">
                      <a:solidFill>
                        <a:schemeClr val="lt1"/>
                      </a:solidFill>
                    </a:defRPr>
                  </a:lvl5pPr>
                  <a:lvl6pPr marL="2285943" algn="l" defTabSz="914377" rtl="0" eaLnBrk="1" latinLnBrk="0" hangingPunct="1">
                    <a:defRPr sz="1800" kern="1200">
                      <a:solidFill>
                        <a:schemeClr val="lt1"/>
                      </a:solidFill>
                    </a:defRPr>
                  </a:lvl6pPr>
                  <a:lvl7pPr marL="2743131" algn="l" defTabSz="914377" rtl="0" eaLnBrk="1" latinLnBrk="0" hangingPunct="1">
                    <a:defRPr sz="1800" kern="1200">
                      <a:solidFill>
                        <a:schemeClr val="lt1"/>
                      </a:solidFill>
                    </a:defRPr>
                  </a:lvl7pPr>
                  <a:lvl8pPr marL="3200320" algn="l" defTabSz="914377" rtl="0" eaLnBrk="1" latinLnBrk="0" hangingPunct="1">
                    <a:defRPr sz="1800" kern="1200">
                      <a:solidFill>
                        <a:schemeClr val="lt1"/>
                      </a:solidFill>
                    </a:defRPr>
                  </a:lvl8pPr>
                  <a:lvl9pPr marL="3657509" algn="l" defTabSz="914377" rtl="0" eaLnBrk="1" latinLnBrk="0" hangingPunct="1">
                    <a:defRPr sz="1800" kern="1200">
                      <a:solidFill>
                        <a:schemeClr val="lt1"/>
                      </a:solidFill>
                    </a:defRPr>
                  </a:lvl9pPr>
                </a:lstStyle>
                <a:p>
                  <a:pPr algn="ctr"/>
                  <a:r>
                    <a:rPr lang="zh-CN" altLang="en-US" dirty="0" smtClean="0">
                      <a:latin typeface="Impact" panose="020B0806030902050204" pitchFamily="34" charset="0"/>
                    </a:rPr>
                    <a:t>报警</a:t>
                  </a:r>
                  <a:endParaRPr dirty="0">
                    <a:latin typeface="Impact" panose="020B0806030902050204" pitchFamily="34" charset="0"/>
                  </a:endParaRPr>
                </a:p>
              </p:txBody>
            </p:sp>
            <p:sp>
              <p:nvSpPr>
                <p:cNvPr id="64" name="îśľíḑê">
                  <a:extLst>
                    <a:ext uri="{FF2B5EF4-FFF2-40B4-BE49-F238E27FC236}">
                      <a16:creationId xmlns:a16="http://schemas.microsoft.com/office/drawing/2014/main" id="{8A71189F-8904-4951-B4FC-381094B54451}"/>
                    </a:ext>
                  </a:extLst>
                </p:cNvPr>
                <p:cNvSpPr txBox="1"/>
                <p:nvPr/>
              </p:nvSpPr>
              <p:spPr>
                <a:xfrm>
                  <a:off x="4105533" y="2206049"/>
                  <a:ext cx="2042432" cy="632479"/>
                </a:xfrm>
                <a:prstGeom prst="rect">
                  <a:avLst/>
                </a:prstGeom>
                <a:noFill/>
              </p:spPr>
              <p:txBody>
                <a:bodyPr wrap="square" rtlCol="0" anchor="b">
                  <a:normAutofit lnSpcReduction="10000"/>
                </a:bodyPr>
                <a:lstStyle/>
                <a:p>
                  <a:pPr lvl="0" defTabSz="914378">
                    <a:spcBef>
                      <a:spcPct val="0"/>
                    </a:spcBef>
                    <a:defRPr/>
                  </a:pPr>
                  <a:r>
                    <a:rPr lang="zh-CN" altLang="en-US" b="1" dirty="0">
                      <a:solidFill>
                        <a:schemeClr val="accent1"/>
                      </a:solidFill>
                    </a:rPr>
                    <a:t>根据站位表校验物料编号是否一致</a:t>
                  </a:r>
                </a:p>
              </p:txBody>
            </p:sp>
            <p:sp>
              <p:nvSpPr>
                <p:cNvPr id="66" name="îṩlíďê">
                  <a:extLst>
                    <a:ext uri="{FF2B5EF4-FFF2-40B4-BE49-F238E27FC236}">
                      <a16:creationId xmlns:a16="http://schemas.microsoft.com/office/drawing/2014/main" id="{02FACDCD-811C-4398-BD9C-160DE312E8E2}"/>
                    </a:ext>
                  </a:extLst>
                </p:cNvPr>
                <p:cNvSpPr/>
                <p:nvPr/>
              </p:nvSpPr>
              <p:spPr>
                <a:xfrm>
                  <a:off x="7334188" y="5134944"/>
                  <a:ext cx="723900" cy="723894"/>
                </a:xfrm>
                <a:prstGeom prst="ellipse">
                  <a:avLst/>
                </a:prstGeom>
                <a:solidFill>
                  <a:srgbClr val="00B0F0"/>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anchor="ctr">
                  <a:normAutofit/>
                </a:bodyPr>
                <a:lstStyle>
                  <a:defPPr>
                    <a:defRPr lang="zh-CN"/>
                  </a:defPPr>
                  <a:lvl1pPr marL="0" algn="l" defTabSz="914377" rtl="0" eaLnBrk="1" latinLnBrk="0" hangingPunct="1">
                    <a:defRPr sz="1800" kern="1200">
                      <a:solidFill>
                        <a:schemeClr val="lt1"/>
                      </a:solidFill>
                    </a:defRPr>
                  </a:lvl1pPr>
                  <a:lvl2pPr marL="457189" algn="l" defTabSz="914377" rtl="0" eaLnBrk="1" latinLnBrk="0" hangingPunct="1">
                    <a:defRPr sz="1800" kern="1200">
                      <a:solidFill>
                        <a:schemeClr val="lt1"/>
                      </a:solidFill>
                    </a:defRPr>
                  </a:lvl2pPr>
                  <a:lvl3pPr marL="914377" algn="l" defTabSz="914377" rtl="0" eaLnBrk="1" latinLnBrk="0" hangingPunct="1">
                    <a:defRPr sz="1800" kern="1200">
                      <a:solidFill>
                        <a:schemeClr val="lt1"/>
                      </a:solidFill>
                    </a:defRPr>
                  </a:lvl3pPr>
                  <a:lvl4pPr marL="1371566" algn="l" defTabSz="914377" rtl="0" eaLnBrk="1" latinLnBrk="0" hangingPunct="1">
                    <a:defRPr sz="1800" kern="1200">
                      <a:solidFill>
                        <a:schemeClr val="lt1"/>
                      </a:solidFill>
                    </a:defRPr>
                  </a:lvl4pPr>
                  <a:lvl5pPr marL="1828754" algn="l" defTabSz="914377" rtl="0" eaLnBrk="1" latinLnBrk="0" hangingPunct="1">
                    <a:defRPr sz="1800" kern="1200">
                      <a:solidFill>
                        <a:schemeClr val="lt1"/>
                      </a:solidFill>
                    </a:defRPr>
                  </a:lvl5pPr>
                  <a:lvl6pPr marL="2285943" algn="l" defTabSz="914377" rtl="0" eaLnBrk="1" latinLnBrk="0" hangingPunct="1">
                    <a:defRPr sz="1800" kern="1200">
                      <a:solidFill>
                        <a:schemeClr val="lt1"/>
                      </a:solidFill>
                    </a:defRPr>
                  </a:lvl6pPr>
                  <a:lvl7pPr marL="2743131" algn="l" defTabSz="914377" rtl="0" eaLnBrk="1" latinLnBrk="0" hangingPunct="1">
                    <a:defRPr sz="1800" kern="1200">
                      <a:solidFill>
                        <a:schemeClr val="lt1"/>
                      </a:solidFill>
                    </a:defRPr>
                  </a:lvl7pPr>
                  <a:lvl8pPr marL="3200320" algn="l" defTabSz="914377" rtl="0" eaLnBrk="1" latinLnBrk="0" hangingPunct="1">
                    <a:defRPr sz="1800" kern="1200">
                      <a:solidFill>
                        <a:schemeClr val="lt1"/>
                      </a:solidFill>
                    </a:defRPr>
                  </a:lvl8pPr>
                  <a:lvl9pPr marL="3657509" algn="l" defTabSz="914377" rtl="0" eaLnBrk="1" latinLnBrk="0" hangingPunct="1">
                    <a:defRPr sz="1800" kern="1200">
                      <a:solidFill>
                        <a:schemeClr val="lt1"/>
                      </a:solidFill>
                    </a:defRPr>
                  </a:lvl9pPr>
                </a:lstStyle>
                <a:p>
                  <a:pPr algn="ctr"/>
                  <a:r>
                    <a:rPr lang="zh-CN" altLang="en-US" dirty="0" smtClean="0">
                      <a:latin typeface="Impact" panose="020B0806030902050204" pitchFamily="34" charset="0"/>
                    </a:rPr>
                    <a:t>记录</a:t>
                  </a:r>
                  <a:endParaRPr dirty="0">
                    <a:latin typeface="Impact" panose="020B0806030902050204" pitchFamily="34" charset="0"/>
                  </a:endParaRPr>
                </a:p>
              </p:txBody>
            </p:sp>
            <p:cxnSp>
              <p:nvCxnSpPr>
                <p:cNvPr id="67" name="直接连接符 66">
                  <a:extLst>
                    <a:ext uri="{FF2B5EF4-FFF2-40B4-BE49-F238E27FC236}">
                      <a16:creationId xmlns:a16="http://schemas.microsoft.com/office/drawing/2014/main" id="{11A6D17D-FCC1-4761-8331-9593F4A7D812}"/>
                    </a:ext>
                  </a:extLst>
                </p:cNvPr>
                <p:cNvCxnSpPr>
                  <a:stCxn id="68" idx="6"/>
                  <a:endCxn id="66" idx="2"/>
                </p:cNvCxnSpPr>
                <p:nvPr/>
              </p:nvCxnSpPr>
              <p:spPr>
                <a:xfrm flipV="1">
                  <a:off x="5269363" y="5496891"/>
                  <a:ext cx="2064825" cy="22052"/>
                </a:xfrm>
                <a:prstGeom prst="line">
                  <a:avLst/>
                </a:prstGeom>
                <a:ln w="152400" cap="rnd">
                  <a:solidFill>
                    <a:schemeClr val="tx1">
                      <a:lumMod val="20000"/>
                      <a:lumOff val="80000"/>
                    </a:schemeClr>
                  </a:solidFill>
                  <a:round/>
                  <a:tailEnd type="arrow" w="sm" len="sm"/>
                </a:ln>
              </p:spPr>
              <p:style>
                <a:lnRef idx="1">
                  <a:schemeClr val="accent1"/>
                </a:lnRef>
                <a:fillRef idx="0">
                  <a:schemeClr val="accent1"/>
                </a:fillRef>
                <a:effectRef idx="0">
                  <a:schemeClr val="accent1"/>
                </a:effectRef>
                <a:fontRef idx="minor">
                  <a:schemeClr val="tx1"/>
                </a:fontRef>
              </p:style>
            </p:cxnSp>
            <p:sp>
              <p:nvSpPr>
                <p:cNvPr id="68" name="îṩlíďê">
                  <a:extLst>
                    <a:ext uri="{FF2B5EF4-FFF2-40B4-BE49-F238E27FC236}">
                      <a16:creationId xmlns:a16="http://schemas.microsoft.com/office/drawing/2014/main" id="{02FACDCD-811C-4398-BD9C-160DE312E8E2}"/>
                    </a:ext>
                  </a:extLst>
                </p:cNvPr>
                <p:cNvSpPr/>
                <p:nvPr/>
              </p:nvSpPr>
              <p:spPr>
                <a:xfrm>
                  <a:off x="4545463" y="5156996"/>
                  <a:ext cx="723900" cy="723894"/>
                </a:xfrm>
                <a:prstGeom prst="ellipse">
                  <a:avLst/>
                </a:prstGeom>
                <a:solidFill>
                  <a:srgbClr val="00B0F0"/>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anchor="ctr">
                  <a:normAutofit/>
                </a:bodyPr>
                <a:lstStyle>
                  <a:defPPr>
                    <a:defRPr lang="zh-CN"/>
                  </a:defPPr>
                  <a:lvl1pPr marL="0" algn="l" defTabSz="914377" rtl="0" eaLnBrk="1" latinLnBrk="0" hangingPunct="1">
                    <a:defRPr sz="1800" kern="1200">
                      <a:solidFill>
                        <a:schemeClr val="lt1"/>
                      </a:solidFill>
                    </a:defRPr>
                  </a:lvl1pPr>
                  <a:lvl2pPr marL="457189" algn="l" defTabSz="914377" rtl="0" eaLnBrk="1" latinLnBrk="0" hangingPunct="1">
                    <a:defRPr sz="1800" kern="1200">
                      <a:solidFill>
                        <a:schemeClr val="lt1"/>
                      </a:solidFill>
                    </a:defRPr>
                  </a:lvl2pPr>
                  <a:lvl3pPr marL="914377" algn="l" defTabSz="914377" rtl="0" eaLnBrk="1" latinLnBrk="0" hangingPunct="1">
                    <a:defRPr sz="1800" kern="1200">
                      <a:solidFill>
                        <a:schemeClr val="lt1"/>
                      </a:solidFill>
                    </a:defRPr>
                  </a:lvl3pPr>
                  <a:lvl4pPr marL="1371566" algn="l" defTabSz="914377" rtl="0" eaLnBrk="1" latinLnBrk="0" hangingPunct="1">
                    <a:defRPr sz="1800" kern="1200">
                      <a:solidFill>
                        <a:schemeClr val="lt1"/>
                      </a:solidFill>
                    </a:defRPr>
                  </a:lvl4pPr>
                  <a:lvl5pPr marL="1828754" algn="l" defTabSz="914377" rtl="0" eaLnBrk="1" latinLnBrk="0" hangingPunct="1">
                    <a:defRPr sz="1800" kern="1200">
                      <a:solidFill>
                        <a:schemeClr val="lt1"/>
                      </a:solidFill>
                    </a:defRPr>
                  </a:lvl5pPr>
                  <a:lvl6pPr marL="2285943" algn="l" defTabSz="914377" rtl="0" eaLnBrk="1" latinLnBrk="0" hangingPunct="1">
                    <a:defRPr sz="1800" kern="1200">
                      <a:solidFill>
                        <a:schemeClr val="lt1"/>
                      </a:solidFill>
                    </a:defRPr>
                  </a:lvl6pPr>
                  <a:lvl7pPr marL="2743131" algn="l" defTabSz="914377" rtl="0" eaLnBrk="1" latinLnBrk="0" hangingPunct="1">
                    <a:defRPr sz="1800" kern="1200">
                      <a:solidFill>
                        <a:schemeClr val="lt1"/>
                      </a:solidFill>
                    </a:defRPr>
                  </a:lvl7pPr>
                  <a:lvl8pPr marL="3200320" algn="l" defTabSz="914377" rtl="0" eaLnBrk="1" latinLnBrk="0" hangingPunct="1">
                    <a:defRPr sz="1800" kern="1200">
                      <a:solidFill>
                        <a:schemeClr val="lt1"/>
                      </a:solidFill>
                    </a:defRPr>
                  </a:lvl8pPr>
                  <a:lvl9pPr marL="3657509" algn="l" defTabSz="914377" rtl="0" eaLnBrk="1" latinLnBrk="0" hangingPunct="1">
                    <a:defRPr sz="1800" kern="1200">
                      <a:solidFill>
                        <a:schemeClr val="lt1"/>
                      </a:solidFill>
                    </a:defRPr>
                  </a:lvl9pPr>
                </a:lstStyle>
                <a:p>
                  <a:pPr algn="ctr"/>
                  <a:r>
                    <a:rPr lang="zh-CN" altLang="en-US" dirty="0">
                      <a:latin typeface="Impact" panose="020B0806030902050204" pitchFamily="34" charset="0"/>
                    </a:rPr>
                    <a:t>对比</a:t>
                  </a:r>
                  <a:endParaRPr dirty="0">
                    <a:latin typeface="Impact" panose="020B0806030902050204" pitchFamily="34" charset="0"/>
                  </a:endParaRPr>
                </a:p>
              </p:txBody>
            </p:sp>
            <p:sp>
              <p:nvSpPr>
                <p:cNvPr id="69" name="iśḷiḍê">
                  <a:extLst>
                    <a:ext uri="{FF2B5EF4-FFF2-40B4-BE49-F238E27FC236}">
                      <a16:creationId xmlns:a16="http://schemas.microsoft.com/office/drawing/2014/main" id="{625C5F23-C6FE-4FED-A8A2-1922EFB1980B}"/>
                    </a:ext>
                  </a:extLst>
                </p:cNvPr>
                <p:cNvSpPr txBox="1"/>
                <p:nvPr/>
              </p:nvSpPr>
              <p:spPr>
                <a:xfrm>
                  <a:off x="4356505" y="5874588"/>
                  <a:ext cx="1101817" cy="406507"/>
                </a:xfrm>
                <a:prstGeom prst="rect">
                  <a:avLst/>
                </a:prstGeom>
                <a:noFill/>
              </p:spPr>
              <p:txBody>
                <a:bodyPr wrap="square" rtlCol="0" anchor="b">
                  <a:normAutofit/>
                </a:bodyPr>
                <a:lstStyle/>
                <a:p>
                  <a:pPr lvl="0" defTabSz="914378">
                    <a:spcBef>
                      <a:spcPct val="0"/>
                    </a:spcBef>
                    <a:defRPr/>
                  </a:pPr>
                  <a:r>
                    <a:rPr lang="zh-CN" altLang="en-US" b="1" dirty="0" smtClean="0">
                      <a:solidFill>
                        <a:srgbClr val="00B0F0"/>
                      </a:solidFill>
                      <a:latin typeface="+mn-ea"/>
                    </a:rPr>
                    <a:t>软件对比</a:t>
                  </a:r>
                  <a:endParaRPr lang="zh-CN" altLang="en-US" b="1" dirty="0">
                    <a:solidFill>
                      <a:srgbClr val="00B0F0"/>
                    </a:solidFill>
                    <a:latin typeface="+mn-ea"/>
                  </a:endParaRPr>
                </a:p>
              </p:txBody>
            </p:sp>
            <p:sp>
              <p:nvSpPr>
                <p:cNvPr id="70" name="iśḷiḍê">
                  <a:extLst>
                    <a:ext uri="{FF2B5EF4-FFF2-40B4-BE49-F238E27FC236}">
                      <a16:creationId xmlns:a16="http://schemas.microsoft.com/office/drawing/2014/main" id="{625C5F23-C6FE-4FED-A8A2-1922EFB1980B}"/>
                    </a:ext>
                  </a:extLst>
                </p:cNvPr>
                <p:cNvSpPr txBox="1"/>
                <p:nvPr/>
              </p:nvSpPr>
              <p:spPr>
                <a:xfrm>
                  <a:off x="7125725" y="5933732"/>
                  <a:ext cx="1111021" cy="356795"/>
                </a:xfrm>
                <a:prstGeom prst="rect">
                  <a:avLst/>
                </a:prstGeom>
                <a:noFill/>
              </p:spPr>
              <p:txBody>
                <a:bodyPr wrap="square" rtlCol="0" anchor="b">
                  <a:normAutofit lnSpcReduction="10000"/>
                </a:bodyPr>
                <a:lstStyle/>
                <a:p>
                  <a:pPr lvl="0" defTabSz="914378">
                    <a:spcBef>
                      <a:spcPct val="0"/>
                    </a:spcBef>
                    <a:defRPr/>
                  </a:pPr>
                  <a:r>
                    <a:rPr lang="zh-CN" altLang="en-US" b="1" dirty="0" smtClean="0">
                      <a:solidFill>
                        <a:srgbClr val="00B0F0"/>
                      </a:solidFill>
                    </a:rPr>
                    <a:t>自动记录</a:t>
                  </a:r>
                  <a:endParaRPr lang="zh-CN" altLang="en-US" b="1" dirty="0">
                    <a:solidFill>
                      <a:srgbClr val="00B0F0"/>
                    </a:solidFill>
                  </a:endParaRPr>
                </a:p>
              </p:txBody>
            </p:sp>
            <p:sp>
              <p:nvSpPr>
                <p:cNvPr id="71" name="iśḷiḍê">
                  <a:extLst>
                    <a:ext uri="{FF2B5EF4-FFF2-40B4-BE49-F238E27FC236}">
                      <a16:creationId xmlns:a16="http://schemas.microsoft.com/office/drawing/2014/main" id="{625C5F23-C6FE-4FED-A8A2-1922EFB1980B}"/>
                    </a:ext>
                  </a:extLst>
                </p:cNvPr>
                <p:cNvSpPr txBox="1"/>
                <p:nvPr/>
              </p:nvSpPr>
              <p:spPr>
                <a:xfrm>
                  <a:off x="9604892" y="5928211"/>
                  <a:ext cx="1567228" cy="362316"/>
                </a:xfrm>
                <a:prstGeom prst="rect">
                  <a:avLst/>
                </a:prstGeom>
                <a:noFill/>
              </p:spPr>
              <p:txBody>
                <a:bodyPr wrap="square" rtlCol="0" anchor="b">
                  <a:normAutofit lnSpcReduction="10000"/>
                </a:bodyPr>
                <a:lstStyle/>
                <a:p>
                  <a:pPr lvl="0" defTabSz="914378">
                    <a:spcBef>
                      <a:spcPct val="0"/>
                    </a:spcBef>
                    <a:defRPr/>
                  </a:pPr>
                  <a:r>
                    <a:rPr lang="zh-CN" altLang="en-US" b="1" dirty="0" smtClean="0">
                      <a:solidFill>
                        <a:srgbClr val="00B0F0"/>
                      </a:solidFill>
                    </a:rPr>
                    <a:t>出错自动报警</a:t>
                  </a:r>
                  <a:endParaRPr lang="zh-CN" altLang="en-US" b="1" dirty="0">
                    <a:solidFill>
                      <a:srgbClr val="00B0F0"/>
                    </a:solidFill>
                  </a:endParaRPr>
                </a:p>
              </p:txBody>
            </p:sp>
          </p:grpSp>
          <p:sp>
            <p:nvSpPr>
              <p:cNvPr id="54" name="矩形 53"/>
              <p:cNvSpPr/>
              <p:nvPr/>
            </p:nvSpPr>
            <p:spPr>
              <a:xfrm>
                <a:off x="9695260" y="5454097"/>
                <a:ext cx="1517458" cy="523220"/>
              </a:xfrm>
              <a:prstGeom prst="rect">
                <a:avLst/>
              </a:prstGeom>
            </p:spPr>
            <p:txBody>
              <a:bodyPr wrap="square">
                <a:spAutoFit/>
              </a:bodyPr>
              <a:lstStyle/>
              <a:p>
                <a:pPr marL="171450" indent="-171450">
                  <a:buFont typeface="Arial" panose="020B0604020202020204" pitchFamily="34" charset="0"/>
                  <a:buChar char="•"/>
                </a:pPr>
                <a:r>
                  <a:rPr lang="zh-CN" altLang="en-US" sz="1400" dirty="0"/>
                  <a:t>及时通知操作人员处理错误</a:t>
                </a:r>
              </a:p>
            </p:txBody>
          </p:sp>
          <p:sp>
            <p:nvSpPr>
              <p:cNvPr id="55" name="x-mark_1766"/>
              <p:cNvSpPr>
                <a:spLocks noChangeAspect="1"/>
              </p:cNvSpPr>
              <p:nvPr/>
            </p:nvSpPr>
            <p:spPr bwMode="auto">
              <a:xfrm>
                <a:off x="2912933" y="2486751"/>
                <a:ext cx="609685" cy="608636"/>
              </a:xfrm>
              <a:custGeom>
                <a:avLst/>
                <a:gdLst>
                  <a:gd name="T0" fmla="*/ 373 w 373"/>
                  <a:gd name="T1" fmla="*/ 299 h 373"/>
                  <a:gd name="T2" fmla="*/ 261 w 373"/>
                  <a:gd name="T3" fmla="*/ 187 h 373"/>
                  <a:gd name="T4" fmla="*/ 373 w 373"/>
                  <a:gd name="T5" fmla="*/ 75 h 373"/>
                  <a:gd name="T6" fmla="*/ 299 w 373"/>
                  <a:gd name="T7" fmla="*/ 0 h 373"/>
                  <a:gd name="T8" fmla="*/ 187 w 373"/>
                  <a:gd name="T9" fmla="*/ 112 h 373"/>
                  <a:gd name="T10" fmla="*/ 75 w 373"/>
                  <a:gd name="T11" fmla="*/ 0 h 373"/>
                  <a:gd name="T12" fmla="*/ 0 w 373"/>
                  <a:gd name="T13" fmla="*/ 75 h 373"/>
                  <a:gd name="T14" fmla="*/ 112 w 373"/>
                  <a:gd name="T15" fmla="*/ 187 h 373"/>
                  <a:gd name="T16" fmla="*/ 0 w 373"/>
                  <a:gd name="T17" fmla="*/ 299 h 373"/>
                  <a:gd name="T18" fmla="*/ 75 w 373"/>
                  <a:gd name="T19" fmla="*/ 373 h 373"/>
                  <a:gd name="T20" fmla="*/ 187 w 373"/>
                  <a:gd name="T21" fmla="*/ 261 h 373"/>
                  <a:gd name="T22" fmla="*/ 299 w 373"/>
                  <a:gd name="T23" fmla="*/ 373 h 373"/>
                  <a:gd name="T24" fmla="*/ 373 w 373"/>
                  <a:gd name="T25" fmla="*/ 299 h 3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73" h="373">
                    <a:moveTo>
                      <a:pt x="373" y="299"/>
                    </a:moveTo>
                    <a:lnTo>
                      <a:pt x="261" y="187"/>
                    </a:lnTo>
                    <a:lnTo>
                      <a:pt x="373" y="75"/>
                    </a:lnTo>
                    <a:lnTo>
                      <a:pt x="299" y="0"/>
                    </a:lnTo>
                    <a:lnTo>
                      <a:pt x="187" y="112"/>
                    </a:lnTo>
                    <a:lnTo>
                      <a:pt x="75" y="0"/>
                    </a:lnTo>
                    <a:lnTo>
                      <a:pt x="0" y="75"/>
                    </a:lnTo>
                    <a:lnTo>
                      <a:pt x="112" y="187"/>
                    </a:lnTo>
                    <a:lnTo>
                      <a:pt x="0" y="299"/>
                    </a:lnTo>
                    <a:lnTo>
                      <a:pt x="75" y="373"/>
                    </a:lnTo>
                    <a:lnTo>
                      <a:pt x="187" y="261"/>
                    </a:lnTo>
                    <a:lnTo>
                      <a:pt x="299" y="373"/>
                    </a:lnTo>
                    <a:lnTo>
                      <a:pt x="373" y="299"/>
                    </a:lnTo>
                    <a:close/>
                  </a:path>
                </a:pathLst>
              </a:custGeom>
              <a:solidFill>
                <a:srgbClr val="FF0000"/>
              </a:solidFill>
              <a:ln>
                <a:noFill/>
              </a:ln>
            </p:spPr>
          </p:sp>
          <p:sp>
            <p:nvSpPr>
              <p:cNvPr id="56" name="矩形 55"/>
              <p:cNvSpPr/>
              <p:nvPr/>
            </p:nvSpPr>
            <p:spPr>
              <a:xfrm>
                <a:off x="871471" y="5445747"/>
                <a:ext cx="1860885" cy="523220"/>
              </a:xfrm>
              <a:prstGeom prst="rect">
                <a:avLst/>
              </a:prstGeom>
            </p:spPr>
            <p:txBody>
              <a:bodyPr wrap="square">
                <a:spAutoFit/>
              </a:bodyPr>
              <a:lstStyle/>
              <a:p>
                <a:pPr marL="171450" indent="-171450">
                  <a:buFont typeface="Arial" panose="020B0604020202020204" pitchFamily="34" charset="0"/>
                  <a:buChar char="•"/>
                </a:pPr>
                <a:r>
                  <a:rPr lang="zh-CN" altLang="en-US" sz="1400" dirty="0"/>
                  <a:t>换料后未按时核料会</a:t>
                </a:r>
                <a:r>
                  <a:rPr lang="zh-CN" altLang="en-US" sz="1400" dirty="0" smtClean="0"/>
                  <a:t>报警</a:t>
                </a:r>
                <a:endParaRPr lang="zh-CN" altLang="en-US" sz="1400" dirty="0"/>
              </a:p>
            </p:txBody>
          </p:sp>
          <p:sp>
            <p:nvSpPr>
              <p:cNvPr id="57" name="iṧ1íḋé">
                <a:extLst>
                  <a:ext uri="{FF2B5EF4-FFF2-40B4-BE49-F238E27FC236}">
                    <a16:creationId xmlns:a16="http://schemas.microsoft.com/office/drawing/2014/main" id="{F53B91B8-097D-4F46-8705-4AA9356BFCD5}"/>
                  </a:ext>
                </a:extLst>
              </p:cNvPr>
              <p:cNvSpPr txBox="1"/>
              <p:nvPr/>
            </p:nvSpPr>
            <p:spPr>
              <a:xfrm>
                <a:off x="9592572" y="1522281"/>
                <a:ext cx="1673064" cy="358968"/>
              </a:xfrm>
              <a:prstGeom prst="rect">
                <a:avLst/>
              </a:prstGeom>
              <a:noFill/>
            </p:spPr>
            <p:txBody>
              <a:bodyPr wrap="square" rtlCol="0" anchor="b">
                <a:noAutofit/>
              </a:bodyPr>
              <a:lstStyle/>
              <a:p>
                <a:pPr lvl="0" defTabSz="914378">
                  <a:spcBef>
                    <a:spcPct val="0"/>
                  </a:spcBef>
                  <a:defRPr/>
                </a:pPr>
                <a:r>
                  <a:rPr lang="zh-CN" altLang="en-US" sz="1700" b="1" dirty="0">
                    <a:solidFill>
                      <a:schemeClr val="tx1">
                        <a:lumMod val="75000"/>
                        <a:lumOff val="25000"/>
                      </a:schemeClr>
                    </a:solidFill>
                    <a:latin typeface="+mn-ea"/>
                  </a:rPr>
                  <a:t>全</a:t>
                </a:r>
                <a:r>
                  <a:rPr lang="zh-CN" altLang="en-US" sz="1700" b="1" dirty="0" smtClean="0">
                    <a:solidFill>
                      <a:schemeClr val="tx1">
                        <a:lumMod val="75000"/>
                        <a:lumOff val="25000"/>
                      </a:schemeClr>
                    </a:solidFill>
                    <a:latin typeface="+mn-ea"/>
                  </a:rPr>
                  <a:t>检</a:t>
                </a:r>
                <a:r>
                  <a:rPr lang="en-US" altLang="zh-CN" sz="1700" b="1" dirty="0" smtClean="0">
                    <a:solidFill>
                      <a:schemeClr val="tx1">
                        <a:lumMod val="75000"/>
                        <a:lumOff val="25000"/>
                      </a:schemeClr>
                    </a:solidFill>
                    <a:latin typeface="+mn-ea"/>
                  </a:rPr>
                  <a:t>(</a:t>
                </a:r>
                <a:r>
                  <a:rPr lang="zh-CN" altLang="en-US" sz="1700" b="1" dirty="0" smtClean="0">
                    <a:solidFill>
                      <a:schemeClr val="tx1">
                        <a:lumMod val="75000"/>
                        <a:lumOff val="25000"/>
                      </a:schemeClr>
                    </a:solidFill>
                    <a:latin typeface="+mn-ea"/>
                  </a:rPr>
                  <a:t>首检</a:t>
                </a:r>
                <a:r>
                  <a:rPr lang="en-US" altLang="zh-CN" sz="1700" b="1" dirty="0" smtClean="0">
                    <a:solidFill>
                      <a:schemeClr val="tx1">
                        <a:lumMod val="75000"/>
                        <a:lumOff val="25000"/>
                      </a:schemeClr>
                    </a:solidFill>
                    <a:latin typeface="+mn-ea"/>
                  </a:rPr>
                  <a:t>)</a:t>
                </a:r>
                <a:r>
                  <a:rPr lang="zh-CN" altLang="en-US" sz="1700" b="1" dirty="0" smtClean="0">
                    <a:solidFill>
                      <a:schemeClr val="tx1">
                        <a:lumMod val="75000"/>
                        <a:lumOff val="25000"/>
                      </a:schemeClr>
                    </a:solidFill>
                    <a:latin typeface="+mn-ea"/>
                  </a:rPr>
                  <a:t>成功</a:t>
                </a:r>
                <a:endParaRPr lang="zh-CN" altLang="en-US" sz="1700" b="1" dirty="0">
                  <a:solidFill>
                    <a:schemeClr val="tx1">
                      <a:lumMod val="75000"/>
                      <a:lumOff val="25000"/>
                    </a:schemeClr>
                  </a:solidFill>
                  <a:latin typeface="+mn-ea"/>
                </a:endParaRPr>
              </a:p>
            </p:txBody>
          </p:sp>
        </p:grpSp>
        <p:sp>
          <p:nvSpPr>
            <p:cNvPr id="48" name="x-mark_1766"/>
            <p:cNvSpPr>
              <a:spLocks noChangeAspect="1"/>
            </p:cNvSpPr>
            <p:nvPr/>
          </p:nvSpPr>
          <p:spPr bwMode="auto">
            <a:xfrm>
              <a:off x="6012414" y="2655106"/>
              <a:ext cx="609685" cy="608636"/>
            </a:xfrm>
            <a:custGeom>
              <a:avLst/>
              <a:gdLst>
                <a:gd name="T0" fmla="*/ 373 w 373"/>
                <a:gd name="T1" fmla="*/ 299 h 373"/>
                <a:gd name="T2" fmla="*/ 261 w 373"/>
                <a:gd name="T3" fmla="*/ 187 h 373"/>
                <a:gd name="T4" fmla="*/ 373 w 373"/>
                <a:gd name="T5" fmla="*/ 75 h 373"/>
                <a:gd name="T6" fmla="*/ 299 w 373"/>
                <a:gd name="T7" fmla="*/ 0 h 373"/>
                <a:gd name="T8" fmla="*/ 187 w 373"/>
                <a:gd name="T9" fmla="*/ 112 h 373"/>
                <a:gd name="T10" fmla="*/ 75 w 373"/>
                <a:gd name="T11" fmla="*/ 0 h 373"/>
                <a:gd name="T12" fmla="*/ 0 w 373"/>
                <a:gd name="T13" fmla="*/ 75 h 373"/>
                <a:gd name="T14" fmla="*/ 112 w 373"/>
                <a:gd name="T15" fmla="*/ 187 h 373"/>
                <a:gd name="T16" fmla="*/ 0 w 373"/>
                <a:gd name="T17" fmla="*/ 299 h 373"/>
                <a:gd name="T18" fmla="*/ 75 w 373"/>
                <a:gd name="T19" fmla="*/ 373 h 373"/>
                <a:gd name="T20" fmla="*/ 187 w 373"/>
                <a:gd name="T21" fmla="*/ 261 h 373"/>
                <a:gd name="T22" fmla="*/ 299 w 373"/>
                <a:gd name="T23" fmla="*/ 373 h 373"/>
                <a:gd name="T24" fmla="*/ 373 w 373"/>
                <a:gd name="T25" fmla="*/ 299 h 3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73" h="373">
                  <a:moveTo>
                    <a:pt x="373" y="299"/>
                  </a:moveTo>
                  <a:lnTo>
                    <a:pt x="261" y="187"/>
                  </a:lnTo>
                  <a:lnTo>
                    <a:pt x="373" y="75"/>
                  </a:lnTo>
                  <a:lnTo>
                    <a:pt x="299" y="0"/>
                  </a:lnTo>
                  <a:lnTo>
                    <a:pt x="187" y="112"/>
                  </a:lnTo>
                  <a:lnTo>
                    <a:pt x="75" y="0"/>
                  </a:lnTo>
                  <a:lnTo>
                    <a:pt x="0" y="75"/>
                  </a:lnTo>
                  <a:lnTo>
                    <a:pt x="112" y="187"/>
                  </a:lnTo>
                  <a:lnTo>
                    <a:pt x="0" y="299"/>
                  </a:lnTo>
                  <a:lnTo>
                    <a:pt x="75" y="373"/>
                  </a:lnTo>
                  <a:lnTo>
                    <a:pt x="187" y="261"/>
                  </a:lnTo>
                  <a:lnTo>
                    <a:pt x="299" y="373"/>
                  </a:lnTo>
                  <a:lnTo>
                    <a:pt x="373" y="299"/>
                  </a:lnTo>
                  <a:close/>
                </a:path>
              </a:pathLst>
            </a:custGeom>
            <a:solidFill>
              <a:srgbClr val="FF0000"/>
            </a:solidFill>
            <a:ln>
              <a:noFill/>
            </a:ln>
          </p:spPr>
        </p:sp>
        <p:sp>
          <p:nvSpPr>
            <p:cNvPr id="49" name="矩形 48"/>
            <p:cNvSpPr/>
            <p:nvPr/>
          </p:nvSpPr>
          <p:spPr>
            <a:xfrm>
              <a:off x="4151497" y="2103349"/>
              <a:ext cx="1099272" cy="307777"/>
            </a:xfrm>
            <a:prstGeom prst="rect">
              <a:avLst/>
            </a:prstGeom>
          </p:spPr>
          <p:txBody>
            <a:bodyPr wrap="square">
              <a:spAutoFit/>
            </a:bodyPr>
            <a:lstStyle/>
            <a:p>
              <a:pPr marL="171450" indent="-171450">
                <a:buFont typeface="Arial" panose="020B0604020202020204" pitchFamily="34" charset="0"/>
                <a:buChar char="•"/>
              </a:pPr>
              <a:r>
                <a:rPr lang="zh-CN" altLang="en-US" sz="1400" dirty="0" smtClean="0"/>
                <a:t>容易出错</a:t>
              </a:r>
              <a:endParaRPr lang="zh-CN" altLang="en-US" sz="1400" dirty="0"/>
            </a:p>
          </p:txBody>
        </p:sp>
        <p:sp>
          <p:nvSpPr>
            <p:cNvPr id="50" name="矩形 49"/>
            <p:cNvSpPr/>
            <p:nvPr/>
          </p:nvSpPr>
          <p:spPr>
            <a:xfrm>
              <a:off x="1161629" y="2103349"/>
              <a:ext cx="1278276" cy="307777"/>
            </a:xfrm>
            <a:prstGeom prst="rect">
              <a:avLst/>
            </a:prstGeom>
          </p:spPr>
          <p:txBody>
            <a:bodyPr wrap="square">
              <a:spAutoFit/>
            </a:bodyPr>
            <a:lstStyle/>
            <a:p>
              <a:pPr marL="171450" indent="-171450">
                <a:buFont typeface="Arial" panose="020B0604020202020204" pitchFamily="34" charset="0"/>
                <a:buChar char="•"/>
              </a:pPr>
              <a:r>
                <a:rPr lang="zh-CN" altLang="en-US" sz="1400" dirty="0" smtClean="0"/>
                <a:t>人工易看错</a:t>
              </a:r>
              <a:endParaRPr lang="zh-CN" altLang="en-US" sz="1400" dirty="0"/>
            </a:p>
          </p:txBody>
        </p:sp>
        <p:sp>
          <p:nvSpPr>
            <p:cNvPr id="51" name="矩形 50"/>
            <p:cNvSpPr/>
            <p:nvPr/>
          </p:nvSpPr>
          <p:spPr>
            <a:xfrm>
              <a:off x="7194174" y="5583877"/>
              <a:ext cx="1444555" cy="523220"/>
            </a:xfrm>
            <a:prstGeom prst="rect">
              <a:avLst/>
            </a:prstGeom>
          </p:spPr>
          <p:txBody>
            <a:bodyPr wrap="square">
              <a:spAutoFit/>
            </a:bodyPr>
            <a:lstStyle/>
            <a:p>
              <a:pPr marL="171450" indent="-171450">
                <a:buFont typeface="Arial" panose="020B0604020202020204" pitchFamily="34" charset="0"/>
                <a:buChar char="•"/>
              </a:pPr>
              <a:r>
                <a:rPr lang="zh-CN" altLang="en-US" sz="1400" dirty="0"/>
                <a:t>无纸化</a:t>
              </a:r>
            </a:p>
            <a:p>
              <a:pPr marL="171450" indent="-171450">
                <a:buFont typeface="Arial" panose="020B0604020202020204" pitchFamily="34" charset="0"/>
                <a:buChar char="•"/>
              </a:pPr>
              <a:r>
                <a:rPr lang="zh-CN" altLang="en-US" sz="1400" dirty="0"/>
                <a:t>不会出错</a:t>
              </a:r>
            </a:p>
          </p:txBody>
        </p:sp>
        <p:sp>
          <p:nvSpPr>
            <p:cNvPr id="52" name="矩形 51"/>
            <p:cNvSpPr/>
            <p:nvPr/>
          </p:nvSpPr>
          <p:spPr>
            <a:xfrm>
              <a:off x="4376665" y="5579017"/>
              <a:ext cx="2244509" cy="523220"/>
            </a:xfrm>
            <a:prstGeom prst="rect">
              <a:avLst/>
            </a:prstGeom>
          </p:spPr>
          <p:txBody>
            <a:bodyPr wrap="square">
              <a:spAutoFit/>
            </a:bodyPr>
            <a:lstStyle/>
            <a:p>
              <a:pPr marL="171450" indent="-171450">
                <a:buFont typeface="Arial" panose="020B0604020202020204" pitchFamily="34" charset="0"/>
                <a:buChar char="•"/>
              </a:pPr>
              <a:r>
                <a:rPr lang="zh-CN" altLang="en-US" sz="1400" dirty="0"/>
                <a:t>速度快，瞬间得到结果</a:t>
              </a:r>
            </a:p>
            <a:p>
              <a:pPr marL="171450" indent="-171450">
                <a:buFont typeface="Arial" panose="020B0604020202020204" pitchFamily="34" charset="0"/>
                <a:buChar char="•"/>
              </a:pPr>
              <a:r>
                <a:rPr lang="zh-CN" altLang="en-US" sz="1400" dirty="0"/>
                <a:t>软件对比不出错</a:t>
              </a:r>
            </a:p>
          </p:txBody>
        </p:sp>
      </p:grpSp>
      <p:sp>
        <p:nvSpPr>
          <p:cNvPr id="86" name="iśḷiḍê">
            <a:extLst>
              <a:ext uri="{FF2B5EF4-FFF2-40B4-BE49-F238E27FC236}">
                <a16:creationId xmlns:a16="http://schemas.microsoft.com/office/drawing/2014/main" id="{625C5F23-C6FE-4FED-A8A2-1922EFB1980B}"/>
              </a:ext>
            </a:extLst>
          </p:cNvPr>
          <p:cNvSpPr txBox="1"/>
          <p:nvPr/>
        </p:nvSpPr>
        <p:spPr>
          <a:xfrm>
            <a:off x="997788" y="5160409"/>
            <a:ext cx="1568434" cy="406507"/>
          </a:xfrm>
          <a:prstGeom prst="rect">
            <a:avLst/>
          </a:prstGeom>
          <a:noFill/>
        </p:spPr>
        <p:txBody>
          <a:bodyPr wrap="square" rtlCol="0" anchor="b">
            <a:normAutofit/>
          </a:bodyPr>
          <a:lstStyle/>
          <a:p>
            <a:pPr lvl="0" defTabSz="914378">
              <a:spcBef>
                <a:spcPct val="0"/>
              </a:spcBef>
              <a:defRPr/>
            </a:pPr>
            <a:r>
              <a:rPr lang="en-US" altLang="zh-CN" b="1" dirty="0" smtClean="0">
                <a:solidFill>
                  <a:srgbClr val="00B0F0"/>
                </a:solidFill>
              </a:rPr>
              <a:t>APP</a:t>
            </a:r>
            <a:r>
              <a:rPr lang="zh-CN" altLang="en-US" b="1" dirty="0" smtClean="0">
                <a:solidFill>
                  <a:srgbClr val="00B0F0"/>
                </a:solidFill>
              </a:rPr>
              <a:t>扫描物料</a:t>
            </a:r>
            <a:endParaRPr lang="zh-CN" altLang="en-US" b="1" dirty="0">
              <a:solidFill>
                <a:srgbClr val="00B0F0"/>
              </a:solidFill>
            </a:endParaRPr>
          </a:p>
        </p:txBody>
      </p:sp>
      <p:cxnSp>
        <p:nvCxnSpPr>
          <p:cNvPr id="87" name="直接连接符 86">
            <a:extLst>
              <a:ext uri="{FF2B5EF4-FFF2-40B4-BE49-F238E27FC236}">
                <a16:creationId xmlns:a16="http://schemas.microsoft.com/office/drawing/2014/main" id="{6DC193BF-B8E9-4B1B-B469-CB9ECF52825F}"/>
              </a:ext>
            </a:extLst>
          </p:cNvPr>
          <p:cNvCxnSpPr>
            <a:cxnSpLocks/>
          </p:cNvCxnSpPr>
          <p:nvPr/>
        </p:nvCxnSpPr>
        <p:spPr>
          <a:xfrm flipV="1">
            <a:off x="10429104" y="1997034"/>
            <a:ext cx="0" cy="599653"/>
          </a:xfrm>
          <a:prstGeom prst="line">
            <a:avLst/>
          </a:prstGeom>
          <a:ln w="3175" cap="rnd">
            <a:solidFill>
              <a:schemeClr val="bg1">
                <a:lumMod val="75000"/>
              </a:schemeClr>
            </a:solidFill>
            <a:round/>
            <a:headEnd type="none"/>
            <a:tailEnd type="none" w="med" len="med"/>
          </a:ln>
        </p:spPr>
        <p:style>
          <a:lnRef idx="1">
            <a:schemeClr val="accent1"/>
          </a:lnRef>
          <a:fillRef idx="0">
            <a:schemeClr val="accent1"/>
          </a:fillRef>
          <a:effectRef idx="0">
            <a:schemeClr val="accent1"/>
          </a:effectRef>
          <a:fontRef idx="minor">
            <a:schemeClr val="tx1"/>
          </a:fontRef>
        </p:style>
      </p:cxnSp>
      <p:cxnSp>
        <p:nvCxnSpPr>
          <p:cNvPr id="59" name="直接连接符 58">
            <a:extLst>
              <a:ext uri="{FF2B5EF4-FFF2-40B4-BE49-F238E27FC236}">
                <a16:creationId xmlns:a16="http://schemas.microsoft.com/office/drawing/2014/main" id="{3DB4483F-10B1-4B14-94CB-11B5D2972977}"/>
              </a:ext>
            </a:extLst>
          </p:cNvPr>
          <p:cNvCxnSpPr>
            <a:cxnSpLocks/>
          </p:cNvCxnSpPr>
          <p:nvPr/>
        </p:nvCxnSpPr>
        <p:spPr>
          <a:xfrm>
            <a:off x="9645490" y="1662959"/>
            <a:ext cx="1553496" cy="0"/>
          </a:xfrm>
          <a:prstGeom prst="line">
            <a:avLst/>
          </a:prstGeom>
          <a:ln w="3175" cap="rnd">
            <a:solidFill>
              <a:schemeClr val="bg1">
                <a:lumMod val="75000"/>
              </a:schemeClr>
            </a:solidFill>
            <a:round/>
            <a:headEnd type="none"/>
            <a:tailEnd type="non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07064582"/>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smtClean="0"/>
              <a:t>使用前后耗时对比</a:t>
            </a:r>
            <a:endParaRPr lang="zh-CN" altLang="en-US" dirty="0"/>
          </a:p>
        </p:txBody>
      </p:sp>
      <p:graphicFrame>
        <p:nvGraphicFramePr>
          <p:cNvPr id="6" name="内容占位符 6"/>
          <p:cNvGraphicFramePr>
            <a:graphicFrameLocks/>
          </p:cNvGraphicFramePr>
          <p:nvPr>
            <p:extLst>
              <p:ext uri="{D42A27DB-BD31-4B8C-83A1-F6EECF244321}">
                <p14:modId xmlns:p14="http://schemas.microsoft.com/office/powerpoint/2010/main" val="1175618194"/>
              </p:ext>
            </p:extLst>
          </p:nvPr>
        </p:nvGraphicFramePr>
        <p:xfrm>
          <a:off x="810236" y="1695500"/>
          <a:ext cx="10263148" cy="4696155"/>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4078745609"/>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reeform 5"/>
          <p:cNvSpPr>
            <a:spLocks/>
          </p:cNvSpPr>
          <p:nvPr/>
        </p:nvSpPr>
        <p:spPr bwMode="auto">
          <a:xfrm>
            <a:off x="4927057" y="2988500"/>
            <a:ext cx="595939" cy="763233"/>
          </a:xfrm>
          <a:custGeom>
            <a:avLst/>
            <a:gdLst>
              <a:gd name="T0" fmla="*/ 557 w 702"/>
              <a:gd name="T1" fmla="*/ 136 h 898"/>
              <a:gd name="T2" fmla="*/ 681 w 702"/>
              <a:gd name="T3" fmla="*/ 72 h 898"/>
              <a:gd name="T4" fmla="*/ 700 w 702"/>
              <a:gd name="T5" fmla="*/ 55 h 898"/>
              <a:gd name="T6" fmla="*/ 673 w 702"/>
              <a:gd name="T7" fmla="*/ 31 h 898"/>
              <a:gd name="T8" fmla="*/ 656 w 702"/>
              <a:gd name="T9" fmla="*/ 16 h 898"/>
              <a:gd name="T10" fmla="*/ 569 w 702"/>
              <a:gd name="T11" fmla="*/ 21 h 898"/>
              <a:gd name="T12" fmla="*/ 286 w 702"/>
              <a:gd name="T13" fmla="*/ 79 h 898"/>
              <a:gd name="T14" fmla="*/ 38 w 702"/>
              <a:gd name="T15" fmla="*/ 130 h 898"/>
              <a:gd name="T16" fmla="*/ 4 w 702"/>
              <a:gd name="T17" fmla="*/ 193 h 898"/>
              <a:gd name="T18" fmla="*/ 34 w 702"/>
              <a:gd name="T19" fmla="*/ 231 h 898"/>
              <a:gd name="T20" fmla="*/ 216 w 702"/>
              <a:gd name="T21" fmla="*/ 210 h 898"/>
              <a:gd name="T22" fmla="*/ 381 w 702"/>
              <a:gd name="T23" fmla="*/ 176 h 898"/>
              <a:gd name="T24" fmla="*/ 374 w 702"/>
              <a:gd name="T25" fmla="*/ 216 h 898"/>
              <a:gd name="T26" fmla="*/ 351 w 702"/>
              <a:gd name="T27" fmla="*/ 487 h 898"/>
              <a:gd name="T28" fmla="*/ 338 w 702"/>
              <a:gd name="T29" fmla="*/ 716 h 898"/>
              <a:gd name="T30" fmla="*/ 329 w 702"/>
              <a:gd name="T31" fmla="*/ 755 h 898"/>
              <a:gd name="T32" fmla="*/ 350 w 702"/>
              <a:gd name="T33" fmla="*/ 771 h 898"/>
              <a:gd name="T34" fmla="*/ 350 w 702"/>
              <a:gd name="T35" fmla="*/ 799 h 898"/>
              <a:gd name="T36" fmla="*/ 345 w 702"/>
              <a:gd name="T37" fmla="*/ 843 h 898"/>
              <a:gd name="T38" fmla="*/ 358 w 702"/>
              <a:gd name="T39" fmla="*/ 840 h 898"/>
              <a:gd name="T40" fmla="*/ 397 w 702"/>
              <a:gd name="T41" fmla="*/ 885 h 898"/>
              <a:gd name="T42" fmla="*/ 402 w 702"/>
              <a:gd name="T43" fmla="*/ 896 h 898"/>
              <a:gd name="T44" fmla="*/ 412 w 702"/>
              <a:gd name="T45" fmla="*/ 870 h 898"/>
              <a:gd name="T46" fmla="*/ 427 w 702"/>
              <a:gd name="T47" fmla="*/ 828 h 898"/>
              <a:gd name="T48" fmla="*/ 444 w 702"/>
              <a:gd name="T49" fmla="*/ 704 h 898"/>
              <a:gd name="T50" fmla="*/ 534 w 702"/>
              <a:gd name="T51" fmla="*/ 164 h 898"/>
              <a:gd name="T52" fmla="*/ 557 w 702"/>
              <a:gd name="T53" fmla="*/ 136 h 8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702" h="898">
                <a:moveTo>
                  <a:pt x="557" y="136"/>
                </a:moveTo>
                <a:cubicBezTo>
                  <a:pt x="599" y="117"/>
                  <a:pt x="649" y="111"/>
                  <a:pt x="681" y="72"/>
                </a:cubicBezTo>
                <a:cubicBezTo>
                  <a:pt x="686" y="65"/>
                  <a:pt x="702" y="68"/>
                  <a:pt x="700" y="55"/>
                </a:cubicBezTo>
                <a:cubicBezTo>
                  <a:pt x="698" y="40"/>
                  <a:pt x="685" y="35"/>
                  <a:pt x="673" y="31"/>
                </a:cubicBezTo>
                <a:cubicBezTo>
                  <a:pt x="666" y="27"/>
                  <a:pt x="680" y="0"/>
                  <a:pt x="656" y="16"/>
                </a:cubicBezTo>
                <a:cubicBezTo>
                  <a:pt x="627" y="16"/>
                  <a:pt x="598" y="15"/>
                  <a:pt x="569" y="21"/>
                </a:cubicBezTo>
                <a:cubicBezTo>
                  <a:pt x="475" y="41"/>
                  <a:pt x="380" y="60"/>
                  <a:pt x="286" y="79"/>
                </a:cubicBezTo>
                <a:cubicBezTo>
                  <a:pt x="203" y="96"/>
                  <a:pt x="121" y="114"/>
                  <a:pt x="38" y="130"/>
                </a:cubicBezTo>
                <a:cubicBezTo>
                  <a:pt x="0" y="138"/>
                  <a:pt x="7" y="167"/>
                  <a:pt x="4" y="193"/>
                </a:cubicBezTo>
                <a:cubicBezTo>
                  <a:pt x="1" y="216"/>
                  <a:pt x="12" y="226"/>
                  <a:pt x="34" y="231"/>
                </a:cubicBezTo>
                <a:cubicBezTo>
                  <a:pt x="98" y="247"/>
                  <a:pt x="156" y="221"/>
                  <a:pt x="216" y="210"/>
                </a:cubicBezTo>
                <a:cubicBezTo>
                  <a:pt x="271" y="201"/>
                  <a:pt x="324" y="180"/>
                  <a:pt x="381" y="176"/>
                </a:cubicBezTo>
                <a:cubicBezTo>
                  <a:pt x="378" y="192"/>
                  <a:pt x="375" y="204"/>
                  <a:pt x="374" y="216"/>
                </a:cubicBezTo>
                <a:cubicBezTo>
                  <a:pt x="362" y="306"/>
                  <a:pt x="365" y="397"/>
                  <a:pt x="351" y="487"/>
                </a:cubicBezTo>
                <a:cubicBezTo>
                  <a:pt x="338" y="562"/>
                  <a:pt x="341" y="640"/>
                  <a:pt x="338" y="716"/>
                </a:cubicBezTo>
                <a:cubicBezTo>
                  <a:pt x="335" y="729"/>
                  <a:pt x="333" y="742"/>
                  <a:pt x="329" y="755"/>
                </a:cubicBezTo>
                <a:cubicBezTo>
                  <a:pt x="324" y="776"/>
                  <a:pt x="336" y="774"/>
                  <a:pt x="350" y="771"/>
                </a:cubicBezTo>
                <a:cubicBezTo>
                  <a:pt x="345" y="781"/>
                  <a:pt x="350" y="790"/>
                  <a:pt x="350" y="799"/>
                </a:cubicBezTo>
                <a:cubicBezTo>
                  <a:pt x="344" y="813"/>
                  <a:pt x="341" y="829"/>
                  <a:pt x="345" y="843"/>
                </a:cubicBezTo>
                <a:cubicBezTo>
                  <a:pt x="349" y="859"/>
                  <a:pt x="352" y="835"/>
                  <a:pt x="358" y="840"/>
                </a:cubicBezTo>
                <a:cubicBezTo>
                  <a:pt x="381" y="847"/>
                  <a:pt x="379" y="875"/>
                  <a:pt x="397" y="885"/>
                </a:cubicBezTo>
                <a:cubicBezTo>
                  <a:pt x="397" y="889"/>
                  <a:pt x="398" y="898"/>
                  <a:pt x="402" y="896"/>
                </a:cubicBezTo>
                <a:cubicBezTo>
                  <a:pt x="413" y="891"/>
                  <a:pt x="411" y="879"/>
                  <a:pt x="412" y="870"/>
                </a:cubicBezTo>
                <a:cubicBezTo>
                  <a:pt x="424" y="858"/>
                  <a:pt x="425" y="842"/>
                  <a:pt x="427" y="828"/>
                </a:cubicBezTo>
                <a:cubicBezTo>
                  <a:pt x="433" y="787"/>
                  <a:pt x="438" y="745"/>
                  <a:pt x="444" y="704"/>
                </a:cubicBezTo>
                <a:cubicBezTo>
                  <a:pt x="467" y="523"/>
                  <a:pt x="495" y="342"/>
                  <a:pt x="534" y="164"/>
                </a:cubicBezTo>
                <a:cubicBezTo>
                  <a:pt x="537" y="149"/>
                  <a:pt x="541" y="143"/>
                  <a:pt x="557" y="136"/>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zh-CN" altLang="en-US">
              <a:solidFill>
                <a:schemeClr val="bg1"/>
              </a:solidFill>
            </a:endParaRPr>
          </a:p>
        </p:txBody>
      </p:sp>
      <p:sp>
        <p:nvSpPr>
          <p:cNvPr id="11" name="Freeform 6"/>
          <p:cNvSpPr>
            <a:spLocks/>
          </p:cNvSpPr>
          <p:nvPr/>
        </p:nvSpPr>
        <p:spPr bwMode="auto">
          <a:xfrm>
            <a:off x="6268996" y="2847054"/>
            <a:ext cx="360435" cy="576553"/>
          </a:xfrm>
          <a:custGeom>
            <a:avLst/>
            <a:gdLst>
              <a:gd name="T0" fmla="*/ 70 w 425"/>
              <a:gd name="T1" fmla="*/ 666 h 678"/>
              <a:gd name="T2" fmla="*/ 102 w 425"/>
              <a:gd name="T3" fmla="*/ 625 h 678"/>
              <a:gd name="T4" fmla="*/ 140 w 425"/>
              <a:gd name="T5" fmla="*/ 469 h 678"/>
              <a:gd name="T6" fmla="*/ 199 w 425"/>
              <a:gd name="T7" fmla="*/ 577 h 678"/>
              <a:gd name="T8" fmla="*/ 248 w 425"/>
              <a:gd name="T9" fmla="*/ 639 h 678"/>
              <a:gd name="T10" fmla="*/ 383 w 425"/>
              <a:gd name="T11" fmla="*/ 548 h 678"/>
              <a:gd name="T12" fmla="*/ 392 w 425"/>
              <a:gd name="T13" fmla="*/ 470 h 678"/>
              <a:gd name="T14" fmla="*/ 395 w 425"/>
              <a:gd name="T15" fmla="*/ 377 h 678"/>
              <a:gd name="T16" fmla="*/ 414 w 425"/>
              <a:gd name="T17" fmla="*/ 160 h 678"/>
              <a:gd name="T18" fmla="*/ 421 w 425"/>
              <a:gd name="T19" fmla="*/ 110 h 678"/>
              <a:gd name="T20" fmla="*/ 408 w 425"/>
              <a:gd name="T21" fmla="*/ 136 h 678"/>
              <a:gd name="T22" fmla="*/ 408 w 425"/>
              <a:gd name="T23" fmla="*/ 61 h 678"/>
              <a:gd name="T24" fmla="*/ 403 w 425"/>
              <a:gd name="T25" fmla="*/ 47 h 678"/>
              <a:gd name="T26" fmla="*/ 385 w 425"/>
              <a:gd name="T27" fmla="*/ 53 h 678"/>
              <a:gd name="T28" fmla="*/ 369 w 425"/>
              <a:gd name="T29" fmla="*/ 31 h 678"/>
              <a:gd name="T30" fmla="*/ 348 w 425"/>
              <a:gd name="T31" fmla="*/ 0 h 678"/>
              <a:gd name="T32" fmla="*/ 341 w 425"/>
              <a:gd name="T33" fmla="*/ 24 h 678"/>
              <a:gd name="T34" fmla="*/ 325 w 425"/>
              <a:gd name="T35" fmla="*/ 70 h 678"/>
              <a:gd name="T36" fmla="*/ 285 w 425"/>
              <a:gd name="T37" fmla="*/ 308 h 678"/>
              <a:gd name="T38" fmla="*/ 264 w 425"/>
              <a:gd name="T39" fmla="*/ 407 h 678"/>
              <a:gd name="T40" fmla="*/ 165 w 425"/>
              <a:gd name="T41" fmla="*/ 251 h 678"/>
              <a:gd name="T42" fmla="*/ 89 w 425"/>
              <a:gd name="T43" fmla="*/ 222 h 678"/>
              <a:gd name="T44" fmla="*/ 55 w 425"/>
              <a:gd name="T45" fmla="*/ 274 h 678"/>
              <a:gd name="T46" fmla="*/ 7 w 425"/>
              <a:gd name="T47" fmla="*/ 539 h 678"/>
              <a:gd name="T48" fmla="*/ 6 w 425"/>
              <a:gd name="T49" fmla="*/ 622 h 678"/>
              <a:gd name="T50" fmla="*/ 70 w 425"/>
              <a:gd name="T51" fmla="*/ 666 h 6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25" h="678">
                <a:moveTo>
                  <a:pt x="70" y="666"/>
                </a:moveTo>
                <a:cubicBezTo>
                  <a:pt x="91" y="660"/>
                  <a:pt x="97" y="641"/>
                  <a:pt x="102" y="625"/>
                </a:cubicBezTo>
                <a:cubicBezTo>
                  <a:pt x="115" y="575"/>
                  <a:pt x="126" y="525"/>
                  <a:pt x="140" y="469"/>
                </a:cubicBezTo>
                <a:cubicBezTo>
                  <a:pt x="156" y="511"/>
                  <a:pt x="186" y="537"/>
                  <a:pt x="199" y="577"/>
                </a:cubicBezTo>
                <a:cubicBezTo>
                  <a:pt x="206" y="598"/>
                  <a:pt x="211" y="636"/>
                  <a:pt x="248" y="639"/>
                </a:cubicBezTo>
                <a:cubicBezTo>
                  <a:pt x="327" y="646"/>
                  <a:pt x="360" y="624"/>
                  <a:pt x="383" y="548"/>
                </a:cubicBezTo>
                <a:cubicBezTo>
                  <a:pt x="391" y="523"/>
                  <a:pt x="394" y="497"/>
                  <a:pt x="392" y="470"/>
                </a:cubicBezTo>
                <a:cubicBezTo>
                  <a:pt x="391" y="439"/>
                  <a:pt x="386" y="405"/>
                  <a:pt x="395" y="377"/>
                </a:cubicBezTo>
                <a:cubicBezTo>
                  <a:pt x="416" y="305"/>
                  <a:pt x="410" y="232"/>
                  <a:pt x="414" y="160"/>
                </a:cubicBezTo>
                <a:cubicBezTo>
                  <a:pt x="421" y="144"/>
                  <a:pt x="425" y="127"/>
                  <a:pt x="421" y="110"/>
                </a:cubicBezTo>
                <a:cubicBezTo>
                  <a:pt x="408" y="114"/>
                  <a:pt x="424" y="133"/>
                  <a:pt x="408" y="136"/>
                </a:cubicBezTo>
                <a:cubicBezTo>
                  <a:pt x="402" y="111"/>
                  <a:pt x="404" y="86"/>
                  <a:pt x="408" y="61"/>
                </a:cubicBezTo>
                <a:cubicBezTo>
                  <a:pt x="409" y="55"/>
                  <a:pt x="410" y="49"/>
                  <a:pt x="403" y="47"/>
                </a:cubicBezTo>
                <a:cubicBezTo>
                  <a:pt x="396" y="45"/>
                  <a:pt x="388" y="45"/>
                  <a:pt x="385" y="53"/>
                </a:cubicBezTo>
                <a:cubicBezTo>
                  <a:pt x="374" y="50"/>
                  <a:pt x="370" y="41"/>
                  <a:pt x="369" y="31"/>
                </a:cubicBezTo>
                <a:cubicBezTo>
                  <a:pt x="373" y="14"/>
                  <a:pt x="351" y="14"/>
                  <a:pt x="348" y="0"/>
                </a:cubicBezTo>
                <a:cubicBezTo>
                  <a:pt x="346" y="8"/>
                  <a:pt x="344" y="16"/>
                  <a:pt x="341" y="24"/>
                </a:cubicBezTo>
                <a:cubicBezTo>
                  <a:pt x="332" y="38"/>
                  <a:pt x="328" y="54"/>
                  <a:pt x="325" y="70"/>
                </a:cubicBezTo>
                <a:cubicBezTo>
                  <a:pt x="312" y="149"/>
                  <a:pt x="300" y="229"/>
                  <a:pt x="285" y="308"/>
                </a:cubicBezTo>
                <a:cubicBezTo>
                  <a:pt x="279" y="341"/>
                  <a:pt x="278" y="376"/>
                  <a:pt x="264" y="407"/>
                </a:cubicBezTo>
                <a:cubicBezTo>
                  <a:pt x="209" y="367"/>
                  <a:pt x="207" y="297"/>
                  <a:pt x="165" y="251"/>
                </a:cubicBezTo>
                <a:cubicBezTo>
                  <a:pt x="144" y="228"/>
                  <a:pt x="117" y="220"/>
                  <a:pt x="89" y="222"/>
                </a:cubicBezTo>
                <a:cubicBezTo>
                  <a:pt x="61" y="224"/>
                  <a:pt x="57" y="252"/>
                  <a:pt x="55" y="274"/>
                </a:cubicBezTo>
                <a:cubicBezTo>
                  <a:pt x="45" y="363"/>
                  <a:pt x="29" y="452"/>
                  <a:pt x="7" y="539"/>
                </a:cubicBezTo>
                <a:cubicBezTo>
                  <a:pt x="0" y="566"/>
                  <a:pt x="2" y="595"/>
                  <a:pt x="6" y="622"/>
                </a:cubicBezTo>
                <a:cubicBezTo>
                  <a:pt x="14" y="673"/>
                  <a:pt x="22" y="678"/>
                  <a:pt x="70" y="666"/>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zh-CN" altLang="en-US">
              <a:solidFill>
                <a:schemeClr val="bg1"/>
              </a:solidFill>
            </a:endParaRPr>
          </a:p>
        </p:txBody>
      </p:sp>
      <p:sp>
        <p:nvSpPr>
          <p:cNvPr id="12" name="Freeform 7"/>
          <p:cNvSpPr>
            <a:spLocks/>
          </p:cNvSpPr>
          <p:nvPr/>
        </p:nvSpPr>
        <p:spPr bwMode="auto">
          <a:xfrm>
            <a:off x="5345650" y="3534897"/>
            <a:ext cx="2185588" cy="334587"/>
          </a:xfrm>
          <a:custGeom>
            <a:avLst/>
            <a:gdLst>
              <a:gd name="T0" fmla="*/ 2501 w 2575"/>
              <a:gd name="T1" fmla="*/ 20 h 394"/>
              <a:gd name="T2" fmla="*/ 2494 w 2575"/>
              <a:gd name="T3" fmla="*/ 22 h 394"/>
              <a:gd name="T4" fmla="*/ 2477 w 2575"/>
              <a:gd name="T5" fmla="*/ 22 h 394"/>
              <a:gd name="T6" fmla="*/ 2278 w 2575"/>
              <a:gd name="T7" fmla="*/ 47 h 394"/>
              <a:gd name="T8" fmla="*/ 1713 w 2575"/>
              <a:gd name="T9" fmla="*/ 111 h 394"/>
              <a:gd name="T10" fmla="*/ 1248 w 2575"/>
              <a:gd name="T11" fmla="*/ 152 h 394"/>
              <a:gd name="T12" fmla="*/ 649 w 2575"/>
              <a:gd name="T13" fmla="*/ 207 h 394"/>
              <a:gd name="T14" fmla="*/ 107 w 2575"/>
              <a:gd name="T15" fmla="*/ 272 h 394"/>
              <a:gd name="T16" fmla="*/ 20 w 2575"/>
              <a:gd name="T17" fmla="*/ 296 h 394"/>
              <a:gd name="T18" fmla="*/ 2 w 2575"/>
              <a:gd name="T19" fmla="*/ 318 h 394"/>
              <a:gd name="T20" fmla="*/ 20 w 2575"/>
              <a:gd name="T21" fmla="*/ 335 h 394"/>
              <a:gd name="T22" fmla="*/ 53 w 2575"/>
              <a:gd name="T23" fmla="*/ 352 h 394"/>
              <a:gd name="T24" fmla="*/ 122 w 2575"/>
              <a:gd name="T25" fmla="*/ 385 h 394"/>
              <a:gd name="T26" fmla="*/ 500 w 2575"/>
              <a:gd name="T27" fmla="*/ 352 h 394"/>
              <a:gd name="T28" fmla="*/ 1185 w 2575"/>
              <a:gd name="T29" fmla="*/ 267 h 394"/>
              <a:gd name="T30" fmla="*/ 1483 w 2575"/>
              <a:gd name="T31" fmla="*/ 239 h 394"/>
              <a:gd name="T32" fmla="*/ 2021 w 2575"/>
              <a:gd name="T33" fmla="*/ 171 h 394"/>
              <a:gd name="T34" fmla="*/ 2075 w 2575"/>
              <a:gd name="T35" fmla="*/ 162 h 394"/>
              <a:gd name="T36" fmla="*/ 2134 w 2575"/>
              <a:gd name="T37" fmla="*/ 157 h 394"/>
              <a:gd name="T38" fmla="*/ 2172 w 2575"/>
              <a:gd name="T39" fmla="*/ 150 h 394"/>
              <a:gd name="T40" fmla="*/ 2206 w 2575"/>
              <a:gd name="T41" fmla="*/ 149 h 394"/>
              <a:gd name="T42" fmla="*/ 2234 w 2575"/>
              <a:gd name="T43" fmla="*/ 135 h 394"/>
              <a:gd name="T44" fmla="*/ 2258 w 2575"/>
              <a:gd name="T45" fmla="*/ 128 h 394"/>
              <a:gd name="T46" fmla="*/ 2416 w 2575"/>
              <a:gd name="T47" fmla="*/ 94 h 394"/>
              <a:gd name="T48" fmla="*/ 2448 w 2575"/>
              <a:gd name="T49" fmla="*/ 72 h 394"/>
              <a:gd name="T50" fmla="*/ 2450 w 2575"/>
              <a:gd name="T51" fmla="*/ 71 h 394"/>
              <a:gd name="T52" fmla="*/ 2453 w 2575"/>
              <a:gd name="T53" fmla="*/ 71 h 394"/>
              <a:gd name="T54" fmla="*/ 2475 w 2575"/>
              <a:gd name="T55" fmla="*/ 69 h 394"/>
              <a:gd name="T56" fmla="*/ 2475 w 2575"/>
              <a:gd name="T57" fmla="*/ 63 h 394"/>
              <a:gd name="T58" fmla="*/ 2455 w 2575"/>
              <a:gd name="T59" fmla="*/ 67 h 394"/>
              <a:gd name="T60" fmla="*/ 2463 w 2575"/>
              <a:gd name="T61" fmla="*/ 49 h 394"/>
              <a:gd name="T62" fmla="*/ 2471 w 2575"/>
              <a:gd name="T63" fmla="*/ 50 h 394"/>
              <a:gd name="T64" fmla="*/ 2471 w 2575"/>
              <a:gd name="T65" fmla="*/ 50 h 394"/>
              <a:gd name="T66" fmla="*/ 2516 w 2575"/>
              <a:gd name="T67" fmla="*/ 36 h 394"/>
              <a:gd name="T68" fmla="*/ 2575 w 2575"/>
              <a:gd name="T69" fmla="*/ 15 h 394"/>
              <a:gd name="T70" fmla="*/ 2501 w 2575"/>
              <a:gd name="T71" fmla="*/ 20 h 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575" h="394">
                <a:moveTo>
                  <a:pt x="2501" y="20"/>
                </a:moveTo>
                <a:cubicBezTo>
                  <a:pt x="2499" y="21"/>
                  <a:pt x="2496" y="21"/>
                  <a:pt x="2494" y="22"/>
                </a:cubicBezTo>
                <a:cubicBezTo>
                  <a:pt x="2488" y="22"/>
                  <a:pt x="2483" y="22"/>
                  <a:pt x="2477" y="22"/>
                </a:cubicBezTo>
                <a:cubicBezTo>
                  <a:pt x="2409" y="18"/>
                  <a:pt x="2344" y="37"/>
                  <a:pt x="2278" y="47"/>
                </a:cubicBezTo>
                <a:cubicBezTo>
                  <a:pt x="2091" y="74"/>
                  <a:pt x="1902" y="89"/>
                  <a:pt x="1713" y="111"/>
                </a:cubicBezTo>
                <a:cubicBezTo>
                  <a:pt x="1559" y="128"/>
                  <a:pt x="1403" y="134"/>
                  <a:pt x="1248" y="152"/>
                </a:cubicBezTo>
                <a:cubicBezTo>
                  <a:pt x="1049" y="174"/>
                  <a:pt x="849" y="186"/>
                  <a:pt x="649" y="207"/>
                </a:cubicBezTo>
                <a:cubicBezTo>
                  <a:pt x="468" y="227"/>
                  <a:pt x="287" y="244"/>
                  <a:pt x="107" y="272"/>
                </a:cubicBezTo>
                <a:cubicBezTo>
                  <a:pt x="77" y="277"/>
                  <a:pt x="47" y="283"/>
                  <a:pt x="20" y="296"/>
                </a:cubicBezTo>
                <a:cubicBezTo>
                  <a:pt x="11" y="301"/>
                  <a:pt x="0" y="306"/>
                  <a:pt x="2" y="318"/>
                </a:cubicBezTo>
                <a:cubicBezTo>
                  <a:pt x="3" y="328"/>
                  <a:pt x="12" y="331"/>
                  <a:pt x="20" y="335"/>
                </a:cubicBezTo>
                <a:cubicBezTo>
                  <a:pt x="32" y="340"/>
                  <a:pt x="50" y="340"/>
                  <a:pt x="53" y="352"/>
                </a:cubicBezTo>
                <a:cubicBezTo>
                  <a:pt x="63" y="394"/>
                  <a:pt x="96" y="387"/>
                  <a:pt x="122" y="385"/>
                </a:cubicBezTo>
                <a:cubicBezTo>
                  <a:pt x="248" y="376"/>
                  <a:pt x="374" y="366"/>
                  <a:pt x="500" y="352"/>
                </a:cubicBezTo>
                <a:cubicBezTo>
                  <a:pt x="729" y="326"/>
                  <a:pt x="955" y="282"/>
                  <a:pt x="1185" y="267"/>
                </a:cubicBezTo>
                <a:cubicBezTo>
                  <a:pt x="1284" y="260"/>
                  <a:pt x="1384" y="251"/>
                  <a:pt x="1483" y="239"/>
                </a:cubicBezTo>
                <a:cubicBezTo>
                  <a:pt x="1662" y="218"/>
                  <a:pt x="1842" y="194"/>
                  <a:pt x="2021" y="171"/>
                </a:cubicBezTo>
                <a:cubicBezTo>
                  <a:pt x="2039" y="168"/>
                  <a:pt x="2057" y="165"/>
                  <a:pt x="2075" y="162"/>
                </a:cubicBezTo>
                <a:cubicBezTo>
                  <a:pt x="2095" y="166"/>
                  <a:pt x="2113" y="148"/>
                  <a:pt x="2134" y="157"/>
                </a:cubicBezTo>
                <a:cubicBezTo>
                  <a:pt x="2148" y="161"/>
                  <a:pt x="2162" y="160"/>
                  <a:pt x="2172" y="150"/>
                </a:cubicBezTo>
                <a:cubicBezTo>
                  <a:pt x="2184" y="138"/>
                  <a:pt x="2194" y="146"/>
                  <a:pt x="2206" y="149"/>
                </a:cubicBezTo>
                <a:cubicBezTo>
                  <a:pt x="2214" y="141"/>
                  <a:pt x="2229" y="150"/>
                  <a:pt x="2234" y="135"/>
                </a:cubicBezTo>
                <a:cubicBezTo>
                  <a:pt x="2241" y="129"/>
                  <a:pt x="2256" y="152"/>
                  <a:pt x="2258" y="128"/>
                </a:cubicBezTo>
                <a:cubicBezTo>
                  <a:pt x="2310" y="114"/>
                  <a:pt x="2362" y="98"/>
                  <a:pt x="2416" y="94"/>
                </a:cubicBezTo>
                <a:cubicBezTo>
                  <a:pt x="2430" y="92"/>
                  <a:pt x="2455" y="105"/>
                  <a:pt x="2448" y="72"/>
                </a:cubicBezTo>
                <a:cubicBezTo>
                  <a:pt x="2450" y="71"/>
                  <a:pt x="2450" y="71"/>
                  <a:pt x="2450" y="71"/>
                </a:cubicBezTo>
                <a:cubicBezTo>
                  <a:pt x="2453" y="71"/>
                  <a:pt x="2453" y="71"/>
                  <a:pt x="2453" y="71"/>
                </a:cubicBezTo>
                <a:cubicBezTo>
                  <a:pt x="2461" y="76"/>
                  <a:pt x="2469" y="77"/>
                  <a:pt x="2475" y="69"/>
                </a:cubicBezTo>
                <a:cubicBezTo>
                  <a:pt x="2476" y="68"/>
                  <a:pt x="2476" y="63"/>
                  <a:pt x="2475" y="63"/>
                </a:cubicBezTo>
                <a:cubicBezTo>
                  <a:pt x="2468" y="59"/>
                  <a:pt x="2462" y="64"/>
                  <a:pt x="2455" y="67"/>
                </a:cubicBezTo>
                <a:cubicBezTo>
                  <a:pt x="2446" y="56"/>
                  <a:pt x="2453" y="52"/>
                  <a:pt x="2463" y="49"/>
                </a:cubicBezTo>
                <a:cubicBezTo>
                  <a:pt x="2466" y="50"/>
                  <a:pt x="2468" y="50"/>
                  <a:pt x="2471" y="50"/>
                </a:cubicBezTo>
                <a:cubicBezTo>
                  <a:pt x="2471" y="50"/>
                  <a:pt x="2471" y="50"/>
                  <a:pt x="2471" y="50"/>
                </a:cubicBezTo>
                <a:cubicBezTo>
                  <a:pt x="2487" y="50"/>
                  <a:pt x="2504" y="50"/>
                  <a:pt x="2516" y="36"/>
                </a:cubicBezTo>
                <a:cubicBezTo>
                  <a:pt x="2538" y="36"/>
                  <a:pt x="2551" y="11"/>
                  <a:pt x="2575" y="15"/>
                </a:cubicBezTo>
                <a:cubicBezTo>
                  <a:pt x="2549" y="0"/>
                  <a:pt x="2525" y="12"/>
                  <a:pt x="2501" y="20"/>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zh-CN" altLang="en-US">
              <a:solidFill>
                <a:schemeClr val="bg1"/>
              </a:solidFill>
            </a:endParaRPr>
          </a:p>
        </p:txBody>
      </p:sp>
      <p:sp>
        <p:nvSpPr>
          <p:cNvPr id="13" name="Freeform 8"/>
          <p:cNvSpPr>
            <a:spLocks noEditPoints="1"/>
          </p:cNvSpPr>
          <p:nvPr/>
        </p:nvSpPr>
        <p:spPr bwMode="auto">
          <a:xfrm>
            <a:off x="5412424" y="2956908"/>
            <a:ext cx="864470" cy="732359"/>
          </a:xfrm>
          <a:custGeom>
            <a:avLst/>
            <a:gdLst>
              <a:gd name="T0" fmla="*/ 47 w 1018"/>
              <a:gd name="T1" fmla="*/ 358 h 862"/>
              <a:gd name="T2" fmla="*/ 51 w 1018"/>
              <a:gd name="T3" fmla="*/ 449 h 862"/>
              <a:gd name="T4" fmla="*/ 70 w 1018"/>
              <a:gd name="T5" fmla="*/ 534 h 862"/>
              <a:gd name="T6" fmla="*/ 182 w 1018"/>
              <a:gd name="T7" fmla="*/ 591 h 862"/>
              <a:gd name="T8" fmla="*/ 210 w 1018"/>
              <a:gd name="T9" fmla="*/ 513 h 862"/>
              <a:gd name="T10" fmla="*/ 403 w 1018"/>
              <a:gd name="T11" fmla="*/ 371 h 862"/>
              <a:gd name="T12" fmla="*/ 332 w 1018"/>
              <a:gd name="T13" fmla="*/ 844 h 862"/>
              <a:gd name="T14" fmla="*/ 395 w 1018"/>
              <a:gd name="T15" fmla="*/ 829 h 862"/>
              <a:gd name="T16" fmla="*/ 514 w 1018"/>
              <a:gd name="T17" fmla="*/ 372 h 862"/>
              <a:gd name="T18" fmla="*/ 586 w 1018"/>
              <a:gd name="T19" fmla="*/ 338 h 862"/>
              <a:gd name="T20" fmla="*/ 588 w 1018"/>
              <a:gd name="T21" fmla="*/ 631 h 862"/>
              <a:gd name="T22" fmla="*/ 588 w 1018"/>
              <a:gd name="T23" fmla="*/ 631 h 862"/>
              <a:gd name="T24" fmla="*/ 609 w 1018"/>
              <a:gd name="T25" fmla="*/ 631 h 862"/>
              <a:gd name="T26" fmla="*/ 609 w 1018"/>
              <a:gd name="T27" fmla="*/ 631 h 862"/>
              <a:gd name="T28" fmla="*/ 692 w 1018"/>
              <a:gd name="T29" fmla="*/ 481 h 862"/>
              <a:gd name="T30" fmla="*/ 843 w 1018"/>
              <a:gd name="T31" fmla="*/ 477 h 862"/>
              <a:gd name="T32" fmla="*/ 978 w 1018"/>
              <a:gd name="T33" fmla="*/ 679 h 862"/>
              <a:gd name="T34" fmla="*/ 996 w 1018"/>
              <a:gd name="T35" fmla="*/ 573 h 862"/>
              <a:gd name="T36" fmla="*/ 946 w 1018"/>
              <a:gd name="T37" fmla="*/ 385 h 862"/>
              <a:gd name="T38" fmla="*/ 907 w 1018"/>
              <a:gd name="T39" fmla="*/ 334 h 862"/>
              <a:gd name="T40" fmla="*/ 753 w 1018"/>
              <a:gd name="T41" fmla="*/ 48 h 862"/>
              <a:gd name="T42" fmla="*/ 666 w 1018"/>
              <a:gd name="T43" fmla="*/ 83 h 862"/>
              <a:gd name="T44" fmla="*/ 673 w 1018"/>
              <a:gd name="T45" fmla="*/ 161 h 862"/>
              <a:gd name="T46" fmla="*/ 582 w 1018"/>
              <a:gd name="T47" fmla="*/ 89 h 862"/>
              <a:gd name="T48" fmla="*/ 486 w 1018"/>
              <a:gd name="T49" fmla="*/ 48 h 862"/>
              <a:gd name="T50" fmla="*/ 426 w 1018"/>
              <a:gd name="T51" fmla="*/ 250 h 862"/>
              <a:gd name="T52" fmla="*/ 276 w 1018"/>
              <a:gd name="T53" fmla="*/ 318 h 862"/>
              <a:gd name="T54" fmla="*/ 281 w 1018"/>
              <a:gd name="T55" fmla="*/ 191 h 862"/>
              <a:gd name="T56" fmla="*/ 279 w 1018"/>
              <a:gd name="T57" fmla="*/ 76 h 862"/>
              <a:gd name="T58" fmla="*/ 171 w 1018"/>
              <a:gd name="T59" fmla="*/ 100 h 862"/>
              <a:gd name="T60" fmla="*/ 59 w 1018"/>
              <a:gd name="T61" fmla="*/ 358 h 862"/>
              <a:gd name="T62" fmla="*/ 725 w 1018"/>
              <a:gd name="T63" fmla="*/ 232 h 862"/>
              <a:gd name="T64" fmla="*/ 779 w 1018"/>
              <a:gd name="T65" fmla="*/ 382 h 862"/>
              <a:gd name="T66" fmla="*/ 697 w 1018"/>
              <a:gd name="T67" fmla="*/ 282 h 8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18" h="862">
                <a:moveTo>
                  <a:pt x="59" y="358"/>
                </a:moveTo>
                <a:cubicBezTo>
                  <a:pt x="55" y="358"/>
                  <a:pt x="51" y="357"/>
                  <a:pt x="47" y="358"/>
                </a:cubicBezTo>
                <a:cubicBezTo>
                  <a:pt x="29" y="362"/>
                  <a:pt x="8" y="362"/>
                  <a:pt x="2" y="386"/>
                </a:cubicBezTo>
                <a:cubicBezTo>
                  <a:pt x="0" y="398"/>
                  <a:pt x="40" y="448"/>
                  <a:pt x="51" y="449"/>
                </a:cubicBezTo>
                <a:cubicBezTo>
                  <a:pt x="97" y="456"/>
                  <a:pt x="97" y="456"/>
                  <a:pt x="79" y="502"/>
                </a:cubicBezTo>
                <a:cubicBezTo>
                  <a:pt x="75" y="512"/>
                  <a:pt x="70" y="523"/>
                  <a:pt x="70" y="534"/>
                </a:cubicBezTo>
                <a:cubicBezTo>
                  <a:pt x="69" y="550"/>
                  <a:pt x="60" y="573"/>
                  <a:pt x="83" y="580"/>
                </a:cubicBezTo>
                <a:cubicBezTo>
                  <a:pt x="115" y="590"/>
                  <a:pt x="149" y="598"/>
                  <a:pt x="182" y="591"/>
                </a:cubicBezTo>
                <a:cubicBezTo>
                  <a:pt x="196" y="589"/>
                  <a:pt x="208" y="578"/>
                  <a:pt x="208" y="559"/>
                </a:cubicBezTo>
                <a:cubicBezTo>
                  <a:pt x="208" y="544"/>
                  <a:pt x="209" y="528"/>
                  <a:pt x="210" y="513"/>
                </a:cubicBezTo>
                <a:cubicBezTo>
                  <a:pt x="211" y="482"/>
                  <a:pt x="210" y="443"/>
                  <a:pt x="238" y="427"/>
                </a:cubicBezTo>
                <a:cubicBezTo>
                  <a:pt x="286" y="398"/>
                  <a:pt x="343" y="388"/>
                  <a:pt x="403" y="371"/>
                </a:cubicBezTo>
                <a:cubicBezTo>
                  <a:pt x="386" y="444"/>
                  <a:pt x="369" y="509"/>
                  <a:pt x="354" y="576"/>
                </a:cubicBezTo>
                <a:cubicBezTo>
                  <a:pt x="333" y="664"/>
                  <a:pt x="320" y="753"/>
                  <a:pt x="332" y="844"/>
                </a:cubicBezTo>
                <a:cubicBezTo>
                  <a:pt x="334" y="862"/>
                  <a:pt x="350" y="858"/>
                  <a:pt x="351" y="858"/>
                </a:cubicBezTo>
                <a:cubicBezTo>
                  <a:pt x="365" y="846"/>
                  <a:pt x="386" y="841"/>
                  <a:pt x="395" y="829"/>
                </a:cubicBezTo>
                <a:cubicBezTo>
                  <a:pt x="410" y="808"/>
                  <a:pt x="418" y="781"/>
                  <a:pt x="426" y="756"/>
                </a:cubicBezTo>
                <a:cubicBezTo>
                  <a:pt x="463" y="630"/>
                  <a:pt x="490" y="501"/>
                  <a:pt x="514" y="372"/>
                </a:cubicBezTo>
                <a:cubicBezTo>
                  <a:pt x="524" y="323"/>
                  <a:pt x="547" y="297"/>
                  <a:pt x="593" y="285"/>
                </a:cubicBezTo>
                <a:cubicBezTo>
                  <a:pt x="596" y="304"/>
                  <a:pt x="591" y="322"/>
                  <a:pt x="586" y="338"/>
                </a:cubicBezTo>
                <a:cubicBezTo>
                  <a:pt x="566" y="401"/>
                  <a:pt x="553" y="465"/>
                  <a:pt x="558" y="530"/>
                </a:cubicBezTo>
                <a:cubicBezTo>
                  <a:pt x="560" y="563"/>
                  <a:pt x="546" y="607"/>
                  <a:pt x="588" y="631"/>
                </a:cubicBezTo>
                <a:cubicBezTo>
                  <a:pt x="588" y="631"/>
                  <a:pt x="588" y="631"/>
                  <a:pt x="588" y="631"/>
                </a:cubicBezTo>
                <a:cubicBezTo>
                  <a:pt x="588" y="631"/>
                  <a:pt x="588" y="631"/>
                  <a:pt x="588" y="631"/>
                </a:cubicBezTo>
                <a:cubicBezTo>
                  <a:pt x="591" y="641"/>
                  <a:pt x="594" y="650"/>
                  <a:pt x="598" y="661"/>
                </a:cubicBezTo>
                <a:cubicBezTo>
                  <a:pt x="607" y="651"/>
                  <a:pt x="609" y="642"/>
                  <a:pt x="609" y="631"/>
                </a:cubicBezTo>
                <a:cubicBezTo>
                  <a:pt x="607" y="629"/>
                  <a:pt x="604" y="627"/>
                  <a:pt x="602" y="626"/>
                </a:cubicBezTo>
                <a:cubicBezTo>
                  <a:pt x="604" y="625"/>
                  <a:pt x="607" y="626"/>
                  <a:pt x="609" y="631"/>
                </a:cubicBezTo>
                <a:cubicBezTo>
                  <a:pt x="624" y="577"/>
                  <a:pt x="623" y="519"/>
                  <a:pt x="642" y="463"/>
                </a:cubicBezTo>
                <a:cubicBezTo>
                  <a:pt x="658" y="474"/>
                  <a:pt x="674" y="479"/>
                  <a:pt x="692" y="481"/>
                </a:cubicBezTo>
                <a:cubicBezTo>
                  <a:pt x="733" y="487"/>
                  <a:pt x="770" y="466"/>
                  <a:pt x="810" y="461"/>
                </a:cubicBezTo>
                <a:cubicBezTo>
                  <a:pt x="830" y="459"/>
                  <a:pt x="836" y="462"/>
                  <a:pt x="843" y="477"/>
                </a:cubicBezTo>
                <a:cubicBezTo>
                  <a:pt x="865" y="521"/>
                  <a:pt x="881" y="567"/>
                  <a:pt x="890" y="617"/>
                </a:cubicBezTo>
                <a:cubicBezTo>
                  <a:pt x="902" y="691"/>
                  <a:pt x="905" y="690"/>
                  <a:pt x="978" y="679"/>
                </a:cubicBezTo>
                <a:cubicBezTo>
                  <a:pt x="1013" y="674"/>
                  <a:pt x="1018" y="655"/>
                  <a:pt x="1013" y="627"/>
                </a:cubicBezTo>
                <a:cubicBezTo>
                  <a:pt x="1010" y="609"/>
                  <a:pt x="1005" y="590"/>
                  <a:pt x="996" y="573"/>
                </a:cubicBezTo>
                <a:cubicBezTo>
                  <a:pt x="971" y="523"/>
                  <a:pt x="959" y="469"/>
                  <a:pt x="943" y="416"/>
                </a:cubicBezTo>
                <a:cubicBezTo>
                  <a:pt x="939" y="404"/>
                  <a:pt x="941" y="394"/>
                  <a:pt x="946" y="385"/>
                </a:cubicBezTo>
                <a:cubicBezTo>
                  <a:pt x="958" y="363"/>
                  <a:pt x="952" y="345"/>
                  <a:pt x="929" y="342"/>
                </a:cubicBezTo>
                <a:cubicBezTo>
                  <a:pt x="920" y="341"/>
                  <a:pt x="913" y="345"/>
                  <a:pt x="907" y="334"/>
                </a:cubicBezTo>
                <a:cubicBezTo>
                  <a:pt x="880" y="282"/>
                  <a:pt x="848" y="233"/>
                  <a:pt x="825" y="180"/>
                </a:cubicBezTo>
                <a:cubicBezTo>
                  <a:pt x="805" y="134"/>
                  <a:pt x="781" y="90"/>
                  <a:pt x="753" y="48"/>
                </a:cubicBezTo>
                <a:cubicBezTo>
                  <a:pt x="749" y="41"/>
                  <a:pt x="743" y="28"/>
                  <a:pt x="735" y="32"/>
                </a:cubicBezTo>
                <a:cubicBezTo>
                  <a:pt x="710" y="45"/>
                  <a:pt x="684" y="60"/>
                  <a:pt x="666" y="83"/>
                </a:cubicBezTo>
                <a:cubicBezTo>
                  <a:pt x="653" y="100"/>
                  <a:pt x="673" y="112"/>
                  <a:pt x="676" y="127"/>
                </a:cubicBezTo>
                <a:cubicBezTo>
                  <a:pt x="678" y="139"/>
                  <a:pt x="696" y="150"/>
                  <a:pt x="673" y="161"/>
                </a:cubicBezTo>
                <a:cubicBezTo>
                  <a:pt x="636" y="178"/>
                  <a:pt x="601" y="201"/>
                  <a:pt x="557" y="213"/>
                </a:cubicBezTo>
                <a:cubicBezTo>
                  <a:pt x="566" y="170"/>
                  <a:pt x="573" y="129"/>
                  <a:pt x="582" y="89"/>
                </a:cubicBezTo>
                <a:cubicBezTo>
                  <a:pt x="592" y="45"/>
                  <a:pt x="584" y="29"/>
                  <a:pt x="539" y="12"/>
                </a:cubicBezTo>
                <a:cubicBezTo>
                  <a:pt x="506" y="0"/>
                  <a:pt x="499" y="30"/>
                  <a:pt x="486" y="48"/>
                </a:cubicBezTo>
                <a:cubicBezTo>
                  <a:pt x="474" y="64"/>
                  <a:pt x="466" y="83"/>
                  <a:pt x="462" y="103"/>
                </a:cubicBezTo>
                <a:cubicBezTo>
                  <a:pt x="450" y="152"/>
                  <a:pt x="438" y="201"/>
                  <a:pt x="426" y="250"/>
                </a:cubicBezTo>
                <a:cubicBezTo>
                  <a:pt x="423" y="263"/>
                  <a:pt x="421" y="275"/>
                  <a:pt x="406" y="280"/>
                </a:cubicBezTo>
                <a:cubicBezTo>
                  <a:pt x="363" y="292"/>
                  <a:pt x="319" y="305"/>
                  <a:pt x="276" y="318"/>
                </a:cubicBezTo>
                <a:cubicBezTo>
                  <a:pt x="255" y="324"/>
                  <a:pt x="252" y="314"/>
                  <a:pt x="255" y="297"/>
                </a:cubicBezTo>
                <a:cubicBezTo>
                  <a:pt x="261" y="261"/>
                  <a:pt x="266" y="225"/>
                  <a:pt x="281" y="191"/>
                </a:cubicBezTo>
                <a:cubicBezTo>
                  <a:pt x="294" y="161"/>
                  <a:pt x="298" y="130"/>
                  <a:pt x="300" y="99"/>
                </a:cubicBezTo>
                <a:cubicBezTo>
                  <a:pt x="301" y="83"/>
                  <a:pt x="297" y="76"/>
                  <a:pt x="279" y="76"/>
                </a:cubicBezTo>
                <a:cubicBezTo>
                  <a:pt x="261" y="75"/>
                  <a:pt x="242" y="71"/>
                  <a:pt x="224" y="66"/>
                </a:cubicBezTo>
                <a:cubicBezTo>
                  <a:pt x="192" y="57"/>
                  <a:pt x="183" y="72"/>
                  <a:pt x="171" y="100"/>
                </a:cubicBezTo>
                <a:cubicBezTo>
                  <a:pt x="143" y="164"/>
                  <a:pt x="145" y="233"/>
                  <a:pt x="126" y="298"/>
                </a:cubicBezTo>
                <a:cubicBezTo>
                  <a:pt x="114" y="341"/>
                  <a:pt x="97" y="356"/>
                  <a:pt x="59" y="358"/>
                </a:cubicBezTo>
                <a:close/>
                <a:moveTo>
                  <a:pt x="697" y="282"/>
                </a:moveTo>
                <a:cubicBezTo>
                  <a:pt x="703" y="265"/>
                  <a:pt x="715" y="249"/>
                  <a:pt x="725" y="232"/>
                </a:cubicBezTo>
                <a:cubicBezTo>
                  <a:pt x="757" y="273"/>
                  <a:pt x="777" y="314"/>
                  <a:pt x="794" y="358"/>
                </a:cubicBezTo>
                <a:cubicBezTo>
                  <a:pt x="802" y="378"/>
                  <a:pt x="797" y="383"/>
                  <a:pt x="779" y="382"/>
                </a:cubicBezTo>
                <a:cubicBezTo>
                  <a:pt x="774" y="382"/>
                  <a:pt x="769" y="383"/>
                  <a:pt x="764" y="383"/>
                </a:cubicBezTo>
                <a:cubicBezTo>
                  <a:pt x="618" y="393"/>
                  <a:pt x="664" y="384"/>
                  <a:pt x="697" y="282"/>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zh-CN" altLang="en-US">
              <a:solidFill>
                <a:schemeClr val="bg1"/>
              </a:solidFill>
            </a:endParaRPr>
          </a:p>
        </p:txBody>
      </p:sp>
      <p:sp>
        <p:nvSpPr>
          <p:cNvPr id="14" name="Freeform 9"/>
          <p:cNvSpPr>
            <a:spLocks noEditPoints="1"/>
          </p:cNvSpPr>
          <p:nvPr/>
        </p:nvSpPr>
        <p:spPr bwMode="auto">
          <a:xfrm>
            <a:off x="6617226" y="2737918"/>
            <a:ext cx="740975" cy="880985"/>
          </a:xfrm>
          <a:custGeom>
            <a:avLst/>
            <a:gdLst>
              <a:gd name="T0" fmla="*/ 14 w 873"/>
              <a:gd name="T1" fmla="*/ 1009 h 1036"/>
              <a:gd name="T2" fmla="*/ 20 w 873"/>
              <a:gd name="T3" fmla="*/ 1026 h 1036"/>
              <a:gd name="T4" fmla="*/ 44 w 873"/>
              <a:gd name="T5" fmla="*/ 1024 h 1036"/>
              <a:gd name="T6" fmla="*/ 118 w 873"/>
              <a:gd name="T7" fmla="*/ 878 h 1036"/>
              <a:gd name="T8" fmla="*/ 151 w 873"/>
              <a:gd name="T9" fmla="*/ 746 h 1036"/>
              <a:gd name="T10" fmla="*/ 167 w 873"/>
              <a:gd name="T11" fmla="*/ 764 h 1036"/>
              <a:gd name="T12" fmla="*/ 280 w 873"/>
              <a:gd name="T13" fmla="*/ 911 h 1036"/>
              <a:gd name="T14" fmla="*/ 435 w 873"/>
              <a:gd name="T15" fmla="*/ 964 h 1036"/>
              <a:gd name="T16" fmla="*/ 466 w 873"/>
              <a:gd name="T17" fmla="*/ 913 h 1036"/>
              <a:gd name="T18" fmla="*/ 696 w 873"/>
              <a:gd name="T19" fmla="*/ 846 h 1036"/>
              <a:gd name="T20" fmla="*/ 762 w 873"/>
              <a:gd name="T21" fmla="*/ 639 h 1036"/>
              <a:gd name="T22" fmla="*/ 639 w 873"/>
              <a:gd name="T23" fmla="*/ 496 h 1036"/>
              <a:gd name="T24" fmla="*/ 650 w 873"/>
              <a:gd name="T25" fmla="*/ 490 h 1036"/>
              <a:gd name="T26" fmla="*/ 676 w 873"/>
              <a:gd name="T27" fmla="*/ 443 h 1036"/>
              <a:gd name="T28" fmla="*/ 650 w 873"/>
              <a:gd name="T29" fmla="*/ 416 h 1036"/>
              <a:gd name="T30" fmla="*/ 650 w 873"/>
              <a:gd name="T31" fmla="*/ 401 h 1036"/>
              <a:gd name="T32" fmla="*/ 766 w 873"/>
              <a:gd name="T33" fmla="*/ 311 h 1036"/>
              <a:gd name="T34" fmla="*/ 837 w 873"/>
              <a:gd name="T35" fmla="*/ 325 h 1036"/>
              <a:gd name="T36" fmla="*/ 837 w 873"/>
              <a:gd name="T37" fmla="*/ 325 h 1036"/>
              <a:gd name="T38" fmla="*/ 863 w 873"/>
              <a:gd name="T39" fmla="*/ 362 h 1036"/>
              <a:gd name="T40" fmla="*/ 858 w 873"/>
              <a:gd name="T41" fmla="*/ 317 h 1036"/>
              <a:gd name="T42" fmla="*/ 861 w 873"/>
              <a:gd name="T43" fmla="*/ 281 h 1036"/>
              <a:gd name="T44" fmla="*/ 677 w 873"/>
              <a:gd name="T45" fmla="*/ 218 h 1036"/>
              <a:gd name="T46" fmla="*/ 613 w 873"/>
              <a:gd name="T47" fmla="*/ 265 h 1036"/>
              <a:gd name="T48" fmla="*/ 474 w 873"/>
              <a:gd name="T49" fmla="*/ 462 h 1036"/>
              <a:gd name="T50" fmla="*/ 446 w 873"/>
              <a:gd name="T51" fmla="*/ 482 h 1036"/>
              <a:gd name="T52" fmla="*/ 227 w 873"/>
              <a:gd name="T53" fmla="*/ 529 h 1036"/>
              <a:gd name="T54" fmla="*/ 204 w 873"/>
              <a:gd name="T55" fmla="*/ 507 h 1036"/>
              <a:gd name="T56" fmla="*/ 256 w 873"/>
              <a:gd name="T57" fmla="*/ 298 h 1036"/>
              <a:gd name="T58" fmla="*/ 306 w 873"/>
              <a:gd name="T59" fmla="*/ 72 h 1036"/>
              <a:gd name="T60" fmla="*/ 256 w 873"/>
              <a:gd name="T61" fmla="*/ 12 h 1036"/>
              <a:gd name="T62" fmla="*/ 217 w 873"/>
              <a:gd name="T63" fmla="*/ 37 h 1036"/>
              <a:gd name="T64" fmla="*/ 173 w 873"/>
              <a:gd name="T65" fmla="*/ 140 h 1036"/>
              <a:gd name="T66" fmla="*/ 88 w 873"/>
              <a:gd name="T67" fmla="*/ 513 h 1036"/>
              <a:gd name="T68" fmla="*/ 57 w 873"/>
              <a:gd name="T69" fmla="*/ 633 h 1036"/>
              <a:gd name="T70" fmla="*/ 14 w 873"/>
              <a:gd name="T71" fmla="*/ 1009 h 1036"/>
              <a:gd name="T72" fmla="*/ 431 w 873"/>
              <a:gd name="T73" fmla="*/ 585 h 1036"/>
              <a:gd name="T74" fmla="*/ 442 w 873"/>
              <a:gd name="T75" fmla="*/ 583 h 1036"/>
              <a:gd name="T76" fmla="*/ 566 w 873"/>
              <a:gd name="T77" fmla="*/ 617 h 1036"/>
              <a:gd name="T78" fmla="*/ 617 w 873"/>
              <a:gd name="T79" fmla="*/ 656 h 1036"/>
              <a:gd name="T80" fmla="*/ 629 w 873"/>
              <a:gd name="T81" fmla="*/ 754 h 1036"/>
              <a:gd name="T82" fmla="*/ 521 w 873"/>
              <a:gd name="T83" fmla="*/ 826 h 1036"/>
              <a:gd name="T84" fmla="*/ 469 w 873"/>
              <a:gd name="T85" fmla="*/ 873 h 1036"/>
              <a:gd name="T86" fmla="*/ 456 w 873"/>
              <a:gd name="T87" fmla="*/ 875 h 1036"/>
              <a:gd name="T88" fmla="*/ 440 w 873"/>
              <a:gd name="T89" fmla="*/ 881 h 1036"/>
              <a:gd name="T90" fmla="*/ 440 w 873"/>
              <a:gd name="T91" fmla="*/ 881 h 1036"/>
              <a:gd name="T92" fmla="*/ 440 w 873"/>
              <a:gd name="T93" fmla="*/ 881 h 1036"/>
              <a:gd name="T94" fmla="*/ 370 w 873"/>
              <a:gd name="T95" fmla="*/ 820 h 1036"/>
              <a:gd name="T96" fmla="*/ 313 w 873"/>
              <a:gd name="T97" fmla="*/ 762 h 1036"/>
              <a:gd name="T98" fmla="*/ 205 w 873"/>
              <a:gd name="T99" fmla="*/ 650 h 1036"/>
              <a:gd name="T100" fmla="*/ 431 w 873"/>
              <a:gd name="T101" fmla="*/ 585 h 10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73" h="1036">
                <a:moveTo>
                  <a:pt x="14" y="1009"/>
                </a:moveTo>
                <a:cubicBezTo>
                  <a:pt x="14" y="1015"/>
                  <a:pt x="9" y="1032"/>
                  <a:pt x="20" y="1026"/>
                </a:cubicBezTo>
                <a:cubicBezTo>
                  <a:pt x="29" y="1021"/>
                  <a:pt x="33" y="1036"/>
                  <a:pt x="44" y="1024"/>
                </a:cubicBezTo>
                <a:cubicBezTo>
                  <a:pt x="83" y="982"/>
                  <a:pt x="105" y="933"/>
                  <a:pt x="118" y="878"/>
                </a:cubicBezTo>
                <a:cubicBezTo>
                  <a:pt x="129" y="836"/>
                  <a:pt x="139" y="793"/>
                  <a:pt x="151" y="746"/>
                </a:cubicBezTo>
                <a:cubicBezTo>
                  <a:pt x="159" y="755"/>
                  <a:pt x="164" y="759"/>
                  <a:pt x="167" y="764"/>
                </a:cubicBezTo>
                <a:cubicBezTo>
                  <a:pt x="205" y="813"/>
                  <a:pt x="243" y="862"/>
                  <a:pt x="280" y="911"/>
                </a:cubicBezTo>
                <a:cubicBezTo>
                  <a:pt x="320" y="964"/>
                  <a:pt x="374" y="978"/>
                  <a:pt x="435" y="964"/>
                </a:cubicBezTo>
                <a:cubicBezTo>
                  <a:pt x="460" y="959"/>
                  <a:pt x="488" y="949"/>
                  <a:pt x="466" y="913"/>
                </a:cubicBezTo>
                <a:cubicBezTo>
                  <a:pt x="550" y="909"/>
                  <a:pt x="628" y="898"/>
                  <a:pt x="696" y="846"/>
                </a:cubicBezTo>
                <a:cubicBezTo>
                  <a:pt x="763" y="796"/>
                  <a:pt x="789" y="719"/>
                  <a:pt x="762" y="639"/>
                </a:cubicBezTo>
                <a:cubicBezTo>
                  <a:pt x="741" y="574"/>
                  <a:pt x="691" y="535"/>
                  <a:pt x="639" y="496"/>
                </a:cubicBezTo>
                <a:cubicBezTo>
                  <a:pt x="644" y="494"/>
                  <a:pt x="647" y="492"/>
                  <a:pt x="650" y="490"/>
                </a:cubicBezTo>
                <a:cubicBezTo>
                  <a:pt x="665" y="478"/>
                  <a:pt x="673" y="460"/>
                  <a:pt x="676" y="443"/>
                </a:cubicBezTo>
                <a:cubicBezTo>
                  <a:pt x="679" y="429"/>
                  <a:pt x="671" y="415"/>
                  <a:pt x="650" y="416"/>
                </a:cubicBezTo>
                <a:cubicBezTo>
                  <a:pt x="643" y="416"/>
                  <a:pt x="646" y="404"/>
                  <a:pt x="650" y="401"/>
                </a:cubicBezTo>
                <a:cubicBezTo>
                  <a:pt x="689" y="371"/>
                  <a:pt x="702" y="310"/>
                  <a:pt x="766" y="311"/>
                </a:cubicBezTo>
                <a:cubicBezTo>
                  <a:pt x="791" y="312"/>
                  <a:pt x="813" y="322"/>
                  <a:pt x="837" y="325"/>
                </a:cubicBezTo>
                <a:cubicBezTo>
                  <a:pt x="837" y="325"/>
                  <a:pt x="837" y="325"/>
                  <a:pt x="837" y="325"/>
                </a:cubicBezTo>
                <a:cubicBezTo>
                  <a:pt x="840" y="341"/>
                  <a:pt x="860" y="345"/>
                  <a:pt x="863" y="362"/>
                </a:cubicBezTo>
                <a:cubicBezTo>
                  <a:pt x="870" y="345"/>
                  <a:pt x="868" y="331"/>
                  <a:pt x="858" y="317"/>
                </a:cubicBezTo>
                <a:cubicBezTo>
                  <a:pt x="873" y="306"/>
                  <a:pt x="868" y="294"/>
                  <a:pt x="861" y="281"/>
                </a:cubicBezTo>
                <a:cubicBezTo>
                  <a:pt x="835" y="230"/>
                  <a:pt x="755" y="177"/>
                  <a:pt x="677" y="218"/>
                </a:cubicBezTo>
                <a:cubicBezTo>
                  <a:pt x="653" y="231"/>
                  <a:pt x="632" y="246"/>
                  <a:pt x="613" y="265"/>
                </a:cubicBezTo>
                <a:cubicBezTo>
                  <a:pt x="555" y="322"/>
                  <a:pt x="490" y="375"/>
                  <a:pt x="474" y="462"/>
                </a:cubicBezTo>
                <a:cubicBezTo>
                  <a:pt x="470" y="480"/>
                  <a:pt x="457" y="478"/>
                  <a:pt x="446" y="482"/>
                </a:cubicBezTo>
                <a:cubicBezTo>
                  <a:pt x="374" y="504"/>
                  <a:pt x="301" y="514"/>
                  <a:pt x="227" y="529"/>
                </a:cubicBezTo>
                <a:cubicBezTo>
                  <a:pt x="205" y="533"/>
                  <a:pt x="200" y="526"/>
                  <a:pt x="204" y="507"/>
                </a:cubicBezTo>
                <a:cubicBezTo>
                  <a:pt x="221" y="437"/>
                  <a:pt x="236" y="367"/>
                  <a:pt x="256" y="298"/>
                </a:cubicBezTo>
                <a:cubicBezTo>
                  <a:pt x="277" y="223"/>
                  <a:pt x="288" y="147"/>
                  <a:pt x="306" y="72"/>
                </a:cubicBezTo>
                <a:cubicBezTo>
                  <a:pt x="315" y="32"/>
                  <a:pt x="281" y="24"/>
                  <a:pt x="256" y="12"/>
                </a:cubicBezTo>
                <a:cubicBezTo>
                  <a:pt x="233" y="0"/>
                  <a:pt x="226" y="24"/>
                  <a:pt x="217" y="37"/>
                </a:cubicBezTo>
                <a:cubicBezTo>
                  <a:pt x="194" y="68"/>
                  <a:pt x="181" y="103"/>
                  <a:pt x="173" y="140"/>
                </a:cubicBezTo>
                <a:cubicBezTo>
                  <a:pt x="145" y="265"/>
                  <a:pt x="120" y="390"/>
                  <a:pt x="88" y="513"/>
                </a:cubicBezTo>
                <a:cubicBezTo>
                  <a:pt x="77" y="553"/>
                  <a:pt x="64" y="591"/>
                  <a:pt x="57" y="633"/>
                </a:cubicBezTo>
                <a:cubicBezTo>
                  <a:pt x="35" y="758"/>
                  <a:pt x="0" y="881"/>
                  <a:pt x="14" y="1009"/>
                </a:cubicBezTo>
                <a:close/>
                <a:moveTo>
                  <a:pt x="431" y="585"/>
                </a:moveTo>
                <a:cubicBezTo>
                  <a:pt x="435" y="585"/>
                  <a:pt x="439" y="585"/>
                  <a:pt x="442" y="583"/>
                </a:cubicBezTo>
                <a:cubicBezTo>
                  <a:pt x="498" y="542"/>
                  <a:pt x="531" y="579"/>
                  <a:pt x="566" y="617"/>
                </a:cubicBezTo>
                <a:cubicBezTo>
                  <a:pt x="580" y="633"/>
                  <a:pt x="598" y="647"/>
                  <a:pt x="617" y="656"/>
                </a:cubicBezTo>
                <a:cubicBezTo>
                  <a:pt x="666" y="679"/>
                  <a:pt x="659" y="719"/>
                  <a:pt x="629" y="754"/>
                </a:cubicBezTo>
                <a:cubicBezTo>
                  <a:pt x="601" y="788"/>
                  <a:pt x="559" y="807"/>
                  <a:pt x="521" y="826"/>
                </a:cubicBezTo>
                <a:cubicBezTo>
                  <a:pt x="497" y="838"/>
                  <a:pt x="475" y="843"/>
                  <a:pt x="469" y="873"/>
                </a:cubicBezTo>
                <a:cubicBezTo>
                  <a:pt x="469" y="874"/>
                  <a:pt x="461" y="874"/>
                  <a:pt x="456" y="875"/>
                </a:cubicBezTo>
                <a:cubicBezTo>
                  <a:pt x="451" y="877"/>
                  <a:pt x="445" y="879"/>
                  <a:pt x="440" y="881"/>
                </a:cubicBezTo>
                <a:cubicBezTo>
                  <a:pt x="440" y="881"/>
                  <a:pt x="440" y="881"/>
                  <a:pt x="440" y="881"/>
                </a:cubicBezTo>
                <a:cubicBezTo>
                  <a:pt x="440" y="881"/>
                  <a:pt x="440" y="881"/>
                  <a:pt x="440" y="881"/>
                </a:cubicBezTo>
                <a:cubicBezTo>
                  <a:pt x="428" y="848"/>
                  <a:pt x="393" y="841"/>
                  <a:pt x="370" y="820"/>
                </a:cubicBezTo>
                <a:cubicBezTo>
                  <a:pt x="350" y="802"/>
                  <a:pt x="331" y="783"/>
                  <a:pt x="313" y="762"/>
                </a:cubicBezTo>
                <a:cubicBezTo>
                  <a:pt x="280" y="723"/>
                  <a:pt x="241" y="688"/>
                  <a:pt x="205" y="650"/>
                </a:cubicBezTo>
                <a:cubicBezTo>
                  <a:pt x="278" y="625"/>
                  <a:pt x="353" y="599"/>
                  <a:pt x="431" y="585"/>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zh-CN" altLang="en-US">
              <a:solidFill>
                <a:schemeClr val="bg1"/>
              </a:solidFill>
            </a:endParaRPr>
          </a:p>
        </p:txBody>
      </p:sp>
      <p:pic>
        <p:nvPicPr>
          <p:cNvPr id="23" name="图片占位符 27" descr="图片包含 建筑物, 户外&#10;&#10;已生成极高可信度的说明">
            <a:extLst>
              <a:ext uri="{FF2B5EF4-FFF2-40B4-BE49-F238E27FC236}">
                <a16:creationId xmlns:a16="http://schemas.microsoft.com/office/drawing/2014/main" id="{65B61D1A-6AB1-457D-86D2-5419DC1A51BF}"/>
              </a:ext>
            </a:extLst>
          </p:cNvPr>
          <p:cNvPicPr>
            <a:picLocks noGrp="1" noChangeAspect="1"/>
          </p:cNvPicPr>
          <p:nvPr>
            <p:ph type="pic" sz="quarter" idx="19"/>
          </p:nvPr>
        </p:nvPicPr>
        <p:blipFill rotWithShape="1">
          <a:blip r:embed="rId3" cstate="email">
            <a:extLst>
              <a:ext uri="{28A0092B-C50C-407E-A947-70E740481C1C}">
                <a14:useLocalDpi xmlns:a14="http://schemas.microsoft.com/office/drawing/2010/main"/>
              </a:ext>
            </a:extLst>
          </a:blip>
          <a:srcRect/>
          <a:stretch/>
        </p:blipFill>
        <p:spPr>
          <a:xfrm>
            <a:off x="0" y="0"/>
            <a:ext cx="4927057" cy="6866909"/>
          </a:xfrm>
        </p:spPr>
      </p:pic>
      <p:sp>
        <p:nvSpPr>
          <p:cNvPr id="24" name="椭圆 23">
            <a:extLst>
              <a:ext uri="{FF2B5EF4-FFF2-40B4-BE49-F238E27FC236}">
                <a16:creationId xmlns:a16="http://schemas.microsoft.com/office/drawing/2014/main" id="{21872023-1CA1-47EB-A31A-5D94089B2128}"/>
              </a:ext>
            </a:extLst>
          </p:cNvPr>
          <p:cNvSpPr/>
          <p:nvPr/>
        </p:nvSpPr>
        <p:spPr>
          <a:xfrm>
            <a:off x="10100317" y="1749670"/>
            <a:ext cx="1150294" cy="1150294"/>
          </a:xfrm>
          <a:prstGeom prst="ellipse">
            <a:avLst/>
          </a:prstGeom>
          <a:solidFill>
            <a:schemeClr val="bg1">
              <a:lumMod val="95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altLang="zh-CN" sz="4800" dirty="0" err="1" smtClean="0">
                <a:solidFill>
                  <a:schemeClr val="bg1">
                    <a:lumMod val="65000"/>
                  </a:schemeClr>
                </a:solidFill>
                <a:latin typeface="Impact" panose="020B0806030902050204" pitchFamily="34" charset="0"/>
              </a:rPr>
              <a:t>jimi</a:t>
            </a:r>
            <a:endParaRPr lang="en-US" altLang="zh-CN" sz="4800" dirty="0">
              <a:solidFill>
                <a:schemeClr val="bg1">
                  <a:lumMod val="65000"/>
                </a:schemeClr>
              </a:solidFill>
              <a:latin typeface="Impact" panose="020B0806030902050204" pitchFamily="34" charset="0"/>
            </a:endParaRPr>
          </a:p>
        </p:txBody>
      </p:sp>
      <p:sp>
        <p:nvSpPr>
          <p:cNvPr id="15" name="标题 4">
            <a:extLst>
              <a:ext uri="{FF2B5EF4-FFF2-40B4-BE49-F238E27FC236}">
                <a16:creationId xmlns:a16="http://schemas.microsoft.com/office/drawing/2014/main" id="{C076F79B-917E-44D3-8853-BE49B88EDAF1}"/>
              </a:ext>
            </a:extLst>
          </p:cNvPr>
          <p:cNvSpPr>
            <a:spLocks noGrp="1"/>
          </p:cNvSpPr>
          <p:nvPr>
            <p:ph type="ctrTitle"/>
          </p:nvPr>
        </p:nvSpPr>
        <p:spPr>
          <a:xfrm>
            <a:off x="5918225" y="3861501"/>
            <a:ext cx="3935889" cy="940037"/>
          </a:xfrm>
        </p:spPr>
        <p:txBody>
          <a:bodyPr/>
          <a:lstStyle/>
          <a:p>
            <a:pPr algn="ctr"/>
            <a:r>
              <a:rPr lang="zh-CN" altLang="en-US" dirty="0">
                <a:solidFill>
                  <a:schemeClr val="tx1">
                    <a:lumMod val="85000"/>
                    <a:lumOff val="15000"/>
                  </a:schemeClr>
                </a:solidFill>
              </a:rPr>
              <a:t>未来！一起见证</a:t>
            </a:r>
            <a:r>
              <a:rPr lang="en-US" altLang="zh-CN" dirty="0"/>
              <a:t/>
            </a:r>
            <a:br>
              <a:rPr lang="en-US" altLang="zh-CN" dirty="0"/>
            </a:br>
            <a:endParaRPr lang="zh-CN" altLang="en-US" sz="2400" dirty="0">
              <a:solidFill>
                <a:schemeClr val="tx1">
                  <a:lumMod val="85000"/>
                  <a:lumOff val="15000"/>
                </a:schemeClr>
              </a:solidFill>
              <a:latin typeface="Consolas" panose="020B0609020204030204" pitchFamily="49" charset="0"/>
            </a:endParaRPr>
          </a:p>
        </p:txBody>
      </p:sp>
      <p:sp>
        <p:nvSpPr>
          <p:cNvPr id="18" name="标题 4">
            <a:extLst>
              <a:ext uri="{FF2B5EF4-FFF2-40B4-BE49-F238E27FC236}">
                <a16:creationId xmlns:a16="http://schemas.microsoft.com/office/drawing/2014/main" id="{C076F79B-917E-44D3-8853-BE49B88EDAF1}"/>
              </a:ext>
            </a:extLst>
          </p:cNvPr>
          <p:cNvSpPr txBox="1">
            <a:spLocks/>
          </p:cNvSpPr>
          <p:nvPr/>
        </p:nvSpPr>
        <p:spPr>
          <a:xfrm>
            <a:off x="6982333" y="4140895"/>
            <a:ext cx="5142067" cy="1621509"/>
          </a:xfrm>
          <a:prstGeom prst="rect">
            <a:avLst/>
          </a:prstGeom>
        </p:spPr>
        <p:txBody>
          <a:bodyPr vert="horz" lIns="91440" tIns="45720" rIns="91440" bIns="45720" rtlCol="0" anchor="b">
            <a:normAutofit/>
          </a:bodyPr>
          <a:lstStyle>
            <a:lvl1pPr marL="0" indent="0" algn="l" defTabSz="914354" rtl="0" eaLnBrk="1" latinLnBrk="0" hangingPunct="1">
              <a:lnSpc>
                <a:spcPct val="90000"/>
              </a:lnSpc>
              <a:spcBef>
                <a:spcPct val="0"/>
              </a:spcBef>
              <a:buFont typeface="Arial" panose="020B0604020202020204" pitchFamily="34" charset="0"/>
              <a:buNone/>
              <a:defRPr sz="3200" b="1" kern="1200">
                <a:solidFill>
                  <a:schemeClr val="tx1"/>
                </a:solidFill>
                <a:latin typeface="+mj-lt"/>
                <a:ea typeface="+mj-ea"/>
                <a:cs typeface="+mj-cs"/>
              </a:defRPr>
            </a:lvl1pPr>
          </a:lstStyle>
          <a:p>
            <a:pPr algn="ctr"/>
            <a:r>
              <a:rPr lang="en-US" altLang="zh-CN" i="1" dirty="0">
                <a:latin typeface="Consolas" panose="020B0609020204030204" pitchFamily="49" charset="0"/>
              </a:rPr>
              <a:t>Let's</a:t>
            </a:r>
            <a:r>
              <a:rPr lang="en-US" altLang="zh-CN" dirty="0">
                <a:latin typeface="Consolas" panose="020B0609020204030204" pitchFamily="49" charset="0"/>
              </a:rPr>
              <a:t> </a:t>
            </a:r>
            <a:r>
              <a:rPr lang="en-US" altLang="zh-CN" i="1" dirty="0">
                <a:latin typeface="Consolas" panose="020B0609020204030204" pitchFamily="49" charset="0"/>
              </a:rPr>
              <a:t>witness</a:t>
            </a:r>
            <a:r>
              <a:rPr lang="en-US" altLang="zh-CN" dirty="0">
                <a:latin typeface="Consolas" panose="020B0609020204030204" pitchFamily="49" charset="0"/>
              </a:rPr>
              <a:t> </a:t>
            </a:r>
            <a:r>
              <a:rPr lang="en-US" altLang="zh-CN" i="1" dirty="0">
                <a:latin typeface="Consolas" panose="020B0609020204030204" pitchFamily="49" charset="0"/>
              </a:rPr>
              <a:t>together</a:t>
            </a:r>
            <a:r>
              <a:rPr lang="en-US" altLang="zh-CN" dirty="0">
                <a:latin typeface="Consolas" panose="020B0609020204030204" pitchFamily="49" charset="0"/>
              </a:rPr>
              <a:t> </a:t>
            </a:r>
            <a:r>
              <a:rPr lang="en-US" altLang="zh-CN" i="1" dirty="0">
                <a:latin typeface="Consolas" panose="020B0609020204030204" pitchFamily="49" charset="0"/>
              </a:rPr>
              <a:t>in</a:t>
            </a:r>
            <a:r>
              <a:rPr lang="en-US" altLang="zh-CN" dirty="0">
                <a:latin typeface="Consolas" panose="020B0609020204030204" pitchFamily="49" charset="0"/>
              </a:rPr>
              <a:t> </a:t>
            </a:r>
            <a:r>
              <a:rPr lang="en-US" altLang="zh-CN" i="1" dirty="0">
                <a:latin typeface="Consolas" panose="020B0609020204030204" pitchFamily="49" charset="0"/>
              </a:rPr>
              <a:t>the</a:t>
            </a:r>
            <a:r>
              <a:rPr lang="en-US" altLang="zh-CN" dirty="0">
                <a:latin typeface="Consolas" panose="020B0609020204030204" pitchFamily="49" charset="0"/>
              </a:rPr>
              <a:t> </a:t>
            </a:r>
            <a:r>
              <a:rPr lang="en-US" altLang="zh-CN" i="1" dirty="0">
                <a:latin typeface="Consolas" panose="020B0609020204030204" pitchFamily="49" charset="0"/>
              </a:rPr>
              <a:t>future</a:t>
            </a:r>
            <a:endParaRPr lang="zh-CN" altLang="en-US" dirty="0">
              <a:solidFill>
                <a:schemeClr val="tx1">
                  <a:lumMod val="85000"/>
                  <a:lumOff val="15000"/>
                </a:schemeClr>
              </a:solidFill>
              <a:latin typeface="Consolas" panose="020B0609020204030204" pitchFamily="49" charset="0"/>
            </a:endParaRPr>
          </a:p>
        </p:txBody>
      </p:sp>
    </p:spTree>
    <p:extLst>
      <p:ext uri="{BB962C8B-B14F-4D97-AF65-F5344CB8AC3E}">
        <p14:creationId xmlns:p14="http://schemas.microsoft.com/office/powerpoint/2010/main" val="3988042316"/>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A9D8A41C-0824-490D-A71C-23C01C90B7FA}"/>
              </a:ext>
            </a:extLst>
          </p:cNvPr>
          <p:cNvSpPr>
            <a:spLocks noGrp="1"/>
          </p:cNvSpPr>
          <p:nvPr>
            <p:ph type="title"/>
          </p:nvPr>
        </p:nvSpPr>
        <p:spPr/>
        <p:txBody>
          <a:bodyPr/>
          <a:lstStyle/>
          <a:p>
            <a:r>
              <a:rPr lang="zh-CN" altLang="en-US" dirty="0" smtClean="0"/>
              <a:t>生产出错原因</a:t>
            </a:r>
            <a:endParaRPr lang="zh-CN" altLang="en-US" dirty="0"/>
          </a:p>
        </p:txBody>
      </p:sp>
      <p:cxnSp>
        <p:nvCxnSpPr>
          <p:cNvPr id="6" name="直接连接符 5">
            <a:extLst>
              <a:ext uri="{FF2B5EF4-FFF2-40B4-BE49-F238E27FC236}">
                <a16:creationId xmlns:a16="http://schemas.microsoft.com/office/drawing/2014/main" id="{BCF99564-3D04-4CB7-848B-CDC52C6A5DA7}"/>
              </a:ext>
            </a:extLst>
          </p:cNvPr>
          <p:cNvCxnSpPr/>
          <p:nvPr/>
        </p:nvCxnSpPr>
        <p:spPr>
          <a:xfrm flipV="1">
            <a:off x="1781143" y="3169961"/>
            <a:ext cx="0" cy="477222"/>
          </a:xfrm>
          <a:prstGeom prst="line">
            <a:avLst/>
          </a:prstGeom>
          <a:ln w="12700">
            <a:solidFill>
              <a:srgbClr val="8497B0"/>
            </a:solidFill>
            <a:headEnd type="oval"/>
            <a:tailEnd type="none"/>
          </a:ln>
        </p:spPr>
        <p:style>
          <a:lnRef idx="1">
            <a:schemeClr val="accent1"/>
          </a:lnRef>
          <a:fillRef idx="0">
            <a:schemeClr val="accent1"/>
          </a:fillRef>
          <a:effectRef idx="0">
            <a:schemeClr val="accent1"/>
          </a:effectRef>
          <a:fontRef idx="minor">
            <a:schemeClr val="tx1"/>
          </a:fontRef>
        </p:style>
      </p:cxnSp>
      <p:cxnSp>
        <p:nvCxnSpPr>
          <p:cNvPr id="7" name="直接连接符 6">
            <a:extLst>
              <a:ext uri="{FF2B5EF4-FFF2-40B4-BE49-F238E27FC236}">
                <a16:creationId xmlns:a16="http://schemas.microsoft.com/office/drawing/2014/main" id="{E92A25E1-1E4F-4A07-AEB1-CC3EE7B14704}"/>
              </a:ext>
            </a:extLst>
          </p:cNvPr>
          <p:cNvCxnSpPr/>
          <p:nvPr/>
        </p:nvCxnSpPr>
        <p:spPr>
          <a:xfrm flipV="1">
            <a:off x="3920876" y="3169961"/>
            <a:ext cx="0" cy="477222"/>
          </a:xfrm>
          <a:prstGeom prst="line">
            <a:avLst/>
          </a:prstGeom>
          <a:ln w="12700">
            <a:solidFill>
              <a:srgbClr val="8497B0"/>
            </a:solidFill>
            <a:headEnd type="oval"/>
            <a:tailEnd type="none"/>
          </a:ln>
        </p:spPr>
        <p:style>
          <a:lnRef idx="1">
            <a:schemeClr val="accent1"/>
          </a:lnRef>
          <a:fillRef idx="0">
            <a:schemeClr val="accent1"/>
          </a:fillRef>
          <a:effectRef idx="0">
            <a:schemeClr val="accent1"/>
          </a:effectRef>
          <a:fontRef idx="minor">
            <a:schemeClr val="tx1"/>
          </a:fontRef>
        </p:style>
      </p:cxnSp>
      <p:cxnSp>
        <p:nvCxnSpPr>
          <p:cNvPr id="8" name="直接连接符 7">
            <a:extLst>
              <a:ext uri="{FF2B5EF4-FFF2-40B4-BE49-F238E27FC236}">
                <a16:creationId xmlns:a16="http://schemas.microsoft.com/office/drawing/2014/main" id="{ED3B8C1D-E2F9-475A-821F-8531380C3C66}"/>
              </a:ext>
            </a:extLst>
          </p:cNvPr>
          <p:cNvCxnSpPr/>
          <p:nvPr/>
        </p:nvCxnSpPr>
        <p:spPr>
          <a:xfrm flipV="1">
            <a:off x="6078085" y="3169961"/>
            <a:ext cx="0" cy="477222"/>
          </a:xfrm>
          <a:prstGeom prst="line">
            <a:avLst/>
          </a:prstGeom>
          <a:ln w="12700">
            <a:solidFill>
              <a:srgbClr val="8497B0"/>
            </a:solidFill>
            <a:headEnd type="oval"/>
            <a:tailEnd type="none"/>
          </a:ln>
        </p:spPr>
        <p:style>
          <a:lnRef idx="1">
            <a:schemeClr val="accent1"/>
          </a:lnRef>
          <a:fillRef idx="0">
            <a:schemeClr val="accent1"/>
          </a:fillRef>
          <a:effectRef idx="0">
            <a:schemeClr val="accent1"/>
          </a:effectRef>
          <a:fontRef idx="minor">
            <a:schemeClr val="tx1"/>
          </a:fontRef>
        </p:style>
      </p:cxnSp>
      <p:cxnSp>
        <p:nvCxnSpPr>
          <p:cNvPr id="10" name="直接连接符 9">
            <a:extLst>
              <a:ext uri="{FF2B5EF4-FFF2-40B4-BE49-F238E27FC236}">
                <a16:creationId xmlns:a16="http://schemas.microsoft.com/office/drawing/2014/main" id="{96973CFE-0CEB-44AF-9A00-88E4D7CE84A2}"/>
              </a:ext>
            </a:extLst>
          </p:cNvPr>
          <p:cNvCxnSpPr/>
          <p:nvPr/>
        </p:nvCxnSpPr>
        <p:spPr>
          <a:xfrm flipV="1">
            <a:off x="8264973" y="3169961"/>
            <a:ext cx="0" cy="477222"/>
          </a:xfrm>
          <a:prstGeom prst="line">
            <a:avLst/>
          </a:prstGeom>
          <a:ln w="12700">
            <a:solidFill>
              <a:srgbClr val="8497B0"/>
            </a:solidFill>
            <a:headEnd type="oval"/>
            <a:tailEnd type="none"/>
          </a:ln>
        </p:spPr>
        <p:style>
          <a:lnRef idx="1">
            <a:schemeClr val="accent1"/>
          </a:lnRef>
          <a:fillRef idx="0">
            <a:schemeClr val="accent1"/>
          </a:fillRef>
          <a:effectRef idx="0">
            <a:schemeClr val="accent1"/>
          </a:effectRef>
          <a:fontRef idx="minor">
            <a:schemeClr val="tx1"/>
          </a:fontRef>
        </p:style>
      </p:cxnSp>
      <p:cxnSp>
        <p:nvCxnSpPr>
          <p:cNvPr id="11" name="直接连接符 10">
            <a:extLst>
              <a:ext uri="{FF2B5EF4-FFF2-40B4-BE49-F238E27FC236}">
                <a16:creationId xmlns:a16="http://schemas.microsoft.com/office/drawing/2014/main" id="{5BABA588-5CA8-447F-9B08-F6A3AA4E925A}"/>
              </a:ext>
            </a:extLst>
          </p:cNvPr>
          <p:cNvCxnSpPr/>
          <p:nvPr/>
        </p:nvCxnSpPr>
        <p:spPr>
          <a:xfrm flipV="1">
            <a:off x="10417934" y="3169961"/>
            <a:ext cx="0" cy="477222"/>
          </a:xfrm>
          <a:prstGeom prst="line">
            <a:avLst/>
          </a:prstGeom>
          <a:ln w="12700">
            <a:solidFill>
              <a:srgbClr val="8497B0"/>
            </a:solidFill>
            <a:headEnd type="oval"/>
            <a:tailEnd type="none"/>
          </a:ln>
        </p:spPr>
        <p:style>
          <a:lnRef idx="1">
            <a:schemeClr val="accent1"/>
          </a:lnRef>
          <a:fillRef idx="0">
            <a:schemeClr val="accent1"/>
          </a:fillRef>
          <a:effectRef idx="0">
            <a:schemeClr val="accent1"/>
          </a:effectRef>
          <a:fontRef idx="minor">
            <a:schemeClr val="tx1"/>
          </a:fontRef>
        </p:style>
      </p:cxnSp>
      <p:sp>
        <p:nvSpPr>
          <p:cNvPr id="12" name="iş1ïḑe">
            <a:extLst>
              <a:ext uri="{FF2B5EF4-FFF2-40B4-BE49-F238E27FC236}">
                <a16:creationId xmlns:a16="http://schemas.microsoft.com/office/drawing/2014/main" id="{A00247DB-7F92-4BD5-89D6-FBD3B926445F}"/>
              </a:ext>
            </a:extLst>
          </p:cNvPr>
          <p:cNvSpPr/>
          <p:nvPr/>
        </p:nvSpPr>
        <p:spPr>
          <a:xfrm>
            <a:off x="953149" y="3874934"/>
            <a:ext cx="785130" cy="100011"/>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3" name="iS1idé">
            <a:extLst>
              <a:ext uri="{FF2B5EF4-FFF2-40B4-BE49-F238E27FC236}">
                <a16:creationId xmlns:a16="http://schemas.microsoft.com/office/drawing/2014/main" id="{B680C2AC-A516-467C-8304-52A987303F0B}"/>
              </a:ext>
            </a:extLst>
          </p:cNvPr>
          <p:cNvSpPr/>
          <p:nvPr/>
        </p:nvSpPr>
        <p:spPr>
          <a:xfrm>
            <a:off x="1816794" y="3874934"/>
            <a:ext cx="785130" cy="100011"/>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4" name="iṥļiḑê">
            <a:extLst>
              <a:ext uri="{FF2B5EF4-FFF2-40B4-BE49-F238E27FC236}">
                <a16:creationId xmlns:a16="http://schemas.microsoft.com/office/drawing/2014/main" id="{7F07FB1D-2663-49FD-B949-2FF18F7DEDDC}"/>
              </a:ext>
            </a:extLst>
          </p:cNvPr>
          <p:cNvSpPr/>
          <p:nvPr/>
        </p:nvSpPr>
        <p:spPr>
          <a:xfrm>
            <a:off x="2680440" y="3874934"/>
            <a:ext cx="785130" cy="100011"/>
          </a:xfrm>
          <a:prstGeom prst="rect">
            <a:avLst/>
          </a:prstGeom>
          <a:solidFill>
            <a:schemeClr val="tx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5" name="ïśļîḋé">
            <a:extLst>
              <a:ext uri="{FF2B5EF4-FFF2-40B4-BE49-F238E27FC236}">
                <a16:creationId xmlns:a16="http://schemas.microsoft.com/office/drawing/2014/main" id="{51F73E16-8B25-4A36-80DD-D92EA7F6F7FF}"/>
              </a:ext>
            </a:extLst>
          </p:cNvPr>
          <p:cNvSpPr/>
          <p:nvPr/>
        </p:nvSpPr>
        <p:spPr>
          <a:xfrm>
            <a:off x="3544085" y="3874934"/>
            <a:ext cx="785130" cy="100011"/>
          </a:xfrm>
          <a:prstGeom prst="rect">
            <a:avLst/>
          </a:prstGeom>
          <a:solidFill>
            <a:schemeClr val="tx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6" name="iṧļiḓê">
            <a:extLst>
              <a:ext uri="{FF2B5EF4-FFF2-40B4-BE49-F238E27FC236}">
                <a16:creationId xmlns:a16="http://schemas.microsoft.com/office/drawing/2014/main" id="{581900D6-8C63-4D64-86A1-843FCC28497A}"/>
              </a:ext>
            </a:extLst>
          </p:cNvPr>
          <p:cNvSpPr/>
          <p:nvPr/>
        </p:nvSpPr>
        <p:spPr>
          <a:xfrm>
            <a:off x="4407730" y="3874934"/>
            <a:ext cx="785130" cy="100011"/>
          </a:xfrm>
          <a:prstGeom prst="rect">
            <a:avLst/>
          </a:prstGeom>
          <a:solidFill>
            <a:schemeClr val="tx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7" name="iSḷídè">
            <a:extLst>
              <a:ext uri="{FF2B5EF4-FFF2-40B4-BE49-F238E27FC236}">
                <a16:creationId xmlns:a16="http://schemas.microsoft.com/office/drawing/2014/main" id="{59137873-F382-4EF6-993E-8BB6F48BDE8C}"/>
              </a:ext>
            </a:extLst>
          </p:cNvPr>
          <p:cNvSpPr/>
          <p:nvPr/>
        </p:nvSpPr>
        <p:spPr>
          <a:xfrm>
            <a:off x="5271376" y="3874934"/>
            <a:ext cx="785130" cy="10001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8" name="îSliḑè">
            <a:extLst>
              <a:ext uri="{FF2B5EF4-FFF2-40B4-BE49-F238E27FC236}">
                <a16:creationId xmlns:a16="http://schemas.microsoft.com/office/drawing/2014/main" id="{4212112E-E4DB-4C45-B2E9-36B248068D51}"/>
              </a:ext>
            </a:extLst>
          </p:cNvPr>
          <p:cNvSpPr/>
          <p:nvPr/>
        </p:nvSpPr>
        <p:spPr>
          <a:xfrm>
            <a:off x="6135021" y="3874934"/>
            <a:ext cx="785130" cy="10001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9" name="ísḷïḋê">
            <a:extLst>
              <a:ext uri="{FF2B5EF4-FFF2-40B4-BE49-F238E27FC236}">
                <a16:creationId xmlns:a16="http://schemas.microsoft.com/office/drawing/2014/main" id="{5D5C671D-CF85-41AB-AB76-0AB3578FBEF4}"/>
              </a:ext>
            </a:extLst>
          </p:cNvPr>
          <p:cNvSpPr/>
          <p:nvPr/>
        </p:nvSpPr>
        <p:spPr>
          <a:xfrm>
            <a:off x="6998666" y="3874934"/>
            <a:ext cx="785130" cy="10001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20" name="ísḻïḍè">
            <a:extLst>
              <a:ext uri="{FF2B5EF4-FFF2-40B4-BE49-F238E27FC236}">
                <a16:creationId xmlns:a16="http://schemas.microsoft.com/office/drawing/2014/main" id="{1F2E16A6-025D-40DA-B1E6-4BC2D4ECB976}"/>
              </a:ext>
            </a:extLst>
          </p:cNvPr>
          <p:cNvSpPr/>
          <p:nvPr/>
        </p:nvSpPr>
        <p:spPr>
          <a:xfrm>
            <a:off x="7862311" y="3874934"/>
            <a:ext cx="785130" cy="100011"/>
          </a:xfrm>
          <a:prstGeom prst="rect">
            <a:avLst/>
          </a:prstGeom>
          <a:solidFill>
            <a:schemeClr val="tx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21" name="ïṣḷîḓé">
            <a:extLst>
              <a:ext uri="{FF2B5EF4-FFF2-40B4-BE49-F238E27FC236}">
                <a16:creationId xmlns:a16="http://schemas.microsoft.com/office/drawing/2014/main" id="{285F7DD6-BB4C-4633-A9DE-BB703A6E34EA}"/>
              </a:ext>
            </a:extLst>
          </p:cNvPr>
          <p:cNvSpPr/>
          <p:nvPr/>
        </p:nvSpPr>
        <p:spPr>
          <a:xfrm>
            <a:off x="8725957" y="3874934"/>
            <a:ext cx="785130" cy="100011"/>
          </a:xfrm>
          <a:prstGeom prst="rect">
            <a:avLst/>
          </a:prstGeom>
          <a:solidFill>
            <a:schemeClr val="tx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22" name="îsliďe">
            <a:extLst>
              <a:ext uri="{FF2B5EF4-FFF2-40B4-BE49-F238E27FC236}">
                <a16:creationId xmlns:a16="http://schemas.microsoft.com/office/drawing/2014/main" id="{86BE9525-ECB2-4B2F-A466-376FCF9448CE}"/>
              </a:ext>
            </a:extLst>
          </p:cNvPr>
          <p:cNvSpPr/>
          <p:nvPr/>
        </p:nvSpPr>
        <p:spPr>
          <a:xfrm>
            <a:off x="9589602" y="3874934"/>
            <a:ext cx="785130" cy="100011"/>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23" name="ïṧļiḑè">
            <a:extLst>
              <a:ext uri="{FF2B5EF4-FFF2-40B4-BE49-F238E27FC236}">
                <a16:creationId xmlns:a16="http://schemas.microsoft.com/office/drawing/2014/main" id="{32FE3B24-287B-4103-A82B-CCAEAA5C2B6D}"/>
              </a:ext>
            </a:extLst>
          </p:cNvPr>
          <p:cNvSpPr/>
          <p:nvPr/>
        </p:nvSpPr>
        <p:spPr>
          <a:xfrm>
            <a:off x="10453247" y="3874934"/>
            <a:ext cx="785130" cy="100011"/>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30" name="îṥľîḑé">
            <a:extLst>
              <a:ext uri="{FF2B5EF4-FFF2-40B4-BE49-F238E27FC236}">
                <a16:creationId xmlns:a16="http://schemas.microsoft.com/office/drawing/2014/main" id="{4F14B689-8FB2-4964-B416-DCC5BE40CFD6}"/>
              </a:ext>
            </a:extLst>
          </p:cNvPr>
          <p:cNvSpPr txBox="1"/>
          <p:nvPr/>
        </p:nvSpPr>
        <p:spPr bwMode="auto">
          <a:xfrm>
            <a:off x="953150" y="3996256"/>
            <a:ext cx="1648774" cy="4128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0000" tIns="46800" rIns="90000" bIns="46800" anchor="ctr">
            <a:norm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algn="ctr" eaLnBrk="1" hangingPunct="1">
              <a:lnSpc>
                <a:spcPct val="100000"/>
              </a:lnSpc>
              <a:spcBef>
                <a:spcPct val="0"/>
              </a:spcBef>
              <a:buFontTx/>
              <a:buNone/>
            </a:pPr>
            <a:r>
              <a:rPr lang="zh-CN" altLang="en-US" sz="1600" b="1" dirty="0" smtClean="0"/>
              <a:t>参数设置错误</a:t>
            </a:r>
            <a:endParaRPr lang="en-US" altLang="zh-CN" sz="1600" b="1" dirty="0"/>
          </a:p>
        </p:txBody>
      </p:sp>
      <p:sp>
        <p:nvSpPr>
          <p:cNvPr id="31" name="iŝľîdé">
            <a:extLst>
              <a:ext uri="{FF2B5EF4-FFF2-40B4-BE49-F238E27FC236}">
                <a16:creationId xmlns:a16="http://schemas.microsoft.com/office/drawing/2014/main" id="{039819CB-F80C-49DE-9515-F3EE5EACE1B6}"/>
              </a:ext>
            </a:extLst>
          </p:cNvPr>
          <p:cNvSpPr txBox="1"/>
          <p:nvPr/>
        </p:nvSpPr>
        <p:spPr bwMode="auto">
          <a:xfrm>
            <a:off x="2601924" y="3996990"/>
            <a:ext cx="2758660" cy="43345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0000" tIns="46800" rIns="90000" bIns="46800" anchor="ctr">
            <a:norm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algn="ctr" eaLnBrk="1" hangingPunct="1">
              <a:lnSpc>
                <a:spcPct val="100000"/>
              </a:lnSpc>
              <a:spcBef>
                <a:spcPct val="0"/>
              </a:spcBef>
              <a:buFontTx/>
              <a:buNone/>
            </a:pPr>
            <a:r>
              <a:rPr lang="zh-CN" altLang="en-US" sz="1600" b="1" dirty="0" smtClean="0">
                <a:latin typeface="+mn-ea"/>
              </a:rPr>
              <a:t>站位表错误</a:t>
            </a:r>
            <a:endParaRPr lang="en-US" altLang="zh-CN" sz="1600" b="1" dirty="0">
              <a:latin typeface="+mn-ea"/>
            </a:endParaRPr>
          </a:p>
        </p:txBody>
      </p:sp>
      <p:sp>
        <p:nvSpPr>
          <p:cNvPr id="32" name="íṥliḍè">
            <a:extLst>
              <a:ext uri="{FF2B5EF4-FFF2-40B4-BE49-F238E27FC236}">
                <a16:creationId xmlns:a16="http://schemas.microsoft.com/office/drawing/2014/main" id="{61895000-B566-45C4-8495-5E94F4A294BD}"/>
              </a:ext>
            </a:extLst>
          </p:cNvPr>
          <p:cNvSpPr txBox="1"/>
          <p:nvPr/>
        </p:nvSpPr>
        <p:spPr bwMode="auto">
          <a:xfrm>
            <a:off x="4877226" y="3996256"/>
            <a:ext cx="2512420" cy="4128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0000" tIns="46800" rIns="90000" bIns="46800" anchor="ctr">
            <a:norm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algn="ctr" eaLnBrk="1" hangingPunct="1">
              <a:lnSpc>
                <a:spcPct val="100000"/>
              </a:lnSpc>
              <a:spcBef>
                <a:spcPct val="0"/>
              </a:spcBef>
              <a:buFontTx/>
              <a:buNone/>
            </a:pPr>
            <a:r>
              <a:rPr lang="zh-CN" altLang="en-US" sz="1600" b="1" dirty="0" smtClean="0"/>
              <a:t>检验仅靠人工目检</a:t>
            </a:r>
            <a:endParaRPr lang="en-US" altLang="zh-CN" sz="1600" b="1" dirty="0"/>
          </a:p>
        </p:txBody>
      </p:sp>
      <p:sp>
        <p:nvSpPr>
          <p:cNvPr id="33" name="i$lidê">
            <a:extLst>
              <a:ext uri="{FF2B5EF4-FFF2-40B4-BE49-F238E27FC236}">
                <a16:creationId xmlns:a16="http://schemas.microsoft.com/office/drawing/2014/main" id="{AA869FD3-A17D-4451-8F91-DA12620D572B}"/>
              </a:ext>
            </a:extLst>
          </p:cNvPr>
          <p:cNvSpPr txBox="1"/>
          <p:nvPr/>
        </p:nvSpPr>
        <p:spPr bwMode="auto">
          <a:xfrm>
            <a:off x="7468174" y="3996256"/>
            <a:ext cx="1648772" cy="4128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0000" tIns="46800" rIns="90000" bIns="46800" anchor="ctr">
            <a:norm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algn="ctr" eaLnBrk="1" hangingPunct="1">
              <a:lnSpc>
                <a:spcPct val="100000"/>
              </a:lnSpc>
              <a:spcBef>
                <a:spcPct val="0"/>
              </a:spcBef>
              <a:buFontTx/>
              <a:buNone/>
            </a:pPr>
            <a:r>
              <a:rPr lang="zh-CN" altLang="en-US" sz="1600" b="1" dirty="0" smtClean="0"/>
              <a:t>部门之间缺乏监管</a:t>
            </a:r>
            <a:endParaRPr lang="en-US" altLang="zh-CN" sz="1600" b="1" dirty="0"/>
          </a:p>
        </p:txBody>
      </p:sp>
      <p:sp>
        <p:nvSpPr>
          <p:cNvPr id="34" name="ïs1iḍè">
            <a:extLst>
              <a:ext uri="{FF2B5EF4-FFF2-40B4-BE49-F238E27FC236}">
                <a16:creationId xmlns:a16="http://schemas.microsoft.com/office/drawing/2014/main" id="{CF9DCB73-E0CC-434C-8006-1204EC382416}"/>
              </a:ext>
            </a:extLst>
          </p:cNvPr>
          <p:cNvSpPr txBox="1"/>
          <p:nvPr/>
        </p:nvSpPr>
        <p:spPr bwMode="auto">
          <a:xfrm>
            <a:off x="9593548" y="3996256"/>
            <a:ext cx="1648772" cy="4128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0000" tIns="46800" rIns="90000" bIns="46800" anchor="ctr">
            <a:norm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algn="ctr" eaLnBrk="1" hangingPunct="1">
              <a:lnSpc>
                <a:spcPct val="100000"/>
              </a:lnSpc>
              <a:spcBef>
                <a:spcPct val="0"/>
              </a:spcBef>
              <a:buFontTx/>
              <a:buNone/>
            </a:pPr>
            <a:r>
              <a:rPr lang="zh-CN" altLang="en-US" sz="1600" b="1" dirty="0" smtClean="0"/>
              <a:t>操作不熟练</a:t>
            </a:r>
            <a:endParaRPr lang="en-US" altLang="zh-CN" sz="1600" b="1" dirty="0"/>
          </a:p>
        </p:txBody>
      </p:sp>
      <p:sp>
        <p:nvSpPr>
          <p:cNvPr id="41" name="îṩḻîḑè">
            <a:extLst>
              <a:ext uri="{FF2B5EF4-FFF2-40B4-BE49-F238E27FC236}">
                <a16:creationId xmlns:a16="http://schemas.microsoft.com/office/drawing/2014/main" id="{42344D5A-2631-4F95-8AD4-536439020770}"/>
              </a:ext>
            </a:extLst>
          </p:cNvPr>
          <p:cNvSpPr/>
          <p:nvPr/>
        </p:nvSpPr>
        <p:spPr bwMode="auto">
          <a:xfrm>
            <a:off x="1287051" y="2218999"/>
            <a:ext cx="993044" cy="1020984"/>
          </a:xfrm>
          <a:prstGeom prst="ellipse">
            <a:avLst/>
          </a:prstGeom>
          <a:solidFill>
            <a:schemeClr val="accent2"/>
          </a:solidFill>
          <a:ln w="38100" cap="flat" cmpd="sng">
            <a:noFill/>
            <a:bevel/>
            <a:headEnd/>
            <a:tailEnd/>
          </a:ln>
          <a:effectLst/>
        </p:spPr>
        <p:txBody>
          <a:bodyPr wrap="none" anchor="ctr">
            <a:noAutofit/>
          </a:bodyPr>
          <a:lstStyle/>
          <a:p>
            <a:pPr algn="ctr"/>
            <a:r>
              <a:rPr lang="zh-CN" altLang="en-US" sz="3600" b="1" dirty="0" smtClean="0">
                <a:solidFill>
                  <a:schemeClr val="bg1">
                    <a:lumMod val="100000"/>
                  </a:schemeClr>
                </a:solidFill>
              </a:rPr>
              <a:t>机</a:t>
            </a:r>
            <a:endParaRPr lang="zh-CN" altLang="en-US" sz="3600" b="1" dirty="0">
              <a:solidFill>
                <a:schemeClr val="bg1">
                  <a:lumMod val="100000"/>
                </a:schemeClr>
              </a:solidFill>
            </a:endParaRPr>
          </a:p>
        </p:txBody>
      </p:sp>
      <p:sp>
        <p:nvSpPr>
          <p:cNvPr id="42" name="îṥḷíďé">
            <a:extLst>
              <a:ext uri="{FF2B5EF4-FFF2-40B4-BE49-F238E27FC236}">
                <a16:creationId xmlns:a16="http://schemas.microsoft.com/office/drawing/2014/main" id="{A50A49B8-A73D-4C17-9414-D75AC37A54D1}"/>
              </a:ext>
            </a:extLst>
          </p:cNvPr>
          <p:cNvSpPr/>
          <p:nvPr/>
        </p:nvSpPr>
        <p:spPr bwMode="auto">
          <a:xfrm>
            <a:off x="3432866" y="2216222"/>
            <a:ext cx="981009" cy="1042295"/>
          </a:xfrm>
          <a:prstGeom prst="ellipse">
            <a:avLst/>
          </a:prstGeom>
          <a:solidFill>
            <a:schemeClr val="accent1"/>
          </a:solidFill>
          <a:ln w="38100" cap="flat" cmpd="sng">
            <a:noFill/>
            <a:bevel/>
            <a:headEnd/>
            <a:tailEnd/>
          </a:ln>
          <a:effectLst/>
        </p:spPr>
        <p:txBody>
          <a:bodyPr wrap="none" anchor="ctr">
            <a:normAutofit/>
          </a:bodyPr>
          <a:lstStyle/>
          <a:p>
            <a:pPr algn="ctr"/>
            <a:r>
              <a:rPr lang="zh-CN" altLang="en-US" sz="3600" b="1" dirty="0" smtClean="0">
                <a:solidFill>
                  <a:schemeClr val="bg1">
                    <a:lumMod val="100000"/>
                  </a:schemeClr>
                </a:solidFill>
              </a:rPr>
              <a:t>料</a:t>
            </a:r>
            <a:endParaRPr lang="zh-CN" altLang="en-US" sz="3600" b="1" dirty="0">
              <a:solidFill>
                <a:schemeClr val="bg1">
                  <a:lumMod val="100000"/>
                </a:schemeClr>
              </a:solidFill>
            </a:endParaRPr>
          </a:p>
        </p:txBody>
      </p:sp>
      <p:sp>
        <p:nvSpPr>
          <p:cNvPr id="43" name="î$ľiḋe">
            <a:extLst>
              <a:ext uri="{FF2B5EF4-FFF2-40B4-BE49-F238E27FC236}">
                <a16:creationId xmlns:a16="http://schemas.microsoft.com/office/drawing/2014/main" id="{AE2B8E0E-D235-4A70-B8A1-5872C02B4759}"/>
              </a:ext>
            </a:extLst>
          </p:cNvPr>
          <p:cNvSpPr/>
          <p:nvPr/>
        </p:nvSpPr>
        <p:spPr bwMode="auto">
          <a:xfrm>
            <a:off x="5573973" y="2216222"/>
            <a:ext cx="1018392" cy="1048464"/>
          </a:xfrm>
          <a:prstGeom prst="ellipse">
            <a:avLst/>
          </a:prstGeom>
          <a:solidFill>
            <a:schemeClr val="accent3"/>
          </a:solidFill>
          <a:ln w="38100" cap="flat" cmpd="sng">
            <a:noFill/>
            <a:bevel/>
            <a:headEnd/>
            <a:tailEnd/>
          </a:ln>
          <a:effectLst/>
        </p:spPr>
        <p:txBody>
          <a:bodyPr wrap="none" anchor="ctr">
            <a:normAutofit/>
          </a:bodyPr>
          <a:lstStyle/>
          <a:p>
            <a:pPr algn="ctr"/>
            <a:r>
              <a:rPr lang="zh-CN" altLang="en-US" sz="3600" b="1" dirty="0" smtClean="0">
                <a:solidFill>
                  <a:schemeClr val="bg1">
                    <a:lumMod val="100000"/>
                  </a:schemeClr>
                </a:solidFill>
              </a:rPr>
              <a:t>法</a:t>
            </a:r>
            <a:endParaRPr lang="zh-CN" altLang="en-US" sz="3600" b="1" dirty="0">
              <a:solidFill>
                <a:schemeClr val="bg1">
                  <a:lumMod val="100000"/>
                </a:schemeClr>
              </a:solidFill>
            </a:endParaRPr>
          </a:p>
        </p:txBody>
      </p:sp>
      <p:sp>
        <p:nvSpPr>
          <p:cNvPr id="44" name="îṥḷíďé">
            <a:extLst>
              <a:ext uri="{FF2B5EF4-FFF2-40B4-BE49-F238E27FC236}">
                <a16:creationId xmlns:a16="http://schemas.microsoft.com/office/drawing/2014/main" id="{A50A49B8-A73D-4C17-9414-D75AC37A54D1}"/>
              </a:ext>
            </a:extLst>
          </p:cNvPr>
          <p:cNvSpPr/>
          <p:nvPr/>
        </p:nvSpPr>
        <p:spPr bwMode="auto">
          <a:xfrm>
            <a:off x="7784027" y="2279445"/>
            <a:ext cx="981009" cy="1042295"/>
          </a:xfrm>
          <a:prstGeom prst="ellipse">
            <a:avLst/>
          </a:prstGeom>
          <a:solidFill>
            <a:schemeClr val="accent1"/>
          </a:solidFill>
          <a:ln w="38100" cap="flat" cmpd="sng">
            <a:noFill/>
            <a:bevel/>
            <a:headEnd/>
            <a:tailEnd/>
          </a:ln>
          <a:effectLst/>
        </p:spPr>
        <p:txBody>
          <a:bodyPr wrap="none" anchor="ctr">
            <a:normAutofit/>
          </a:bodyPr>
          <a:lstStyle/>
          <a:p>
            <a:pPr algn="ctr"/>
            <a:r>
              <a:rPr lang="zh-CN" altLang="en-US" sz="3600" b="1" dirty="0" smtClean="0">
                <a:solidFill>
                  <a:schemeClr val="bg1">
                    <a:lumMod val="100000"/>
                  </a:schemeClr>
                </a:solidFill>
              </a:rPr>
              <a:t>环</a:t>
            </a:r>
            <a:endParaRPr lang="zh-CN" altLang="en-US" sz="3600" b="1" dirty="0">
              <a:solidFill>
                <a:schemeClr val="bg1">
                  <a:lumMod val="100000"/>
                </a:schemeClr>
              </a:solidFill>
            </a:endParaRPr>
          </a:p>
        </p:txBody>
      </p:sp>
      <p:sp>
        <p:nvSpPr>
          <p:cNvPr id="45" name="îṩḻîḑè">
            <a:extLst>
              <a:ext uri="{FF2B5EF4-FFF2-40B4-BE49-F238E27FC236}">
                <a16:creationId xmlns:a16="http://schemas.microsoft.com/office/drawing/2014/main" id="{42344D5A-2631-4F95-8AD4-536439020770}"/>
              </a:ext>
            </a:extLst>
          </p:cNvPr>
          <p:cNvSpPr/>
          <p:nvPr/>
        </p:nvSpPr>
        <p:spPr bwMode="auto">
          <a:xfrm>
            <a:off x="9918157" y="2273606"/>
            <a:ext cx="993044" cy="1020984"/>
          </a:xfrm>
          <a:prstGeom prst="ellipse">
            <a:avLst/>
          </a:prstGeom>
          <a:solidFill>
            <a:schemeClr val="accent2"/>
          </a:solidFill>
          <a:ln w="38100" cap="flat" cmpd="sng">
            <a:noFill/>
            <a:bevel/>
            <a:headEnd/>
            <a:tailEnd/>
          </a:ln>
          <a:effectLst/>
        </p:spPr>
        <p:txBody>
          <a:bodyPr wrap="none" anchor="ctr">
            <a:normAutofit/>
          </a:bodyPr>
          <a:lstStyle/>
          <a:p>
            <a:pPr algn="ctr"/>
            <a:r>
              <a:rPr lang="zh-CN" altLang="en-US" sz="3600" b="1" dirty="0">
                <a:solidFill>
                  <a:schemeClr val="bg1">
                    <a:lumMod val="100000"/>
                  </a:schemeClr>
                </a:solidFill>
              </a:rPr>
              <a:t>人</a:t>
            </a:r>
          </a:p>
        </p:txBody>
      </p:sp>
      <p:sp>
        <p:nvSpPr>
          <p:cNvPr id="46" name="iŝľîdé">
            <a:extLst>
              <a:ext uri="{FF2B5EF4-FFF2-40B4-BE49-F238E27FC236}">
                <a16:creationId xmlns:a16="http://schemas.microsoft.com/office/drawing/2014/main" id="{039819CB-F80C-49DE-9515-F3EE5EACE1B6}"/>
              </a:ext>
            </a:extLst>
          </p:cNvPr>
          <p:cNvSpPr txBox="1"/>
          <p:nvPr/>
        </p:nvSpPr>
        <p:spPr bwMode="auto">
          <a:xfrm>
            <a:off x="2601924" y="4514489"/>
            <a:ext cx="2758660" cy="43345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0000" tIns="46800" rIns="90000" bIns="46800" anchor="ctr">
            <a:norm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algn="ctr" eaLnBrk="1" hangingPunct="1">
              <a:lnSpc>
                <a:spcPct val="100000"/>
              </a:lnSpc>
              <a:spcBef>
                <a:spcPct val="0"/>
              </a:spcBef>
              <a:buFontTx/>
              <a:buNone/>
            </a:pPr>
            <a:r>
              <a:rPr lang="zh-CN" altLang="en-US" sz="1600" b="1" dirty="0" smtClean="0">
                <a:latin typeface="+mn-ea"/>
              </a:rPr>
              <a:t>用料错误</a:t>
            </a:r>
            <a:endParaRPr lang="en-US" altLang="zh-CN" sz="1600" b="1" dirty="0">
              <a:latin typeface="+mn-ea"/>
            </a:endParaRPr>
          </a:p>
        </p:txBody>
      </p:sp>
      <p:sp>
        <p:nvSpPr>
          <p:cNvPr id="47" name="ïs1iḍè">
            <a:extLst>
              <a:ext uri="{FF2B5EF4-FFF2-40B4-BE49-F238E27FC236}">
                <a16:creationId xmlns:a16="http://schemas.microsoft.com/office/drawing/2014/main" id="{CF9DCB73-E0CC-434C-8006-1204EC382416}"/>
              </a:ext>
            </a:extLst>
          </p:cNvPr>
          <p:cNvSpPr txBox="1"/>
          <p:nvPr/>
        </p:nvSpPr>
        <p:spPr bwMode="auto">
          <a:xfrm>
            <a:off x="9589602" y="4430447"/>
            <a:ext cx="1648772" cy="4128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0000" tIns="46800" rIns="90000" bIns="46800" anchor="ctr">
            <a:norm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algn="ctr" eaLnBrk="1" hangingPunct="1">
              <a:lnSpc>
                <a:spcPct val="100000"/>
              </a:lnSpc>
              <a:spcBef>
                <a:spcPct val="0"/>
              </a:spcBef>
              <a:buFontTx/>
              <a:buNone/>
            </a:pPr>
            <a:r>
              <a:rPr lang="zh-CN" altLang="en-US" sz="1600" b="1" dirty="0" smtClean="0"/>
              <a:t>工艺执行不规范</a:t>
            </a:r>
            <a:endParaRPr lang="en-US" altLang="zh-CN" sz="1600" b="1" dirty="0"/>
          </a:p>
        </p:txBody>
      </p:sp>
    </p:spTree>
    <p:extLst>
      <p:ext uri="{BB962C8B-B14F-4D97-AF65-F5344CB8AC3E}">
        <p14:creationId xmlns:p14="http://schemas.microsoft.com/office/powerpoint/2010/main" val="206587474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smtClean="0"/>
              <a:t>SMT</a:t>
            </a:r>
            <a:r>
              <a:rPr lang="zh-CN" altLang="en-US" dirty="0" smtClean="0"/>
              <a:t>防错料产</a:t>
            </a:r>
            <a:r>
              <a:rPr lang="zh-CN" altLang="en-US" dirty="0"/>
              <a:t>线运行实景</a:t>
            </a:r>
          </a:p>
        </p:txBody>
      </p:sp>
      <p:sp>
        <p:nvSpPr>
          <p:cNvPr id="378" name="íṧlíḑè">
            <a:extLst>
              <a:ext uri="{FF2B5EF4-FFF2-40B4-BE49-F238E27FC236}">
                <a16:creationId xmlns:a16="http://schemas.microsoft.com/office/drawing/2014/main" id="{7C99620B-8631-4194-A4B4-5C3A0230A3FB}"/>
              </a:ext>
            </a:extLst>
          </p:cNvPr>
          <p:cNvSpPr/>
          <p:nvPr/>
        </p:nvSpPr>
        <p:spPr bwMode="auto">
          <a:xfrm flipH="1">
            <a:off x="891226" y="1067496"/>
            <a:ext cx="4079154" cy="1022653"/>
          </a:xfrm>
          <a:custGeom>
            <a:avLst/>
            <a:gdLst>
              <a:gd name="T0" fmla="*/ 229 w 695"/>
              <a:gd name="T1" fmla="*/ 157 h 174"/>
              <a:gd name="T2" fmla="*/ 338 w 695"/>
              <a:gd name="T3" fmla="*/ 173 h 174"/>
              <a:gd name="T4" fmla="*/ 395 w 695"/>
              <a:gd name="T5" fmla="*/ 157 h 174"/>
              <a:gd name="T6" fmla="*/ 273 w 695"/>
              <a:gd name="T7" fmla="*/ 86 h 174"/>
              <a:gd name="T8" fmla="*/ 273 w 695"/>
              <a:gd name="T9" fmla="*/ 72 h 174"/>
              <a:gd name="T10" fmla="*/ 355 w 695"/>
              <a:gd name="T11" fmla="*/ 82 h 174"/>
              <a:gd name="T12" fmla="*/ 493 w 695"/>
              <a:gd name="T13" fmla="*/ 99 h 174"/>
              <a:gd name="T14" fmla="*/ 563 w 695"/>
              <a:gd name="T15" fmla="*/ 86 h 174"/>
              <a:gd name="T16" fmla="*/ 534 w 695"/>
              <a:gd name="T17" fmla="*/ 47 h 174"/>
              <a:gd name="T18" fmla="*/ 569 w 695"/>
              <a:gd name="T19" fmla="*/ 32 h 174"/>
              <a:gd name="T20" fmla="*/ 656 w 695"/>
              <a:gd name="T21" fmla="*/ 39 h 174"/>
              <a:gd name="T22" fmla="*/ 653 w 695"/>
              <a:gd name="T23" fmla="*/ 8 h 174"/>
              <a:gd name="T24" fmla="*/ 656 w 695"/>
              <a:gd name="T25" fmla="*/ 4 h 174"/>
              <a:gd name="T26" fmla="*/ 677 w 695"/>
              <a:gd name="T27" fmla="*/ 3 h 174"/>
              <a:gd name="T28" fmla="*/ 689 w 695"/>
              <a:gd name="T29" fmla="*/ 2 h 174"/>
              <a:gd name="T30" fmla="*/ 656 w 695"/>
              <a:gd name="T31" fmla="*/ 1 h 174"/>
              <a:gd name="T32" fmla="*/ 645 w 695"/>
              <a:gd name="T33" fmla="*/ 8 h 174"/>
              <a:gd name="T34" fmla="*/ 652 w 695"/>
              <a:gd name="T35" fmla="*/ 28 h 174"/>
              <a:gd name="T36" fmla="*/ 633 w 695"/>
              <a:gd name="T37" fmla="*/ 32 h 174"/>
              <a:gd name="T38" fmla="*/ 631 w 695"/>
              <a:gd name="T39" fmla="*/ 31 h 174"/>
              <a:gd name="T40" fmla="*/ 623 w 695"/>
              <a:gd name="T41" fmla="*/ 29 h 174"/>
              <a:gd name="T42" fmla="*/ 588 w 695"/>
              <a:gd name="T43" fmla="*/ 27 h 174"/>
              <a:gd name="T44" fmla="*/ 573 w 695"/>
              <a:gd name="T45" fmla="*/ 24 h 174"/>
              <a:gd name="T46" fmla="*/ 562 w 695"/>
              <a:gd name="T47" fmla="*/ 22 h 174"/>
              <a:gd name="T48" fmla="*/ 532 w 695"/>
              <a:gd name="T49" fmla="*/ 21 h 174"/>
              <a:gd name="T50" fmla="*/ 498 w 695"/>
              <a:gd name="T51" fmla="*/ 36 h 174"/>
              <a:gd name="T52" fmla="*/ 500 w 695"/>
              <a:gd name="T53" fmla="*/ 43 h 174"/>
              <a:gd name="T54" fmla="*/ 516 w 695"/>
              <a:gd name="T55" fmla="*/ 47 h 174"/>
              <a:gd name="T56" fmla="*/ 509 w 695"/>
              <a:gd name="T57" fmla="*/ 51 h 174"/>
              <a:gd name="T58" fmla="*/ 529 w 695"/>
              <a:gd name="T59" fmla="*/ 74 h 174"/>
              <a:gd name="T60" fmla="*/ 535 w 695"/>
              <a:gd name="T61" fmla="*/ 83 h 174"/>
              <a:gd name="T62" fmla="*/ 515 w 695"/>
              <a:gd name="T63" fmla="*/ 91 h 174"/>
              <a:gd name="T64" fmla="*/ 466 w 695"/>
              <a:gd name="T65" fmla="*/ 86 h 174"/>
              <a:gd name="T66" fmla="*/ 444 w 695"/>
              <a:gd name="T67" fmla="*/ 84 h 174"/>
              <a:gd name="T68" fmla="*/ 435 w 695"/>
              <a:gd name="T69" fmla="*/ 82 h 174"/>
              <a:gd name="T70" fmla="*/ 418 w 695"/>
              <a:gd name="T71" fmla="*/ 82 h 174"/>
              <a:gd name="T72" fmla="*/ 383 w 695"/>
              <a:gd name="T73" fmla="*/ 77 h 174"/>
              <a:gd name="T74" fmla="*/ 346 w 695"/>
              <a:gd name="T75" fmla="*/ 71 h 174"/>
              <a:gd name="T76" fmla="*/ 307 w 695"/>
              <a:gd name="T77" fmla="*/ 68 h 174"/>
              <a:gd name="T78" fmla="*/ 240 w 695"/>
              <a:gd name="T79" fmla="*/ 69 h 174"/>
              <a:gd name="T80" fmla="*/ 241 w 695"/>
              <a:gd name="T81" fmla="*/ 78 h 174"/>
              <a:gd name="T82" fmla="*/ 247 w 695"/>
              <a:gd name="T83" fmla="*/ 84 h 174"/>
              <a:gd name="T84" fmla="*/ 245 w 695"/>
              <a:gd name="T85" fmla="*/ 86 h 174"/>
              <a:gd name="T86" fmla="*/ 269 w 695"/>
              <a:gd name="T87" fmla="*/ 98 h 174"/>
              <a:gd name="T88" fmla="*/ 293 w 695"/>
              <a:gd name="T89" fmla="*/ 111 h 174"/>
              <a:gd name="T90" fmla="*/ 308 w 695"/>
              <a:gd name="T91" fmla="*/ 118 h 174"/>
              <a:gd name="T92" fmla="*/ 332 w 695"/>
              <a:gd name="T93" fmla="*/ 128 h 174"/>
              <a:gd name="T94" fmla="*/ 352 w 695"/>
              <a:gd name="T95" fmla="*/ 144 h 174"/>
              <a:gd name="T96" fmla="*/ 371 w 695"/>
              <a:gd name="T97" fmla="*/ 156 h 174"/>
              <a:gd name="T98" fmla="*/ 370 w 695"/>
              <a:gd name="T99" fmla="*/ 167 h 174"/>
              <a:gd name="T100" fmla="*/ 281 w 695"/>
              <a:gd name="T101" fmla="*/ 157 h 174"/>
              <a:gd name="T102" fmla="*/ 249 w 695"/>
              <a:gd name="T103" fmla="*/ 152 h 174"/>
              <a:gd name="T104" fmla="*/ 160 w 695"/>
              <a:gd name="T105" fmla="*/ 140 h 174"/>
              <a:gd name="T106" fmla="*/ 79 w 695"/>
              <a:gd name="T107" fmla="*/ 123 h 174"/>
              <a:gd name="T108" fmla="*/ 656 w 695"/>
              <a:gd name="T109" fmla="*/ 33 h 174"/>
              <a:gd name="T110" fmla="*/ 648 w 695"/>
              <a:gd name="T111" fmla="*/ 5 h 174"/>
              <a:gd name="T112" fmla="*/ 655 w 695"/>
              <a:gd name="T113" fmla="*/ 33 h 174"/>
              <a:gd name="T114" fmla="*/ 648 w 695"/>
              <a:gd name="T115" fmla="*/ 37 h 174"/>
              <a:gd name="T116" fmla="*/ 535 w 695"/>
              <a:gd name="T117" fmla="*/ 92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95" h="174">
                <a:moveTo>
                  <a:pt x="78" y="130"/>
                </a:moveTo>
                <a:cubicBezTo>
                  <a:pt x="88" y="132"/>
                  <a:pt x="101" y="134"/>
                  <a:pt x="109" y="136"/>
                </a:cubicBezTo>
                <a:cubicBezTo>
                  <a:pt x="147" y="143"/>
                  <a:pt x="179" y="151"/>
                  <a:pt x="220" y="157"/>
                </a:cubicBezTo>
                <a:cubicBezTo>
                  <a:pt x="219" y="157"/>
                  <a:pt x="222" y="157"/>
                  <a:pt x="225" y="157"/>
                </a:cubicBezTo>
                <a:cubicBezTo>
                  <a:pt x="224" y="157"/>
                  <a:pt x="224" y="157"/>
                  <a:pt x="224" y="157"/>
                </a:cubicBezTo>
                <a:cubicBezTo>
                  <a:pt x="229" y="157"/>
                  <a:pt x="229" y="157"/>
                  <a:pt x="229" y="157"/>
                </a:cubicBezTo>
                <a:cubicBezTo>
                  <a:pt x="232" y="157"/>
                  <a:pt x="229" y="158"/>
                  <a:pt x="226" y="158"/>
                </a:cubicBezTo>
                <a:cubicBezTo>
                  <a:pt x="242" y="160"/>
                  <a:pt x="257" y="162"/>
                  <a:pt x="272" y="165"/>
                </a:cubicBezTo>
                <a:cubicBezTo>
                  <a:pt x="275" y="164"/>
                  <a:pt x="280" y="166"/>
                  <a:pt x="283" y="165"/>
                </a:cubicBezTo>
                <a:cubicBezTo>
                  <a:pt x="283" y="166"/>
                  <a:pt x="283" y="166"/>
                  <a:pt x="282" y="166"/>
                </a:cubicBezTo>
                <a:cubicBezTo>
                  <a:pt x="294" y="167"/>
                  <a:pt x="295" y="167"/>
                  <a:pt x="303" y="169"/>
                </a:cubicBezTo>
                <a:cubicBezTo>
                  <a:pt x="314" y="171"/>
                  <a:pt x="325" y="172"/>
                  <a:pt x="338" y="173"/>
                </a:cubicBezTo>
                <a:cubicBezTo>
                  <a:pt x="346" y="174"/>
                  <a:pt x="351" y="174"/>
                  <a:pt x="366" y="173"/>
                </a:cubicBezTo>
                <a:cubicBezTo>
                  <a:pt x="367" y="173"/>
                  <a:pt x="372" y="173"/>
                  <a:pt x="375" y="172"/>
                </a:cubicBezTo>
                <a:cubicBezTo>
                  <a:pt x="379" y="171"/>
                  <a:pt x="379" y="171"/>
                  <a:pt x="379" y="171"/>
                </a:cubicBezTo>
                <a:cubicBezTo>
                  <a:pt x="396" y="166"/>
                  <a:pt x="387" y="169"/>
                  <a:pt x="391" y="167"/>
                </a:cubicBezTo>
                <a:cubicBezTo>
                  <a:pt x="398" y="163"/>
                  <a:pt x="396" y="163"/>
                  <a:pt x="397" y="161"/>
                </a:cubicBezTo>
                <a:cubicBezTo>
                  <a:pt x="397" y="160"/>
                  <a:pt x="396" y="158"/>
                  <a:pt x="395" y="157"/>
                </a:cubicBezTo>
                <a:cubicBezTo>
                  <a:pt x="389" y="149"/>
                  <a:pt x="378" y="143"/>
                  <a:pt x="368" y="136"/>
                </a:cubicBezTo>
                <a:cubicBezTo>
                  <a:pt x="347" y="123"/>
                  <a:pt x="322" y="111"/>
                  <a:pt x="300" y="97"/>
                </a:cubicBezTo>
                <a:cubicBezTo>
                  <a:pt x="292" y="96"/>
                  <a:pt x="289" y="93"/>
                  <a:pt x="282" y="92"/>
                </a:cubicBezTo>
                <a:cubicBezTo>
                  <a:pt x="283" y="91"/>
                  <a:pt x="283" y="91"/>
                  <a:pt x="283" y="91"/>
                </a:cubicBezTo>
                <a:cubicBezTo>
                  <a:pt x="278" y="90"/>
                  <a:pt x="279" y="89"/>
                  <a:pt x="277" y="86"/>
                </a:cubicBezTo>
                <a:cubicBezTo>
                  <a:pt x="276" y="86"/>
                  <a:pt x="275" y="85"/>
                  <a:pt x="273" y="86"/>
                </a:cubicBezTo>
                <a:cubicBezTo>
                  <a:pt x="270" y="85"/>
                  <a:pt x="274" y="83"/>
                  <a:pt x="271" y="82"/>
                </a:cubicBezTo>
                <a:cubicBezTo>
                  <a:pt x="272" y="82"/>
                  <a:pt x="270" y="83"/>
                  <a:pt x="270" y="82"/>
                </a:cubicBezTo>
                <a:cubicBezTo>
                  <a:pt x="262" y="79"/>
                  <a:pt x="272" y="82"/>
                  <a:pt x="269" y="77"/>
                </a:cubicBezTo>
                <a:cubicBezTo>
                  <a:pt x="267" y="76"/>
                  <a:pt x="264" y="74"/>
                  <a:pt x="262" y="72"/>
                </a:cubicBezTo>
                <a:cubicBezTo>
                  <a:pt x="265" y="72"/>
                  <a:pt x="269" y="72"/>
                  <a:pt x="272" y="73"/>
                </a:cubicBezTo>
                <a:cubicBezTo>
                  <a:pt x="270" y="73"/>
                  <a:pt x="271" y="72"/>
                  <a:pt x="273" y="72"/>
                </a:cubicBezTo>
                <a:cubicBezTo>
                  <a:pt x="273" y="74"/>
                  <a:pt x="281" y="72"/>
                  <a:pt x="284" y="73"/>
                </a:cubicBezTo>
                <a:cubicBezTo>
                  <a:pt x="283" y="73"/>
                  <a:pt x="281" y="73"/>
                  <a:pt x="280" y="73"/>
                </a:cubicBezTo>
                <a:cubicBezTo>
                  <a:pt x="288" y="75"/>
                  <a:pt x="297" y="75"/>
                  <a:pt x="304" y="76"/>
                </a:cubicBezTo>
                <a:cubicBezTo>
                  <a:pt x="314" y="76"/>
                  <a:pt x="320" y="79"/>
                  <a:pt x="327" y="78"/>
                </a:cubicBezTo>
                <a:cubicBezTo>
                  <a:pt x="325" y="79"/>
                  <a:pt x="330" y="79"/>
                  <a:pt x="331" y="80"/>
                </a:cubicBezTo>
                <a:cubicBezTo>
                  <a:pt x="341" y="79"/>
                  <a:pt x="345" y="82"/>
                  <a:pt x="355" y="82"/>
                </a:cubicBezTo>
                <a:cubicBezTo>
                  <a:pt x="354" y="82"/>
                  <a:pt x="354" y="82"/>
                  <a:pt x="354" y="82"/>
                </a:cubicBezTo>
                <a:cubicBezTo>
                  <a:pt x="376" y="85"/>
                  <a:pt x="398" y="88"/>
                  <a:pt x="422" y="90"/>
                </a:cubicBezTo>
                <a:cubicBezTo>
                  <a:pt x="436" y="92"/>
                  <a:pt x="446" y="95"/>
                  <a:pt x="463" y="96"/>
                </a:cubicBezTo>
                <a:cubicBezTo>
                  <a:pt x="466" y="96"/>
                  <a:pt x="464" y="96"/>
                  <a:pt x="467" y="96"/>
                </a:cubicBezTo>
                <a:cubicBezTo>
                  <a:pt x="470" y="96"/>
                  <a:pt x="466" y="96"/>
                  <a:pt x="467" y="96"/>
                </a:cubicBezTo>
                <a:cubicBezTo>
                  <a:pt x="475" y="97"/>
                  <a:pt x="483" y="98"/>
                  <a:pt x="493" y="99"/>
                </a:cubicBezTo>
                <a:cubicBezTo>
                  <a:pt x="494" y="99"/>
                  <a:pt x="497" y="99"/>
                  <a:pt x="497" y="99"/>
                </a:cubicBezTo>
                <a:cubicBezTo>
                  <a:pt x="501" y="100"/>
                  <a:pt x="508" y="100"/>
                  <a:pt x="516" y="100"/>
                </a:cubicBezTo>
                <a:cubicBezTo>
                  <a:pt x="520" y="100"/>
                  <a:pt x="524" y="100"/>
                  <a:pt x="530" y="100"/>
                </a:cubicBezTo>
                <a:cubicBezTo>
                  <a:pt x="534" y="101"/>
                  <a:pt x="558" y="94"/>
                  <a:pt x="557" y="93"/>
                </a:cubicBezTo>
                <a:cubicBezTo>
                  <a:pt x="549" y="96"/>
                  <a:pt x="562" y="89"/>
                  <a:pt x="560" y="87"/>
                </a:cubicBezTo>
                <a:cubicBezTo>
                  <a:pt x="561" y="86"/>
                  <a:pt x="562" y="86"/>
                  <a:pt x="563" y="86"/>
                </a:cubicBezTo>
                <a:cubicBezTo>
                  <a:pt x="564" y="83"/>
                  <a:pt x="563" y="81"/>
                  <a:pt x="563" y="77"/>
                </a:cubicBezTo>
                <a:cubicBezTo>
                  <a:pt x="562" y="76"/>
                  <a:pt x="559" y="76"/>
                  <a:pt x="559" y="74"/>
                </a:cubicBezTo>
                <a:cubicBezTo>
                  <a:pt x="561" y="72"/>
                  <a:pt x="557" y="70"/>
                  <a:pt x="557" y="68"/>
                </a:cubicBezTo>
                <a:cubicBezTo>
                  <a:pt x="554" y="69"/>
                  <a:pt x="551" y="68"/>
                  <a:pt x="550" y="66"/>
                </a:cubicBezTo>
                <a:cubicBezTo>
                  <a:pt x="554" y="65"/>
                  <a:pt x="554" y="65"/>
                  <a:pt x="554" y="65"/>
                </a:cubicBezTo>
                <a:cubicBezTo>
                  <a:pt x="548" y="61"/>
                  <a:pt x="545" y="52"/>
                  <a:pt x="534" y="47"/>
                </a:cubicBezTo>
                <a:cubicBezTo>
                  <a:pt x="536" y="46"/>
                  <a:pt x="536" y="46"/>
                  <a:pt x="536" y="46"/>
                </a:cubicBezTo>
                <a:cubicBezTo>
                  <a:pt x="528" y="41"/>
                  <a:pt x="524" y="34"/>
                  <a:pt x="521" y="29"/>
                </a:cubicBezTo>
                <a:cubicBezTo>
                  <a:pt x="521" y="29"/>
                  <a:pt x="520" y="30"/>
                  <a:pt x="527" y="30"/>
                </a:cubicBezTo>
                <a:cubicBezTo>
                  <a:pt x="534" y="29"/>
                  <a:pt x="537" y="29"/>
                  <a:pt x="543" y="29"/>
                </a:cubicBezTo>
                <a:cubicBezTo>
                  <a:pt x="546" y="29"/>
                  <a:pt x="546" y="30"/>
                  <a:pt x="547" y="30"/>
                </a:cubicBezTo>
                <a:cubicBezTo>
                  <a:pt x="555" y="31"/>
                  <a:pt x="560" y="33"/>
                  <a:pt x="569" y="32"/>
                </a:cubicBezTo>
                <a:cubicBezTo>
                  <a:pt x="568" y="33"/>
                  <a:pt x="568" y="33"/>
                  <a:pt x="568" y="33"/>
                </a:cubicBezTo>
                <a:cubicBezTo>
                  <a:pt x="575" y="33"/>
                  <a:pt x="586" y="34"/>
                  <a:pt x="592" y="35"/>
                </a:cubicBezTo>
                <a:cubicBezTo>
                  <a:pt x="595" y="35"/>
                  <a:pt x="603" y="36"/>
                  <a:pt x="601" y="35"/>
                </a:cubicBezTo>
                <a:cubicBezTo>
                  <a:pt x="604" y="35"/>
                  <a:pt x="600" y="36"/>
                  <a:pt x="605" y="36"/>
                </a:cubicBezTo>
                <a:cubicBezTo>
                  <a:pt x="600" y="36"/>
                  <a:pt x="600" y="36"/>
                  <a:pt x="600" y="36"/>
                </a:cubicBezTo>
                <a:cubicBezTo>
                  <a:pt x="618" y="38"/>
                  <a:pt x="625" y="42"/>
                  <a:pt x="656" y="39"/>
                </a:cubicBezTo>
                <a:cubicBezTo>
                  <a:pt x="672" y="35"/>
                  <a:pt x="667" y="30"/>
                  <a:pt x="667" y="26"/>
                </a:cubicBezTo>
                <a:cubicBezTo>
                  <a:pt x="665" y="25"/>
                  <a:pt x="664" y="21"/>
                  <a:pt x="659" y="21"/>
                </a:cubicBezTo>
                <a:cubicBezTo>
                  <a:pt x="661" y="20"/>
                  <a:pt x="661" y="20"/>
                  <a:pt x="661" y="20"/>
                </a:cubicBezTo>
                <a:cubicBezTo>
                  <a:pt x="659" y="18"/>
                  <a:pt x="657" y="14"/>
                  <a:pt x="655" y="11"/>
                </a:cubicBezTo>
                <a:cubicBezTo>
                  <a:pt x="655" y="9"/>
                  <a:pt x="653" y="10"/>
                  <a:pt x="651" y="8"/>
                </a:cubicBezTo>
                <a:cubicBezTo>
                  <a:pt x="653" y="8"/>
                  <a:pt x="653" y="8"/>
                  <a:pt x="653" y="8"/>
                </a:cubicBezTo>
                <a:cubicBezTo>
                  <a:pt x="651" y="6"/>
                  <a:pt x="649" y="6"/>
                  <a:pt x="647" y="6"/>
                </a:cubicBezTo>
                <a:cubicBezTo>
                  <a:pt x="648" y="5"/>
                  <a:pt x="648" y="5"/>
                  <a:pt x="648" y="5"/>
                </a:cubicBezTo>
                <a:cubicBezTo>
                  <a:pt x="649" y="5"/>
                  <a:pt x="650" y="4"/>
                  <a:pt x="651" y="4"/>
                </a:cubicBezTo>
                <a:cubicBezTo>
                  <a:pt x="652" y="5"/>
                  <a:pt x="653" y="5"/>
                  <a:pt x="654" y="5"/>
                </a:cubicBezTo>
                <a:cubicBezTo>
                  <a:pt x="653" y="5"/>
                  <a:pt x="654" y="5"/>
                  <a:pt x="654" y="4"/>
                </a:cubicBezTo>
                <a:cubicBezTo>
                  <a:pt x="655" y="4"/>
                  <a:pt x="655" y="4"/>
                  <a:pt x="656" y="4"/>
                </a:cubicBezTo>
                <a:cubicBezTo>
                  <a:pt x="662" y="4"/>
                  <a:pt x="666" y="4"/>
                  <a:pt x="668" y="3"/>
                </a:cubicBezTo>
                <a:cubicBezTo>
                  <a:pt x="666" y="4"/>
                  <a:pt x="671" y="4"/>
                  <a:pt x="667" y="4"/>
                </a:cubicBezTo>
                <a:cubicBezTo>
                  <a:pt x="671" y="4"/>
                  <a:pt x="674" y="4"/>
                  <a:pt x="677" y="4"/>
                </a:cubicBezTo>
                <a:cubicBezTo>
                  <a:pt x="676" y="4"/>
                  <a:pt x="675" y="4"/>
                  <a:pt x="674" y="4"/>
                </a:cubicBezTo>
                <a:cubicBezTo>
                  <a:pt x="678" y="3"/>
                  <a:pt x="682" y="3"/>
                  <a:pt x="682" y="3"/>
                </a:cubicBezTo>
                <a:cubicBezTo>
                  <a:pt x="680" y="3"/>
                  <a:pt x="679" y="3"/>
                  <a:pt x="677" y="3"/>
                </a:cubicBezTo>
                <a:cubicBezTo>
                  <a:pt x="679" y="2"/>
                  <a:pt x="687" y="2"/>
                  <a:pt x="687" y="3"/>
                </a:cubicBezTo>
                <a:cubicBezTo>
                  <a:pt x="687" y="4"/>
                  <a:pt x="681" y="4"/>
                  <a:pt x="683" y="4"/>
                </a:cubicBezTo>
                <a:cubicBezTo>
                  <a:pt x="695" y="4"/>
                  <a:pt x="695" y="4"/>
                  <a:pt x="695" y="4"/>
                </a:cubicBezTo>
                <a:cubicBezTo>
                  <a:pt x="692" y="4"/>
                  <a:pt x="691" y="3"/>
                  <a:pt x="693" y="3"/>
                </a:cubicBezTo>
                <a:cubicBezTo>
                  <a:pt x="688" y="3"/>
                  <a:pt x="688" y="3"/>
                  <a:pt x="688" y="3"/>
                </a:cubicBezTo>
                <a:cubicBezTo>
                  <a:pt x="689" y="2"/>
                  <a:pt x="689" y="2"/>
                  <a:pt x="689" y="2"/>
                </a:cubicBezTo>
                <a:cubicBezTo>
                  <a:pt x="682" y="2"/>
                  <a:pt x="677" y="1"/>
                  <a:pt x="668" y="1"/>
                </a:cubicBezTo>
                <a:cubicBezTo>
                  <a:pt x="670" y="2"/>
                  <a:pt x="670" y="2"/>
                  <a:pt x="670" y="2"/>
                </a:cubicBezTo>
                <a:cubicBezTo>
                  <a:pt x="665" y="2"/>
                  <a:pt x="659" y="3"/>
                  <a:pt x="655" y="3"/>
                </a:cubicBezTo>
                <a:cubicBezTo>
                  <a:pt x="658" y="2"/>
                  <a:pt x="656" y="2"/>
                  <a:pt x="657" y="2"/>
                </a:cubicBezTo>
                <a:cubicBezTo>
                  <a:pt x="655" y="2"/>
                  <a:pt x="654" y="2"/>
                  <a:pt x="652" y="2"/>
                </a:cubicBezTo>
                <a:cubicBezTo>
                  <a:pt x="656" y="1"/>
                  <a:pt x="656" y="1"/>
                  <a:pt x="656" y="1"/>
                </a:cubicBezTo>
                <a:cubicBezTo>
                  <a:pt x="655" y="1"/>
                  <a:pt x="654" y="2"/>
                  <a:pt x="652" y="2"/>
                </a:cubicBezTo>
                <a:cubicBezTo>
                  <a:pt x="649" y="3"/>
                  <a:pt x="655" y="0"/>
                  <a:pt x="645" y="4"/>
                </a:cubicBezTo>
                <a:cubicBezTo>
                  <a:pt x="644" y="4"/>
                  <a:pt x="644" y="4"/>
                  <a:pt x="644" y="4"/>
                </a:cubicBezTo>
                <a:cubicBezTo>
                  <a:pt x="644" y="6"/>
                  <a:pt x="643" y="7"/>
                  <a:pt x="643" y="7"/>
                </a:cubicBezTo>
                <a:cubicBezTo>
                  <a:pt x="643" y="7"/>
                  <a:pt x="643" y="7"/>
                  <a:pt x="643" y="7"/>
                </a:cubicBezTo>
                <a:cubicBezTo>
                  <a:pt x="641" y="10"/>
                  <a:pt x="645" y="6"/>
                  <a:pt x="645" y="8"/>
                </a:cubicBezTo>
                <a:cubicBezTo>
                  <a:pt x="644" y="9"/>
                  <a:pt x="641" y="9"/>
                  <a:pt x="640" y="11"/>
                </a:cubicBezTo>
                <a:cubicBezTo>
                  <a:pt x="640" y="13"/>
                  <a:pt x="645" y="16"/>
                  <a:pt x="644" y="19"/>
                </a:cubicBezTo>
                <a:cubicBezTo>
                  <a:pt x="647" y="21"/>
                  <a:pt x="650" y="23"/>
                  <a:pt x="653" y="24"/>
                </a:cubicBezTo>
                <a:cubicBezTo>
                  <a:pt x="654" y="25"/>
                  <a:pt x="649" y="25"/>
                  <a:pt x="652" y="26"/>
                </a:cubicBezTo>
                <a:cubicBezTo>
                  <a:pt x="650" y="26"/>
                  <a:pt x="649" y="26"/>
                  <a:pt x="648" y="27"/>
                </a:cubicBezTo>
                <a:cubicBezTo>
                  <a:pt x="650" y="27"/>
                  <a:pt x="650" y="30"/>
                  <a:pt x="652" y="28"/>
                </a:cubicBezTo>
                <a:cubicBezTo>
                  <a:pt x="653" y="30"/>
                  <a:pt x="654" y="32"/>
                  <a:pt x="653" y="33"/>
                </a:cubicBezTo>
                <a:cubicBezTo>
                  <a:pt x="652" y="33"/>
                  <a:pt x="650" y="33"/>
                  <a:pt x="649" y="33"/>
                </a:cubicBezTo>
                <a:cubicBezTo>
                  <a:pt x="648" y="34"/>
                  <a:pt x="650" y="34"/>
                  <a:pt x="646" y="34"/>
                </a:cubicBezTo>
                <a:cubicBezTo>
                  <a:pt x="638" y="35"/>
                  <a:pt x="640" y="33"/>
                  <a:pt x="639" y="32"/>
                </a:cubicBezTo>
                <a:cubicBezTo>
                  <a:pt x="643" y="32"/>
                  <a:pt x="643" y="32"/>
                  <a:pt x="643" y="32"/>
                </a:cubicBezTo>
                <a:cubicBezTo>
                  <a:pt x="640" y="32"/>
                  <a:pt x="637" y="32"/>
                  <a:pt x="633" y="32"/>
                </a:cubicBezTo>
                <a:cubicBezTo>
                  <a:pt x="635" y="30"/>
                  <a:pt x="640" y="32"/>
                  <a:pt x="643" y="32"/>
                </a:cubicBezTo>
                <a:cubicBezTo>
                  <a:pt x="642" y="30"/>
                  <a:pt x="642" y="30"/>
                  <a:pt x="642" y="30"/>
                </a:cubicBezTo>
                <a:cubicBezTo>
                  <a:pt x="636" y="29"/>
                  <a:pt x="638" y="31"/>
                  <a:pt x="632" y="30"/>
                </a:cubicBezTo>
                <a:cubicBezTo>
                  <a:pt x="634" y="30"/>
                  <a:pt x="634" y="30"/>
                  <a:pt x="634" y="30"/>
                </a:cubicBezTo>
                <a:cubicBezTo>
                  <a:pt x="629" y="29"/>
                  <a:pt x="629" y="29"/>
                  <a:pt x="629" y="29"/>
                </a:cubicBezTo>
                <a:cubicBezTo>
                  <a:pt x="628" y="30"/>
                  <a:pt x="627" y="31"/>
                  <a:pt x="631" y="31"/>
                </a:cubicBezTo>
                <a:cubicBezTo>
                  <a:pt x="626" y="32"/>
                  <a:pt x="627" y="31"/>
                  <a:pt x="621" y="30"/>
                </a:cubicBezTo>
                <a:cubicBezTo>
                  <a:pt x="618" y="31"/>
                  <a:pt x="624" y="31"/>
                  <a:pt x="622" y="31"/>
                </a:cubicBezTo>
                <a:cubicBezTo>
                  <a:pt x="621" y="32"/>
                  <a:pt x="617" y="32"/>
                  <a:pt x="614" y="31"/>
                </a:cubicBezTo>
                <a:cubicBezTo>
                  <a:pt x="609" y="31"/>
                  <a:pt x="614" y="30"/>
                  <a:pt x="613" y="30"/>
                </a:cubicBezTo>
                <a:cubicBezTo>
                  <a:pt x="614" y="30"/>
                  <a:pt x="618" y="30"/>
                  <a:pt x="616" y="30"/>
                </a:cubicBezTo>
                <a:cubicBezTo>
                  <a:pt x="624" y="30"/>
                  <a:pt x="618" y="29"/>
                  <a:pt x="623" y="29"/>
                </a:cubicBezTo>
                <a:cubicBezTo>
                  <a:pt x="619" y="27"/>
                  <a:pt x="617" y="28"/>
                  <a:pt x="615" y="28"/>
                </a:cubicBezTo>
                <a:cubicBezTo>
                  <a:pt x="616" y="29"/>
                  <a:pt x="612" y="29"/>
                  <a:pt x="613" y="29"/>
                </a:cubicBezTo>
                <a:cubicBezTo>
                  <a:pt x="600" y="30"/>
                  <a:pt x="611" y="27"/>
                  <a:pt x="603" y="27"/>
                </a:cubicBezTo>
                <a:cubicBezTo>
                  <a:pt x="602" y="28"/>
                  <a:pt x="589" y="27"/>
                  <a:pt x="591" y="29"/>
                </a:cubicBezTo>
                <a:cubicBezTo>
                  <a:pt x="589" y="29"/>
                  <a:pt x="586" y="29"/>
                  <a:pt x="585" y="29"/>
                </a:cubicBezTo>
                <a:cubicBezTo>
                  <a:pt x="589" y="28"/>
                  <a:pt x="583" y="28"/>
                  <a:pt x="588" y="27"/>
                </a:cubicBezTo>
                <a:cubicBezTo>
                  <a:pt x="586" y="27"/>
                  <a:pt x="586" y="27"/>
                  <a:pt x="586" y="27"/>
                </a:cubicBezTo>
                <a:cubicBezTo>
                  <a:pt x="592" y="27"/>
                  <a:pt x="592" y="27"/>
                  <a:pt x="592" y="27"/>
                </a:cubicBezTo>
                <a:cubicBezTo>
                  <a:pt x="590" y="26"/>
                  <a:pt x="587" y="24"/>
                  <a:pt x="586" y="24"/>
                </a:cubicBezTo>
                <a:cubicBezTo>
                  <a:pt x="581" y="24"/>
                  <a:pt x="586" y="25"/>
                  <a:pt x="580" y="24"/>
                </a:cubicBezTo>
                <a:cubicBezTo>
                  <a:pt x="583" y="24"/>
                  <a:pt x="581" y="23"/>
                  <a:pt x="579" y="23"/>
                </a:cubicBezTo>
                <a:cubicBezTo>
                  <a:pt x="582" y="24"/>
                  <a:pt x="576" y="24"/>
                  <a:pt x="573" y="24"/>
                </a:cubicBezTo>
                <a:cubicBezTo>
                  <a:pt x="569" y="24"/>
                  <a:pt x="567" y="23"/>
                  <a:pt x="568" y="23"/>
                </a:cubicBezTo>
                <a:cubicBezTo>
                  <a:pt x="574" y="22"/>
                  <a:pt x="574" y="22"/>
                  <a:pt x="574" y="22"/>
                </a:cubicBezTo>
                <a:cubicBezTo>
                  <a:pt x="570" y="23"/>
                  <a:pt x="573" y="22"/>
                  <a:pt x="570" y="22"/>
                </a:cubicBezTo>
                <a:cubicBezTo>
                  <a:pt x="568" y="22"/>
                  <a:pt x="564" y="23"/>
                  <a:pt x="562" y="23"/>
                </a:cubicBezTo>
                <a:cubicBezTo>
                  <a:pt x="558" y="23"/>
                  <a:pt x="558" y="22"/>
                  <a:pt x="556" y="22"/>
                </a:cubicBezTo>
                <a:cubicBezTo>
                  <a:pt x="562" y="22"/>
                  <a:pt x="562" y="22"/>
                  <a:pt x="562" y="22"/>
                </a:cubicBezTo>
                <a:cubicBezTo>
                  <a:pt x="556" y="22"/>
                  <a:pt x="564" y="21"/>
                  <a:pt x="556" y="21"/>
                </a:cubicBezTo>
                <a:cubicBezTo>
                  <a:pt x="553" y="21"/>
                  <a:pt x="553" y="21"/>
                  <a:pt x="553" y="21"/>
                </a:cubicBezTo>
                <a:cubicBezTo>
                  <a:pt x="552" y="21"/>
                  <a:pt x="552" y="21"/>
                  <a:pt x="554" y="20"/>
                </a:cubicBezTo>
                <a:cubicBezTo>
                  <a:pt x="552" y="21"/>
                  <a:pt x="548" y="21"/>
                  <a:pt x="546" y="21"/>
                </a:cubicBezTo>
                <a:cubicBezTo>
                  <a:pt x="546" y="20"/>
                  <a:pt x="546" y="20"/>
                  <a:pt x="546" y="20"/>
                </a:cubicBezTo>
                <a:cubicBezTo>
                  <a:pt x="543" y="20"/>
                  <a:pt x="536" y="21"/>
                  <a:pt x="532" y="21"/>
                </a:cubicBezTo>
                <a:cubicBezTo>
                  <a:pt x="534" y="22"/>
                  <a:pt x="538" y="20"/>
                  <a:pt x="543" y="21"/>
                </a:cubicBezTo>
                <a:cubicBezTo>
                  <a:pt x="545" y="22"/>
                  <a:pt x="536" y="22"/>
                  <a:pt x="534" y="22"/>
                </a:cubicBezTo>
                <a:cubicBezTo>
                  <a:pt x="537" y="21"/>
                  <a:pt x="523" y="22"/>
                  <a:pt x="513" y="25"/>
                </a:cubicBezTo>
                <a:cubicBezTo>
                  <a:pt x="507" y="26"/>
                  <a:pt x="500" y="29"/>
                  <a:pt x="500" y="29"/>
                </a:cubicBezTo>
                <a:cubicBezTo>
                  <a:pt x="501" y="30"/>
                  <a:pt x="501" y="30"/>
                  <a:pt x="501" y="30"/>
                </a:cubicBezTo>
                <a:cubicBezTo>
                  <a:pt x="493" y="32"/>
                  <a:pt x="499" y="34"/>
                  <a:pt x="498" y="36"/>
                </a:cubicBezTo>
                <a:cubicBezTo>
                  <a:pt x="496" y="35"/>
                  <a:pt x="494" y="35"/>
                  <a:pt x="494" y="37"/>
                </a:cubicBezTo>
                <a:cubicBezTo>
                  <a:pt x="497" y="35"/>
                  <a:pt x="499" y="38"/>
                  <a:pt x="501" y="37"/>
                </a:cubicBezTo>
                <a:cubicBezTo>
                  <a:pt x="501" y="39"/>
                  <a:pt x="496" y="37"/>
                  <a:pt x="494" y="38"/>
                </a:cubicBezTo>
                <a:cubicBezTo>
                  <a:pt x="497" y="39"/>
                  <a:pt x="494" y="41"/>
                  <a:pt x="498" y="41"/>
                </a:cubicBezTo>
                <a:cubicBezTo>
                  <a:pt x="498" y="40"/>
                  <a:pt x="500" y="41"/>
                  <a:pt x="502" y="41"/>
                </a:cubicBezTo>
                <a:cubicBezTo>
                  <a:pt x="503" y="43"/>
                  <a:pt x="500" y="41"/>
                  <a:pt x="500" y="43"/>
                </a:cubicBezTo>
                <a:cubicBezTo>
                  <a:pt x="501" y="43"/>
                  <a:pt x="504" y="44"/>
                  <a:pt x="504" y="42"/>
                </a:cubicBezTo>
                <a:cubicBezTo>
                  <a:pt x="504" y="43"/>
                  <a:pt x="509" y="44"/>
                  <a:pt x="507" y="45"/>
                </a:cubicBezTo>
                <a:cubicBezTo>
                  <a:pt x="506" y="46"/>
                  <a:pt x="505" y="44"/>
                  <a:pt x="504" y="45"/>
                </a:cubicBezTo>
                <a:cubicBezTo>
                  <a:pt x="505" y="47"/>
                  <a:pt x="510" y="45"/>
                  <a:pt x="513" y="47"/>
                </a:cubicBezTo>
                <a:cubicBezTo>
                  <a:pt x="513" y="45"/>
                  <a:pt x="518" y="45"/>
                  <a:pt x="520" y="46"/>
                </a:cubicBezTo>
                <a:cubicBezTo>
                  <a:pt x="521" y="49"/>
                  <a:pt x="518" y="45"/>
                  <a:pt x="516" y="47"/>
                </a:cubicBezTo>
                <a:cubicBezTo>
                  <a:pt x="517" y="48"/>
                  <a:pt x="517" y="48"/>
                  <a:pt x="517" y="48"/>
                </a:cubicBezTo>
                <a:cubicBezTo>
                  <a:pt x="515" y="50"/>
                  <a:pt x="508" y="46"/>
                  <a:pt x="506" y="48"/>
                </a:cubicBezTo>
                <a:cubicBezTo>
                  <a:pt x="509" y="49"/>
                  <a:pt x="509" y="49"/>
                  <a:pt x="509" y="49"/>
                </a:cubicBezTo>
                <a:cubicBezTo>
                  <a:pt x="507" y="49"/>
                  <a:pt x="505" y="49"/>
                  <a:pt x="504" y="50"/>
                </a:cubicBezTo>
                <a:cubicBezTo>
                  <a:pt x="507" y="50"/>
                  <a:pt x="507" y="52"/>
                  <a:pt x="508" y="52"/>
                </a:cubicBezTo>
                <a:cubicBezTo>
                  <a:pt x="511" y="52"/>
                  <a:pt x="507" y="52"/>
                  <a:pt x="509" y="51"/>
                </a:cubicBezTo>
                <a:cubicBezTo>
                  <a:pt x="510" y="52"/>
                  <a:pt x="514" y="52"/>
                  <a:pt x="515" y="54"/>
                </a:cubicBezTo>
                <a:cubicBezTo>
                  <a:pt x="512" y="53"/>
                  <a:pt x="512" y="55"/>
                  <a:pt x="510" y="55"/>
                </a:cubicBezTo>
                <a:cubicBezTo>
                  <a:pt x="510" y="56"/>
                  <a:pt x="513" y="55"/>
                  <a:pt x="513" y="56"/>
                </a:cubicBezTo>
                <a:cubicBezTo>
                  <a:pt x="512" y="56"/>
                  <a:pt x="512" y="56"/>
                  <a:pt x="512" y="56"/>
                </a:cubicBezTo>
                <a:cubicBezTo>
                  <a:pt x="516" y="61"/>
                  <a:pt x="521" y="66"/>
                  <a:pt x="530" y="69"/>
                </a:cubicBezTo>
                <a:cubicBezTo>
                  <a:pt x="528" y="70"/>
                  <a:pt x="529" y="72"/>
                  <a:pt x="529" y="74"/>
                </a:cubicBezTo>
                <a:cubicBezTo>
                  <a:pt x="529" y="73"/>
                  <a:pt x="531" y="74"/>
                  <a:pt x="532" y="74"/>
                </a:cubicBezTo>
                <a:cubicBezTo>
                  <a:pt x="530" y="76"/>
                  <a:pt x="530" y="76"/>
                  <a:pt x="530" y="76"/>
                </a:cubicBezTo>
                <a:cubicBezTo>
                  <a:pt x="530" y="78"/>
                  <a:pt x="533" y="79"/>
                  <a:pt x="535" y="80"/>
                </a:cubicBezTo>
                <a:cubicBezTo>
                  <a:pt x="535" y="80"/>
                  <a:pt x="534" y="80"/>
                  <a:pt x="534" y="80"/>
                </a:cubicBezTo>
                <a:cubicBezTo>
                  <a:pt x="533" y="82"/>
                  <a:pt x="536" y="81"/>
                  <a:pt x="537" y="82"/>
                </a:cubicBezTo>
                <a:cubicBezTo>
                  <a:pt x="535" y="83"/>
                  <a:pt x="535" y="83"/>
                  <a:pt x="535" y="83"/>
                </a:cubicBezTo>
                <a:cubicBezTo>
                  <a:pt x="537" y="83"/>
                  <a:pt x="537" y="83"/>
                  <a:pt x="537" y="83"/>
                </a:cubicBezTo>
                <a:cubicBezTo>
                  <a:pt x="538" y="84"/>
                  <a:pt x="538" y="86"/>
                  <a:pt x="535" y="86"/>
                </a:cubicBezTo>
                <a:cubicBezTo>
                  <a:pt x="536" y="86"/>
                  <a:pt x="536" y="87"/>
                  <a:pt x="537" y="86"/>
                </a:cubicBezTo>
                <a:cubicBezTo>
                  <a:pt x="536" y="87"/>
                  <a:pt x="535" y="90"/>
                  <a:pt x="535" y="91"/>
                </a:cubicBezTo>
                <a:cubicBezTo>
                  <a:pt x="530" y="91"/>
                  <a:pt x="523" y="91"/>
                  <a:pt x="518" y="91"/>
                </a:cubicBezTo>
                <a:cubicBezTo>
                  <a:pt x="516" y="91"/>
                  <a:pt x="516" y="91"/>
                  <a:pt x="515" y="91"/>
                </a:cubicBezTo>
                <a:cubicBezTo>
                  <a:pt x="510" y="89"/>
                  <a:pt x="499" y="90"/>
                  <a:pt x="493" y="88"/>
                </a:cubicBezTo>
                <a:cubicBezTo>
                  <a:pt x="494" y="89"/>
                  <a:pt x="489" y="90"/>
                  <a:pt x="485" y="90"/>
                </a:cubicBezTo>
                <a:cubicBezTo>
                  <a:pt x="479" y="90"/>
                  <a:pt x="486" y="88"/>
                  <a:pt x="483" y="87"/>
                </a:cubicBezTo>
                <a:cubicBezTo>
                  <a:pt x="480" y="87"/>
                  <a:pt x="476" y="87"/>
                  <a:pt x="475" y="87"/>
                </a:cubicBezTo>
                <a:cubicBezTo>
                  <a:pt x="475" y="87"/>
                  <a:pt x="475" y="87"/>
                  <a:pt x="475" y="87"/>
                </a:cubicBezTo>
                <a:cubicBezTo>
                  <a:pt x="472" y="87"/>
                  <a:pt x="468" y="87"/>
                  <a:pt x="466" y="86"/>
                </a:cubicBezTo>
                <a:cubicBezTo>
                  <a:pt x="466" y="86"/>
                  <a:pt x="466" y="86"/>
                  <a:pt x="466" y="86"/>
                </a:cubicBezTo>
                <a:cubicBezTo>
                  <a:pt x="464" y="86"/>
                  <a:pt x="463" y="85"/>
                  <a:pt x="460" y="85"/>
                </a:cubicBezTo>
                <a:cubicBezTo>
                  <a:pt x="457" y="85"/>
                  <a:pt x="453" y="84"/>
                  <a:pt x="450" y="85"/>
                </a:cubicBezTo>
                <a:cubicBezTo>
                  <a:pt x="450" y="84"/>
                  <a:pt x="450" y="84"/>
                  <a:pt x="450" y="84"/>
                </a:cubicBezTo>
                <a:cubicBezTo>
                  <a:pt x="448" y="85"/>
                  <a:pt x="448" y="85"/>
                  <a:pt x="448" y="85"/>
                </a:cubicBezTo>
                <a:cubicBezTo>
                  <a:pt x="444" y="84"/>
                  <a:pt x="444" y="84"/>
                  <a:pt x="444" y="84"/>
                </a:cubicBezTo>
                <a:cubicBezTo>
                  <a:pt x="446" y="84"/>
                  <a:pt x="447" y="83"/>
                  <a:pt x="448" y="83"/>
                </a:cubicBezTo>
                <a:cubicBezTo>
                  <a:pt x="444" y="82"/>
                  <a:pt x="445" y="84"/>
                  <a:pt x="442" y="84"/>
                </a:cubicBezTo>
                <a:cubicBezTo>
                  <a:pt x="437" y="84"/>
                  <a:pt x="439" y="83"/>
                  <a:pt x="438" y="83"/>
                </a:cubicBezTo>
                <a:cubicBezTo>
                  <a:pt x="440" y="83"/>
                  <a:pt x="440" y="83"/>
                  <a:pt x="441" y="83"/>
                </a:cubicBezTo>
                <a:cubicBezTo>
                  <a:pt x="445" y="83"/>
                  <a:pt x="440" y="83"/>
                  <a:pt x="440" y="82"/>
                </a:cubicBezTo>
                <a:cubicBezTo>
                  <a:pt x="440" y="82"/>
                  <a:pt x="438" y="83"/>
                  <a:pt x="435" y="82"/>
                </a:cubicBezTo>
                <a:cubicBezTo>
                  <a:pt x="433" y="82"/>
                  <a:pt x="428" y="82"/>
                  <a:pt x="430" y="81"/>
                </a:cubicBezTo>
                <a:cubicBezTo>
                  <a:pt x="427" y="81"/>
                  <a:pt x="425" y="81"/>
                  <a:pt x="423" y="81"/>
                </a:cubicBezTo>
                <a:cubicBezTo>
                  <a:pt x="424" y="81"/>
                  <a:pt x="427" y="82"/>
                  <a:pt x="427" y="82"/>
                </a:cubicBezTo>
                <a:cubicBezTo>
                  <a:pt x="425" y="82"/>
                  <a:pt x="421" y="82"/>
                  <a:pt x="421" y="82"/>
                </a:cubicBezTo>
                <a:cubicBezTo>
                  <a:pt x="423" y="82"/>
                  <a:pt x="423" y="82"/>
                  <a:pt x="423" y="82"/>
                </a:cubicBezTo>
                <a:cubicBezTo>
                  <a:pt x="421" y="82"/>
                  <a:pt x="417" y="81"/>
                  <a:pt x="418" y="82"/>
                </a:cubicBezTo>
                <a:cubicBezTo>
                  <a:pt x="417" y="80"/>
                  <a:pt x="417" y="80"/>
                  <a:pt x="417" y="80"/>
                </a:cubicBezTo>
                <a:cubicBezTo>
                  <a:pt x="414" y="81"/>
                  <a:pt x="411" y="80"/>
                  <a:pt x="408" y="80"/>
                </a:cubicBezTo>
                <a:cubicBezTo>
                  <a:pt x="409" y="79"/>
                  <a:pt x="413" y="79"/>
                  <a:pt x="408" y="78"/>
                </a:cubicBezTo>
                <a:cubicBezTo>
                  <a:pt x="402" y="78"/>
                  <a:pt x="402" y="78"/>
                  <a:pt x="402" y="78"/>
                </a:cubicBezTo>
                <a:cubicBezTo>
                  <a:pt x="400" y="78"/>
                  <a:pt x="399" y="78"/>
                  <a:pt x="401" y="77"/>
                </a:cubicBezTo>
                <a:cubicBezTo>
                  <a:pt x="393" y="76"/>
                  <a:pt x="388" y="78"/>
                  <a:pt x="383" y="77"/>
                </a:cubicBezTo>
                <a:cubicBezTo>
                  <a:pt x="387" y="76"/>
                  <a:pt x="385" y="76"/>
                  <a:pt x="383" y="75"/>
                </a:cubicBezTo>
                <a:cubicBezTo>
                  <a:pt x="383" y="75"/>
                  <a:pt x="382" y="76"/>
                  <a:pt x="380" y="76"/>
                </a:cubicBezTo>
                <a:cubicBezTo>
                  <a:pt x="380" y="76"/>
                  <a:pt x="383" y="75"/>
                  <a:pt x="384" y="76"/>
                </a:cubicBezTo>
                <a:cubicBezTo>
                  <a:pt x="384" y="77"/>
                  <a:pt x="381" y="76"/>
                  <a:pt x="379" y="76"/>
                </a:cubicBezTo>
                <a:cubicBezTo>
                  <a:pt x="378" y="73"/>
                  <a:pt x="361" y="73"/>
                  <a:pt x="354" y="71"/>
                </a:cubicBezTo>
                <a:cubicBezTo>
                  <a:pt x="352" y="72"/>
                  <a:pt x="349" y="71"/>
                  <a:pt x="346" y="71"/>
                </a:cubicBezTo>
                <a:cubicBezTo>
                  <a:pt x="349" y="70"/>
                  <a:pt x="340" y="71"/>
                  <a:pt x="339" y="70"/>
                </a:cubicBezTo>
                <a:cubicBezTo>
                  <a:pt x="338" y="71"/>
                  <a:pt x="338" y="71"/>
                  <a:pt x="338" y="71"/>
                </a:cubicBezTo>
                <a:cubicBezTo>
                  <a:pt x="333" y="70"/>
                  <a:pt x="325" y="71"/>
                  <a:pt x="324" y="70"/>
                </a:cubicBezTo>
                <a:cubicBezTo>
                  <a:pt x="321" y="69"/>
                  <a:pt x="327" y="69"/>
                  <a:pt x="329" y="69"/>
                </a:cubicBezTo>
                <a:cubicBezTo>
                  <a:pt x="327" y="67"/>
                  <a:pt x="314" y="69"/>
                  <a:pt x="313" y="67"/>
                </a:cubicBezTo>
                <a:cubicBezTo>
                  <a:pt x="312" y="67"/>
                  <a:pt x="312" y="68"/>
                  <a:pt x="307" y="68"/>
                </a:cubicBezTo>
                <a:cubicBezTo>
                  <a:pt x="305" y="68"/>
                  <a:pt x="299" y="66"/>
                  <a:pt x="300" y="66"/>
                </a:cubicBezTo>
                <a:cubicBezTo>
                  <a:pt x="297" y="66"/>
                  <a:pt x="295" y="67"/>
                  <a:pt x="293" y="66"/>
                </a:cubicBezTo>
                <a:cubicBezTo>
                  <a:pt x="294" y="66"/>
                  <a:pt x="295" y="66"/>
                  <a:pt x="297" y="66"/>
                </a:cubicBezTo>
                <a:cubicBezTo>
                  <a:pt x="292" y="65"/>
                  <a:pt x="287" y="65"/>
                  <a:pt x="282" y="65"/>
                </a:cubicBezTo>
                <a:cubicBezTo>
                  <a:pt x="281" y="64"/>
                  <a:pt x="271" y="64"/>
                  <a:pt x="263" y="64"/>
                </a:cubicBezTo>
                <a:cubicBezTo>
                  <a:pt x="259" y="65"/>
                  <a:pt x="244" y="65"/>
                  <a:pt x="240" y="69"/>
                </a:cubicBezTo>
                <a:cubicBezTo>
                  <a:pt x="240" y="68"/>
                  <a:pt x="238" y="69"/>
                  <a:pt x="237" y="70"/>
                </a:cubicBezTo>
                <a:cubicBezTo>
                  <a:pt x="235" y="72"/>
                  <a:pt x="239" y="72"/>
                  <a:pt x="239" y="73"/>
                </a:cubicBezTo>
                <a:cubicBezTo>
                  <a:pt x="236" y="73"/>
                  <a:pt x="236" y="73"/>
                  <a:pt x="236" y="73"/>
                </a:cubicBezTo>
                <a:cubicBezTo>
                  <a:pt x="233" y="74"/>
                  <a:pt x="237" y="76"/>
                  <a:pt x="236" y="77"/>
                </a:cubicBezTo>
                <a:cubicBezTo>
                  <a:pt x="238" y="76"/>
                  <a:pt x="237" y="78"/>
                  <a:pt x="239" y="77"/>
                </a:cubicBezTo>
                <a:cubicBezTo>
                  <a:pt x="241" y="78"/>
                  <a:pt x="241" y="78"/>
                  <a:pt x="241" y="78"/>
                </a:cubicBezTo>
                <a:cubicBezTo>
                  <a:pt x="243" y="80"/>
                  <a:pt x="242" y="78"/>
                  <a:pt x="245" y="80"/>
                </a:cubicBezTo>
                <a:cubicBezTo>
                  <a:pt x="246" y="81"/>
                  <a:pt x="242" y="81"/>
                  <a:pt x="242" y="81"/>
                </a:cubicBezTo>
                <a:cubicBezTo>
                  <a:pt x="241" y="82"/>
                  <a:pt x="243" y="82"/>
                  <a:pt x="245" y="83"/>
                </a:cubicBezTo>
                <a:cubicBezTo>
                  <a:pt x="245" y="83"/>
                  <a:pt x="245" y="83"/>
                  <a:pt x="246" y="83"/>
                </a:cubicBezTo>
                <a:cubicBezTo>
                  <a:pt x="245" y="83"/>
                  <a:pt x="245" y="83"/>
                  <a:pt x="245" y="83"/>
                </a:cubicBezTo>
                <a:cubicBezTo>
                  <a:pt x="246" y="84"/>
                  <a:pt x="246" y="84"/>
                  <a:pt x="247" y="84"/>
                </a:cubicBezTo>
                <a:cubicBezTo>
                  <a:pt x="247" y="84"/>
                  <a:pt x="247" y="84"/>
                  <a:pt x="247" y="84"/>
                </a:cubicBezTo>
                <a:cubicBezTo>
                  <a:pt x="246" y="84"/>
                  <a:pt x="246" y="84"/>
                  <a:pt x="245" y="83"/>
                </a:cubicBezTo>
                <a:cubicBezTo>
                  <a:pt x="245" y="84"/>
                  <a:pt x="246" y="84"/>
                  <a:pt x="246" y="84"/>
                </a:cubicBezTo>
                <a:cubicBezTo>
                  <a:pt x="246" y="85"/>
                  <a:pt x="246" y="85"/>
                  <a:pt x="246" y="85"/>
                </a:cubicBezTo>
                <a:cubicBezTo>
                  <a:pt x="247" y="85"/>
                  <a:pt x="247" y="85"/>
                  <a:pt x="247" y="85"/>
                </a:cubicBezTo>
                <a:cubicBezTo>
                  <a:pt x="245" y="86"/>
                  <a:pt x="245" y="86"/>
                  <a:pt x="245" y="86"/>
                </a:cubicBezTo>
                <a:cubicBezTo>
                  <a:pt x="245" y="86"/>
                  <a:pt x="250" y="87"/>
                  <a:pt x="251" y="87"/>
                </a:cubicBezTo>
                <a:cubicBezTo>
                  <a:pt x="252" y="90"/>
                  <a:pt x="260" y="94"/>
                  <a:pt x="263" y="95"/>
                </a:cubicBezTo>
                <a:cubicBezTo>
                  <a:pt x="262" y="95"/>
                  <a:pt x="262" y="95"/>
                  <a:pt x="263" y="95"/>
                </a:cubicBezTo>
                <a:cubicBezTo>
                  <a:pt x="265" y="96"/>
                  <a:pt x="268" y="96"/>
                  <a:pt x="267" y="96"/>
                </a:cubicBezTo>
                <a:cubicBezTo>
                  <a:pt x="269" y="97"/>
                  <a:pt x="266" y="97"/>
                  <a:pt x="268" y="99"/>
                </a:cubicBezTo>
                <a:cubicBezTo>
                  <a:pt x="268" y="99"/>
                  <a:pt x="270" y="98"/>
                  <a:pt x="269" y="98"/>
                </a:cubicBezTo>
                <a:cubicBezTo>
                  <a:pt x="270" y="101"/>
                  <a:pt x="279" y="102"/>
                  <a:pt x="281" y="105"/>
                </a:cubicBezTo>
                <a:cubicBezTo>
                  <a:pt x="280" y="105"/>
                  <a:pt x="279" y="105"/>
                  <a:pt x="278" y="105"/>
                </a:cubicBezTo>
                <a:cubicBezTo>
                  <a:pt x="282" y="106"/>
                  <a:pt x="285" y="108"/>
                  <a:pt x="291" y="109"/>
                </a:cubicBezTo>
                <a:cubicBezTo>
                  <a:pt x="289" y="109"/>
                  <a:pt x="289" y="109"/>
                  <a:pt x="287" y="109"/>
                </a:cubicBezTo>
                <a:cubicBezTo>
                  <a:pt x="289" y="110"/>
                  <a:pt x="292" y="112"/>
                  <a:pt x="295" y="112"/>
                </a:cubicBezTo>
                <a:cubicBezTo>
                  <a:pt x="295" y="111"/>
                  <a:pt x="294" y="112"/>
                  <a:pt x="293" y="111"/>
                </a:cubicBezTo>
                <a:cubicBezTo>
                  <a:pt x="293" y="110"/>
                  <a:pt x="298" y="111"/>
                  <a:pt x="299" y="112"/>
                </a:cubicBezTo>
                <a:cubicBezTo>
                  <a:pt x="299" y="112"/>
                  <a:pt x="299" y="112"/>
                  <a:pt x="299" y="112"/>
                </a:cubicBezTo>
                <a:cubicBezTo>
                  <a:pt x="301" y="113"/>
                  <a:pt x="302" y="113"/>
                  <a:pt x="304" y="114"/>
                </a:cubicBezTo>
                <a:cubicBezTo>
                  <a:pt x="304" y="115"/>
                  <a:pt x="302" y="114"/>
                  <a:pt x="302" y="115"/>
                </a:cubicBezTo>
                <a:cubicBezTo>
                  <a:pt x="299" y="116"/>
                  <a:pt x="304" y="118"/>
                  <a:pt x="304" y="118"/>
                </a:cubicBezTo>
                <a:cubicBezTo>
                  <a:pt x="306" y="118"/>
                  <a:pt x="307" y="119"/>
                  <a:pt x="308" y="118"/>
                </a:cubicBezTo>
                <a:cubicBezTo>
                  <a:pt x="310" y="119"/>
                  <a:pt x="307" y="119"/>
                  <a:pt x="308" y="120"/>
                </a:cubicBezTo>
                <a:cubicBezTo>
                  <a:pt x="318" y="121"/>
                  <a:pt x="318" y="121"/>
                  <a:pt x="318" y="121"/>
                </a:cubicBezTo>
                <a:cubicBezTo>
                  <a:pt x="317" y="121"/>
                  <a:pt x="317" y="123"/>
                  <a:pt x="314" y="122"/>
                </a:cubicBezTo>
                <a:cubicBezTo>
                  <a:pt x="318" y="124"/>
                  <a:pt x="324" y="124"/>
                  <a:pt x="328" y="125"/>
                </a:cubicBezTo>
                <a:cubicBezTo>
                  <a:pt x="329" y="126"/>
                  <a:pt x="333" y="127"/>
                  <a:pt x="334" y="128"/>
                </a:cubicBezTo>
                <a:cubicBezTo>
                  <a:pt x="333" y="129"/>
                  <a:pt x="334" y="127"/>
                  <a:pt x="332" y="128"/>
                </a:cubicBezTo>
                <a:cubicBezTo>
                  <a:pt x="332" y="129"/>
                  <a:pt x="332" y="129"/>
                  <a:pt x="332" y="129"/>
                </a:cubicBezTo>
                <a:cubicBezTo>
                  <a:pt x="329" y="128"/>
                  <a:pt x="329" y="130"/>
                  <a:pt x="326" y="130"/>
                </a:cubicBezTo>
                <a:cubicBezTo>
                  <a:pt x="329" y="131"/>
                  <a:pt x="332" y="133"/>
                  <a:pt x="335" y="135"/>
                </a:cubicBezTo>
                <a:cubicBezTo>
                  <a:pt x="336" y="133"/>
                  <a:pt x="340" y="137"/>
                  <a:pt x="343" y="136"/>
                </a:cubicBezTo>
                <a:cubicBezTo>
                  <a:pt x="347" y="138"/>
                  <a:pt x="342" y="138"/>
                  <a:pt x="342" y="139"/>
                </a:cubicBezTo>
                <a:cubicBezTo>
                  <a:pt x="347" y="140"/>
                  <a:pt x="349" y="143"/>
                  <a:pt x="352" y="144"/>
                </a:cubicBezTo>
                <a:cubicBezTo>
                  <a:pt x="352" y="144"/>
                  <a:pt x="352" y="144"/>
                  <a:pt x="351" y="144"/>
                </a:cubicBezTo>
                <a:cubicBezTo>
                  <a:pt x="355" y="146"/>
                  <a:pt x="358" y="149"/>
                  <a:pt x="363" y="150"/>
                </a:cubicBezTo>
                <a:cubicBezTo>
                  <a:pt x="363" y="150"/>
                  <a:pt x="362" y="150"/>
                  <a:pt x="361" y="150"/>
                </a:cubicBezTo>
                <a:cubicBezTo>
                  <a:pt x="362" y="152"/>
                  <a:pt x="366" y="149"/>
                  <a:pt x="367" y="152"/>
                </a:cubicBezTo>
                <a:cubicBezTo>
                  <a:pt x="364" y="152"/>
                  <a:pt x="364" y="152"/>
                  <a:pt x="364" y="152"/>
                </a:cubicBezTo>
                <a:cubicBezTo>
                  <a:pt x="368" y="153"/>
                  <a:pt x="366" y="155"/>
                  <a:pt x="371" y="156"/>
                </a:cubicBezTo>
                <a:cubicBezTo>
                  <a:pt x="370" y="156"/>
                  <a:pt x="369" y="156"/>
                  <a:pt x="368" y="156"/>
                </a:cubicBezTo>
                <a:cubicBezTo>
                  <a:pt x="371" y="157"/>
                  <a:pt x="372" y="159"/>
                  <a:pt x="376" y="160"/>
                </a:cubicBezTo>
                <a:cubicBezTo>
                  <a:pt x="375" y="160"/>
                  <a:pt x="374" y="160"/>
                  <a:pt x="372" y="160"/>
                </a:cubicBezTo>
                <a:cubicBezTo>
                  <a:pt x="372" y="161"/>
                  <a:pt x="377" y="161"/>
                  <a:pt x="376" y="162"/>
                </a:cubicBezTo>
                <a:cubicBezTo>
                  <a:pt x="376" y="163"/>
                  <a:pt x="375" y="164"/>
                  <a:pt x="375" y="164"/>
                </a:cubicBezTo>
                <a:cubicBezTo>
                  <a:pt x="378" y="164"/>
                  <a:pt x="376" y="167"/>
                  <a:pt x="370" y="167"/>
                </a:cubicBezTo>
                <a:cubicBezTo>
                  <a:pt x="370" y="167"/>
                  <a:pt x="368" y="167"/>
                  <a:pt x="365" y="167"/>
                </a:cubicBezTo>
                <a:cubicBezTo>
                  <a:pt x="339" y="166"/>
                  <a:pt x="317" y="163"/>
                  <a:pt x="293" y="161"/>
                </a:cubicBezTo>
                <a:cubicBezTo>
                  <a:pt x="292" y="159"/>
                  <a:pt x="300" y="161"/>
                  <a:pt x="299" y="160"/>
                </a:cubicBezTo>
                <a:cubicBezTo>
                  <a:pt x="297" y="161"/>
                  <a:pt x="295" y="159"/>
                  <a:pt x="288" y="159"/>
                </a:cubicBezTo>
                <a:cubicBezTo>
                  <a:pt x="288" y="159"/>
                  <a:pt x="288" y="159"/>
                  <a:pt x="288" y="159"/>
                </a:cubicBezTo>
                <a:cubicBezTo>
                  <a:pt x="285" y="158"/>
                  <a:pt x="285" y="157"/>
                  <a:pt x="281" y="157"/>
                </a:cubicBezTo>
                <a:cubicBezTo>
                  <a:pt x="280" y="158"/>
                  <a:pt x="280" y="158"/>
                  <a:pt x="280" y="158"/>
                </a:cubicBezTo>
                <a:cubicBezTo>
                  <a:pt x="276" y="158"/>
                  <a:pt x="276" y="155"/>
                  <a:pt x="272" y="156"/>
                </a:cubicBezTo>
                <a:cubicBezTo>
                  <a:pt x="271" y="155"/>
                  <a:pt x="271" y="155"/>
                  <a:pt x="271" y="155"/>
                </a:cubicBezTo>
                <a:cubicBezTo>
                  <a:pt x="265" y="156"/>
                  <a:pt x="267" y="154"/>
                  <a:pt x="261" y="154"/>
                </a:cubicBezTo>
                <a:cubicBezTo>
                  <a:pt x="262" y="154"/>
                  <a:pt x="262" y="154"/>
                  <a:pt x="262" y="154"/>
                </a:cubicBezTo>
                <a:cubicBezTo>
                  <a:pt x="258" y="153"/>
                  <a:pt x="249" y="154"/>
                  <a:pt x="249" y="152"/>
                </a:cubicBezTo>
                <a:cubicBezTo>
                  <a:pt x="244" y="152"/>
                  <a:pt x="239" y="151"/>
                  <a:pt x="236" y="152"/>
                </a:cubicBezTo>
                <a:cubicBezTo>
                  <a:pt x="236" y="151"/>
                  <a:pt x="238" y="151"/>
                  <a:pt x="239" y="151"/>
                </a:cubicBezTo>
                <a:cubicBezTo>
                  <a:pt x="222" y="149"/>
                  <a:pt x="205" y="145"/>
                  <a:pt x="188" y="144"/>
                </a:cubicBezTo>
                <a:cubicBezTo>
                  <a:pt x="188" y="143"/>
                  <a:pt x="189" y="144"/>
                  <a:pt x="190" y="143"/>
                </a:cubicBezTo>
                <a:cubicBezTo>
                  <a:pt x="179" y="143"/>
                  <a:pt x="175" y="139"/>
                  <a:pt x="164" y="140"/>
                </a:cubicBezTo>
                <a:cubicBezTo>
                  <a:pt x="160" y="140"/>
                  <a:pt x="160" y="140"/>
                  <a:pt x="160" y="140"/>
                </a:cubicBezTo>
                <a:cubicBezTo>
                  <a:pt x="159" y="139"/>
                  <a:pt x="160" y="139"/>
                  <a:pt x="159" y="138"/>
                </a:cubicBezTo>
                <a:cubicBezTo>
                  <a:pt x="156" y="139"/>
                  <a:pt x="151" y="137"/>
                  <a:pt x="148" y="138"/>
                </a:cubicBezTo>
                <a:cubicBezTo>
                  <a:pt x="148" y="137"/>
                  <a:pt x="150" y="137"/>
                  <a:pt x="150" y="137"/>
                </a:cubicBezTo>
                <a:cubicBezTo>
                  <a:pt x="147" y="136"/>
                  <a:pt x="139" y="136"/>
                  <a:pt x="136" y="135"/>
                </a:cubicBezTo>
                <a:cubicBezTo>
                  <a:pt x="138" y="135"/>
                  <a:pt x="138" y="135"/>
                  <a:pt x="138" y="135"/>
                </a:cubicBezTo>
                <a:cubicBezTo>
                  <a:pt x="122" y="130"/>
                  <a:pt x="100" y="124"/>
                  <a:pt x="79" y="123"/>
                </a:cubicBezTo>
                <a:cubicBezTo>
                  <a:pt x="74" y="122"/>
                  <a:pt x="80" y="122"/>
                  <a:pt x="78" y="121"/>
                </a:cubicBezTo>
                <a:cubicBezTo>
                  <a:pt x="58" y="120"/>
                  <a:pt x="44" y="114"/>
                  <a:pt x="23" y="113"/>
                </a:cubicBezTo>
                <a:cubicBezTo>
                  <a:pt x="10" y="111"/>
                  <a:pt x="0" y="113"/>
                  <a:pt x="0" y="113"/>
                </a:cubicBezTo>
                <a:cubicBezTo>
                  <a:pt x="31" y="117"/>
                  <a:pt x="53" y="123"/>
                  <a:pt x="78" y="130"/>
                </a:cubicBezTo>
                <a:close/>
                <a:moveTo>
                  <a:pt x="656" y="33"/>
                </a:moveTo>
                <a:cubicBezTo>
                  <a:pt x="656" y="33"/>
                  <a:pt x="656" y="33"/>
                  <a:pt x="656" y="33"/>
                </a:cubicBezTo>
                <a:moveTo>
                  <a:pt x="655" y="33"/>
                </a:moveTo>
                <a:cubicBezTo>
                  <a:pt x="655" y="33"/>
                  <a:pt x="655" y="33"/>
                  <a:pt x="655" y="33"/>
                </a:cubicBezTo>
                <a:cubicBezTo>
                  <a:pt x="656" y="33"/>
                  <a:pt x="656" y="33"/>
                  <a:pt x="655" y="33"/>
                </a:cubicBezTo>
                <a:close/>
                <a:moveTo>
                  <a:pt x="650" y="3"/>
                </a:moveTo>
                <a:cubicBezTo>
                  <a:pt x="650" y="3"/>
                  <a:pt x="650" y="4"/>
                  <a:pt x="650" y="4"/>
                </a:cubicBezTo>
                <a:cubicBezTo>
                  <a:pt x="650" y="4"/>
                  <a:pt x="649" y="4"/>
                  <a:pt x="648" y="5"/>
                </a:cubicBezTo>
                <a:cubicBezTo>
                  <a:pt x="648" y="4"/>
                  <a:pt x="648" y="3"/>
                  <a:pt x="650" y="3"/>
                </a:cubicBezTo>
                <a:close/>
                <a:moveTo>
                  <a:pt x="649" y="34"/>
                </a:moveTo>
                <a:cubicBezTo>
                  <a:pt x="650" y="34"/>
                  <a:pt x="651" y="34"/>
                  <a:pt x="653" y="34"/>
                </a:cubicBezTo>
                <a:cubicBezTo>
                  <a:pt x="653" y="33"/>
                  <a:pt x="653" y="33"/>
                  <a:pt x="653" y="33"/>
                </a:cubicBezTo>
                <a:cubicBezTo>
                  <a:pt x="653" y="34"/>
                  <a:pt x="653" y="34"/>
                  <a:pt x="653" y="34"/>
                </a:cubicBezTo>
                <a:cubicBezTo>
                  <a:pt x="654" y="34"/>
                  <a:pt x="655" y="33"/>
                  <a:pt x="655" y="33"/>
                </a:cubicBezTo>
                <a:cubicBezTo>
                  <a:pt x="654" y="34"/>
                  <a:pt x="654" y="34"/>
                  <a:pt x="653" y="34"/>
                </a:cubicBezTo>
                <a:cubicBezTo>
                  <a:pt x="653" y="34"/>
                  <a:pt x="653" y="35"/>
                  <a:pt x="652" y="35"/>
                </a:cubicBezTo>
                <a:cubicBezTo>
                  <a:pt x="652" y="35"/>
                  <a:pt x="652" y="35"/>
                  <a:pt x="652" y="35"/>
                </a:cubicBezTo>
                <a:cubicBezTo>
                  <a:pt x="652" y="35"/>
                  <a:pt x="651" y="35"/>
                  <a:pt x="650" y="35"/>
                </a:cubicBezTo>
                <a:cubicBezTo>
                  <a:pt x="649" y="35"/>
                  <a:pt x="649" y="35"/>
                  <a:pt x="649" y="35"/>
                </a:cubicBezTo>
                <a:cubicBezTo>
                  <a:pt x="647" y="36"/>
                  <a:pt x="650" y="36"/>
                  <a:pt x="648" y="37"/>
                </a:cubicBezTo>
                <a:cubicBezTo>
                  <a:pt x="646" y="37"/>
                  <a:pt x="644" y="37"/>
                  <a:pt x="643" y="37"/>
                </a:cubicBezTo>
                <a:cubicBezTo>
                  <a:pt x="643" y="36"/>
                  <a:pt x="646" y="35"/>
                  <a:pt x="640" y="34"/>
                </a:cubicBezTo>
                <a:cubicBezTo>
                  <a:pt x="644" y="33"/>
                  <a:pt x="649" y="35"/>
                  <a:pt x="649" y="34"/>
                </a:cubicBezTo>
                <a:close/>
                <a:moveTo>
                  <a:pt x="539" y="91"/>
                </a:moveTo>
                <a:cubicBezTo>
                  <a:pt x="541" y="91"/>
                  <a:pt x="537" y="92"/>
                  <a:pt x="538" y="92"/>
                </a:cubicBezTo>
                <a:cubicBezTo>
                  <a:pt x="537" y="92"/>
                  <a:pt x="535" y="93"/>
                  <a:pt x="535" y="92"/>
                </a:cubicBezTo>
                <a:cubicBezTo>
                  <a:pt x="538" y="92"/>
                  <a:pt x="539" y="91"/>
                  <a:pt x="539" y="91"/>
                </a:cubicBezTo>
                <a:close/>
              </a:path>
            </a:pathLst>
          </a:custGeom>
          <a:solidFill>
            <a:schemeClr val="bg1">
              <a:lumMod val="85000"/>
            </a:schemeClr>
          </a:solidFill>
          <a:ln>
            <a:noFill/>
          </a:ln>
          <a:extLst/>
        </p:spPr>
        <p:txBody>
          <a:bodyPr wrap="square" lIns="91440" tIns="45720" rIns="91440" bIns="45720" anchor="ctr">
            <a:normAutofit/>
          </a:bodyPr>
          <a:lstStyle/>
          <a:p>
            <a:pPr algn="ctr"/>
            <a:endParaRPr/>
          </a:p>
        </p:txBody>
      </p:sp>
      <p:sp>
        <p:nvSpPr>
          <p:cNvPr id="379" name="íṧlíḑè">
            <a:extLst>
              <a:ext uri="{FF2B5EF4-FFF2-40B4-BE49-F238E27FC236}">
                <a16:creationId xmlns:a16="http://schemas.microsoft.com/office/drawing/2014/main" id="{7C99620B-8631-4194-A4B4-5C3A0230A3FB}"/>
              </a:ext>
            </a:extLst>
          </p:cNvPr>
          <p:cNvSpPr/>
          <p:nvPr/>
        </p:nvSpPr>
        <p:spPr bwMode="auto">
          <a:xfrm flipH="1">
            <a:off x="7224888" y="5600475"/>
            <a:ext cx="4079154" cy="1022653"/>
          </a:xfrm>
          <a:custGeom>
            <a:avLst/>
            <a:gdLst>
              <a:gd name="T0" fmla="*/ 229 w 695"/>
              <a:gd name="T1" fmla="*/ 157 h 174"/>
              <a:gd name="T2" fmla="*/ 338 w 695"/>
              <a:gd name="T3" fmla="*/ 173 h 174"/>
              <a:gd name="T4" fmla="*/ 395 w 695"/>
              <a:gd name="T5" fmla="*/ 157 h 174"/>
              <a:gd name="T6" fmla="*/ 273 w 695"/>
              <a:gd name="T7" fmla="*/ 86 h 174"/>
              <a:gd name="T8" fmla="*/ 273 w 695"/>
              <a:gd name="T9" fmla="*/ 72 h 174"/>
              <a:gd name="T10" fmla="*/ 355 w 695"/>
              <a:gd name="T11" fmla="*/ 82 h 174"/>
              <a:gd name="T12" fmla="*/ 493 w 695"/>
              <a:gd name="T13" fmla="*/ 99 h 174"/>
              <a:gd name="T14" fmla="*/ 563 w 695"/>
              <a:gd name="T15" fmla="*/ 86 h 174"/>
              <a:gd name="T16" fmla="*/ 534 w 695"/>
              <a:gd name="T17" fmla="*/ 47 h 174"/>
              <a:gd name="T18" fmla="*/ 569 w 695"/>
              <a:gd name="T19" fmla="*/ 32 h 174"/>
              <a:gd name="T20" fmla="*/ 656 w 695"/>
              <a:gd name="T21" fmla="*/ 39 h 174"/>
              <a:gd name="T22" fmla="*/ 653 w 695"/>
              <a:gd name="T23" fmla="*/ 8 h 174"/>
              <a:gd name="T24" fmla="*/ 656 w 695"/>
              <a:gd name="T25" fmla="*/ 4 h 174"/>
              <a:gd name="T26" fmla="*/ 677 w 695"/>
              <a:gd name="T27" fmla="*/ 3 h 174"/>
              <a:gd name="T28" fmla="*/ 689 w 695"/>
              <a:gd name="T29" fmla="*/ 2 h 174"/>
              <a:gd name="T30" fmla="*/ 656 w 695"/>
              <a:gd name="T31" fmla="*/ 1 h 174"/>
              <a:gd name="T32" fmla="*/ 645 w 695"/>
              <a:gd name="T33" fmla="*/ 8 h 174"/>
              <a:gd name="T34" fmla="*/ 652 w 695"/>
              <a:gd name="T35" fmla="*/ 28 h 174"/>
              <a:gd name="T36" fmla="*/ 633 w 695"/>
              <a:gd name="T37" fmla="*/ 32 h 174"/>
              <a:gd name="T38" fmla="*/ 631 w 695"/>
              <a:gd name="T39" fmla="*/ 31 h 174"/>
              <a:gd name="T40" fmla="*/ 623 w 695"/>
              <a:gd name="T41" fmla="*/ 29 h 174"/>
              <a:gd name="T42" fmla="*/ 588 w 695"/>
              <a:gd name="T43" fmla="*/ 27 h 174"/>
              <a:gd name="T44" fmla="*/ 573 w 695"/>
              <a:gd name="T45" fmla="*/ 24 h 174"/>
              <a:gd name="T46" fmla="*/ 562 w 695"/>
              <a:gd name="T47" fmla="*/ 22 h 174"/>
              <a:gd name="T48" fmla="*/ 532 w 695"/>
              <a:gd name="T49" fmla="*/ 21 h 174"/>
              <a:gd name="T50" fmla="*/ 498 w 695"/>
              <a:gd name="T51" fmla="*/ 36 h 174"/>
              <a:gd name="T52" fmla="*/ 500 w 695"/>
              <a:gd name="T53" fmla="*/ 43 h 174"/>
              <a:gd name="T54" fmla="*/ 516 w 695"/>
              <a:gd name="T55" fmla="*/ 47 h 174"/>
              <a:gd name="T56" fmla="*/ 509 w 695"/>
              <a:gd name="T57" fmla="*/ 51 h 174"/>
              <a:gd name="T58" fmla="*/ 529 w 695"/>
              <a:gd name="T59" fmla="*/ 74 h 174"/>
              <a:gd name="T60" fmla="*/ 535 w 695"/>
              <a:gd name="T61" fmla="*/ 83 h 174"/>
              <a:gd name="T62" fmla="*/ 515 w 695"/>
              <a:gd name="T63" fmla="*/ 91 h 174"/>
              <a:gd name="T64" fmla="*/ 466 w 695"/>
              <a:gd name="T65" fmla="*/ 86 h 174"/>
              <a:gd name="T66" fmla="*/ 444 w 695"/>
              <a:gd name="T67" fmla="*/ 84 h 174"/>
              <a:gd name="T68" fmla="*/ 435 w 695"/>
              <a:gd name="T69" fmla="*/ 82 h 174"/>
              <a:gd name="T70" fmla="*/ 418 w 695"/>
              <a:gd name="T71" fmla="*/ 82 h 174"/>
              <a:gd name="T72" fmla="*/ 383 w 695"/>
              <a:gd name="T73" fmla="*/ 77 h 174"/>
              <a:gd name="T74" fmla="*/ 346 w 695"/>
              <a:gd name="T75" fmla="*/ 71 h 174"/>
              <a:gd name="T76" fmla="*/ 307 w 695"/>
              <a:gd name="T77" fmla="*/ 68 h 174"/>
              <a:gd name="T78" fmla="*/ 240 w 695"/>
              <a:gd name="T79" fmla="*/ 69 h 174"/>
              <a:gd name="T80" fmla="*/ 241 w 695"/>
              <a:gd name="T81" fmla="*/ 78 h 174"/>
              <a:gd name="T82" fmla="*/ 247 w 695"/>
              <a:gd name="T83" fmla="*/ 84 h 174"/>
              <a:gd name="T84" fmla="*/ 245 w 695"/>
              <a:gd name="T85" fmla="*/ 86 h 174"/>
              <a:gd name="T86" fmla="*/ 269 w 695"/>
              <a:gd name="T87" fmla="*/ 98 h 174"/>
              <a:gd name="T88" fmla="*/ 293 w 695"/>
              <a:gd name="T89" fmla="*/ 111 h 174"/>
              <a:gd name="T90" fmla="*/ 308 w 695"/>
              <a:gd name="T91" fmla="*/ 118 h 174"/>
              <a:gd name="T92" fmla="*/ 332 w 695"/>
              <a:gd name="T93" fmla="*/ 128 h 174"/>
              <a:gd name="T94" fmla="*/ 352 w 695"/>
              <a:gd name="T95" fmla="*/ 144 h 174"/>
              <a:gd name="T96" fmla="*/ 371 w 695"/>
              <a:gd name="T97" fmla="*/ 156 h 174"/>
              <a:gd name="T98" fmla="*/ 370 w 695"/>
              <a:gd name="T99" fmla="*/ 167 h 174"/>
              <a:gd name="T100" fmla="*/ 281 w 695"/>
              <a:gd name="T101" fmla="*/ 157 h 174"/>
              <a:gd name="T102" fmla="*/ 249 w 695"/>
              <a:gd name="T103" fmla="*/ 152 h 174"/>
              <a:gd name="T104" fmla="*/ 160 w 695"/>
              <a:gd name="T105" fmla="*/ 140 h 174"/>
              <a:gd name="T106" fmla="*/ 79 w 695"/>
              <a:gd name="T107" fmla="*/ 123 h 174"/>
              <a:gd name="T108" fmla="*/ 656 w 695"/>
              <a:gd name="T109" fmla="*/ 33 h 174"/>
              <a:gd name="T110" fmla="*/ 648 w 695"/>
              <a:gd name="T111" fmla="*/ 5 h 174"/>
              <a:gd name="T112" fmla="*/ 655 w 695"/>
              <a:gd name="T113" fmla="*/ 33 h 174"/>
              <a:gd name="T114" fmla="*/ 648 w 695"/>
              <a:gd name="T115" fmla="*/ 37 h 174"/>
              <a:gd name="T116" fmla="*/ 535 w 695"/>
              <a:gd name="T117" fmla="*/ 92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95" h="174">
                <a:moveTo>
                  <a:pt x="78" y="130"/>
                </a:moveTo>
                <a:cubicBezTo>
                  <a:pt x="88" y="132"/>
                  <a:pt x="101" y="134"/>
                  <a:pt x="109" y="136"/>
                </a:cubicBezTo>
                <a:cubicBezTo>
                  <a:pt x="147" y="143"/>
                  <a:pt x="179" y="151"/>
                  <a:pt x="220" y="157"/>
                </a:cubicBezTo>
                <a:cubicBezTo>
                  <a:pt x="219" y="157"/>
                  <a:pt x="222" y="157"/>
                  <a:pt x="225" y="157"/>
                </a:cubicBezTo>
                <a:cubicBezTo>
                  <a:pt x="224" y="157"/>
                  <a:pt x="224" y="157"/>
                  <a:pt x="224" y="157"/>
                </a:cubicBezTo>
                <a:cubicBezTo>
                  <a:pt x="229" y="157"/>
                  <a:pt x="229" y="157"/>
                  <a:pt x="229" y="157"/>
                </a:cubicBezTo>
                <a:cubicBezTo>
                  <a:pt x="232" y="157"/>
                  <a:pt x="229" y="158"/>
                  <a:pt x="226" y="158"/>
                </a:cubicBezTo>
                <a:cubicBezTo>
                  <a:pt x="242" y="160"/>
                  <a:pt x="257" y="162"/>
                  <a:pt x="272" y="165"/>
                </a:cubicBezTo>
                <a:cubicBezTo>
                  <a:pt x="275" y="164"/>
                  <a:pt x="280" y="166"/>
                  <a:pt x="283" y="165"/>
                </a:cubicBezTo>
                <a:cubicBezTo>
                  <a:pt x="283" y="166"/>
                  <a:pt x="283" y="166"/>
                  <a:pt x="282" y="166"/>
                </a:cubicBezTo>
                <a:cubicBezTo>
                  <a:pt x="294" y="167"/>
                  <a:pt x="295" y="167"/>
                  <a:pt x="303" y="169"/>
                </a:cubicBezTo>
                <a:cubicBezTo>
                  <a:pt x="314" y="171"/>
                  <a:pt x="325" y="172"/>
                  <a:pt x="338" y="173"/>
                </a:cubicBezTo>
                <a:cubicBezTo>
                  <a:pt x="346" y="174"/>
                  <a:pt x="351" y="174"/>
                  <a:pt x="366" y="173"/>
                </a:cubicBezTo>
                <a:cubicBezTo>
                  <a:pt x="367" y="173"/>
                  <a:pt x="372" y="173"/>
                  <a:pt x="375" y="172"/>
                </a:cubicBezTo>
                <a:cubicBezTo>
                  <a:pt x="379" y="171"/>
                  <a:pt x="379" y="171"/>
                  <a:pt x="379" y="171"/>
                </a:cubicBezTo>
                <a:cubicBezTo>
                  <a:pt x="396" y="166"/>
                  <a:pt x="387" y="169"/>
                  <a:pt x="391" y="167"/>
                </a:cubicBezTo>
                <a:cubicBezTo>
                  <a:pt x="398" y="163"/>
                  <a:pt x="396" y="163"/>
                  <a:pt x="397" y="161"/>
                </a:cubicBezTo>
                <a:cubicBezTo>
                  <a:pt x="397" y="160"/>
                  <a:pt x="396" y="158"/>
                  <a:pt x="395" y="157"/>
                </a:cubicBezTo>
                <a:cubicBezTo>
                  <a:pt x="389" y="149"/>
                  <a:pt x="378" y="143"/>
                  <a:pt x="368" y="136"/>
                </a:cubicBezTo>
                <a:cubicBezTo>
                  <a:pt x="347" y="123"/>
                  <a:pt x="322" y="111"/>
                  <a:pt x="300" y="97"/>
                </a:cubicBezTo>
                <a:cubicBezTo>
                  <a:pt x="292" y="96"/>
                  <a:pt x="289" y="93"/>
                  <a:pt x="282" y="92"/>
                </a:cubicBezTo>
                <a:cubicBezTo>
                  <a:pt x="283" y="91"/>
                  <a:pt x="283" y="91"/>
                  <a:pt x="283" y="91"/>
                </a:cubicBezTo>
                <a:cubicBezTo>
                  <a:pt x="278" y="90"/>
                  <a:pt x="279" y="89"/>
                  <a:pt x="277" y="86"/>
                </a:cubicBezTo>
                <a:cubicBezTo>
                  <a:pt x="276" y="86"/>
                  <a:pt x="275" y="85"/>
                  <a:pt x="273" y="86"/>
                </a:cubicBezTo>
                <a:cubicBezTo>
                  <a:pt x="270" y="85"/>
                  <a:pt x="274" y="83"/>
                  <a:pt x="271" y="82"/>
                </a:cubicBezTo>
                <a:cubicBezTo>
                  <a:pt x="272" y="82"/>
                  <a:pt x="270" y="83"/>
                  <a:pt x="270" y="82"/>
                </a:cubicBezTo>
                <a:cubicBezTo>
                  <a:pt x="262" y="79"/>
                  <a:pt x="272" y="82"/>
                  <a:pt x="269" y="77"/>
                </a:cubicBezTo>
                <a:cubicBezTo>
                  <a:pt x="267" y="76"/>
                  <a:pt x="264" y="74"/>
                  <a:pt x="262" y="72"/>
                </a:cubicBezTo>
                <a:cubicBezTo>
                  <a:pt x="265" y="72"/>
                  <a:pt x="269" y="72"/>
                  <a:pt x="272" y="73"/>
                </a:cubicBezTo>
                <a:cubicBezTo>
                  <a:pt x="270" y="73"/>
                  <a:pt x="271" y="72"/>
                  <a:pt x="273" y="72"/>
                </a:cubicBezTo>
                <a:cubicBezTo>
                  <a:pt x="273" y="74"/>
                  <a:pt x="281" y="72"/>
                  <a:pt x="284" y="73"/>
                </a:cubicBezTo>
                <a:cubicBezTo>
                  <a:pt x="283" y="73"/>
                  <a:pt x="281" y="73"/>
                  <a:pt x="280" y="73"/>
                </a:cubicBezTo>
                <a:cubicBezTo>
                  <a:pt x="288" y="75"/>
                  <a:pt x="297" y="75"/>
                  <a:pt x="304" y="76"/>
                </a:cubicBezTo>
                <a:cubicBezTo>
                  <a:pt x="314" y="76"/>
                  <a:pt x="320" y="79"/>
                  <a:pt x="327" y="78"/>
                </a:cubicBezTo>
                <a:cubicBezTo>
                  <a:pt x="325" y="79"/>
                  <a:pt x="330" y="79"/>
                  <a:pt x="331" y="80"/>
                </a:cubicBezTo>
                <a:cubicBezTo>
                  <a:pt x="341" y="79"/>
                  <a:pt x="345" y="82"/>
                  <a:pt x="355" y="82"/>
                </a:cubicBezTo>
                <a:cubicBezTo>
                  <a:pt x="354" y="82"/>
                  <a:pt x="354" y="82"/>
                  <a:pt x="354" y="82"/>
                </a:cubicBezTo>
                <a:cubicBezTo>
                  <a:pt x="376" y="85"/>
                  <a:pt x="398" y="88"/>
                  <a:pt x="422" y="90"/>
                </a:cubicBezTo>
                <a:cubicBezTo>
                  <a:pt x="436" y="92"/>
                  <a:pt x="446" y="95"/>
                  <a:pt x="463" y="96"/>
                </a:cubicBezTo>
                <a:cubicBezTo>
                  <a:pt x="466" y="96"/>
                  <a:pt x="464" y="96"/>
                  <a:pt x="467" y="96"/>
                </a:cubicBezTo>
                <a:cubicBezTo>
                  <a:pt x="470" y="96"/>
                  <a:pt x="466" y="96"/>
                  <a:pt x="467" y="96"/>
                </a:cubicBezTo>
                <a:cubicBezTo>
                  <a:pt x="475" y="97"/>
                  <a:pt x="483" y="98"/>
                  <a:pt x="493" y="99"/>
                </a:cubicBezTo>
                <a:cubicBezTo>
                  <a:pt x="494" y="99"/>
                  <a:pt x="497" y="99"/>
                  <a:pt x="497" y="99"/>
                </a:cubicBezTo>
                <a:cubicBezTo>
                  <a:pt x="501" y="100"/>
                  <a:pt x="508" y="100"/>
                  <a:pt x="516" y="100"/>
                </a:cubicBezTo>
                <a:cubicBezTo>
                  <a:pt x="520" y="100"/>
                  <a:pt x="524" y="100"/>
                  <a:pt x="530" y="100"/>
                </a:cubicBezTo>
                <a:cubicBezTo>
                  <a:pt x="534" y="101"/>
                  <a:pt x="558" y="94"/>
                  <a:pt x="557" y="93"/>
                </a:cubicBezTo>
                <a:cubicBezTo>
                  <a:pt x="549" y="96"/>
                  <a:pt x="562" y="89"/>
                  <a:pt x="560" y="87"/>
                </a:cubicBezTo>
                <a:cubicBezTo>
                  <a:pt x="561" y="86"/>
                  <a:pt x="562" y="86"/>
                  <a:pt x="563" y="86"/>
                </a:cubicBezTo>
                <a:cubicBezTo>
                  <a:pt x="564" y="83"/>
                  <a:pt x="563" y="81"/>
                  <a:pt x="563" y="77"/>
                </a:cubicBezTo>
                <a:cubicBezTo>
                  <a:pt x="562" y="76"/>
                  <a:pt x="559" y="76"/>
                  <a:pt x="559" y="74"/>
                </a:cubicBezTo>
                <a:cubicBezTo>
                  <a:pt x="561" y="72"/>
                  <a:pt x="557" y="70"/>
                  <a:pt x="557" y="68"/>
                </a:cubicBezTo>
                <a:cubicBezTo>
                  <a:pt x="554" y="69"/>
                  <a:pt x="551" y="68"/>
                  <a:pt x="550" y="66"/>
                </a:cubicBezTo>
                <a:cubicBezTo>
                  <a:pt x="554" y="65"/>
                  <a:pt x="554" y="65"/>
                  <a:pt x="554" y="65"/>
                </a:cubicBezTo>
                <a:cubicBezTo>
                  <a:pt x="548" y="61"/>
                  <a:pt x="545" y="52"/>
                  <a:pt x="534" y="47"/>
                </a:cubicBezTo>
                <a:cubicBezTo>
                  <a:pt x="536" y="46"/>
                  <a:pt x="536" y="46"/>
                  <a:pt x="536" y="46"/>
                </a:cubicBezTo>
                <a:cubicBezTo>
                  <a:pt x="528" y="41"/>
                  <a:pt x="524" y="34"/>
                  <a:pt x="521" y="29"/>
                </a:cubicBezTo>
                <a:cubicBezTo>
                  <a:pt x="521" y="29"/>
                  <a:pt x="520" y="30"/>
                  <a:pt x="527" y="30"/>
                </a:cubicBezTo>
                <a:cubicBezTo>
                  <a:pt x="534" y="29"/>
                  <a:pt x="537" y="29"/>
                  <a:pt x="543" y="29"/>
                </a:cubicBezTo>
                <a:cubicBezTo>
                  <a:pt x="546" y="29"/>
                  <a:pt x="546" y="30"/>
                  <a:pt x="547" y="30"/>
                </a:cubicBezTo>
                <a:cubicBezTo>
                  <a:pt x="555" y="31"/>
                  <a:pt x="560" y="33"/>
                  <a:pt x="569" y="32"/>
                </a:cubicBezTo>
                <a:cubicBezTo>
                  <a:pt x="568" y="33"/>
                  <a:pt x="568" y="33"/>
                  <a:pt x="568" y="33"/>
                </a:cubicBezTo>
                <a:cubicBezTo>
                  <a:pt x="575" y="33"/>
                  <a:pt x="586" y="34"/>
                  <a:pt x="592" y="35"/>
                </a:cubicBezTo>
                <a:cubicBezTo>
                  <a:pt x="595" y="35"/>
                  <a:pt x="603" y="36"/>
                  <a:pt x="601" y="35"/>
                </a:cubicBezTo>
                <a:cubicBezTo>
                  <a:pt x="604" y="35"/>
                  <a:pt x="600" y="36"/>
                  <a:pt x="605" y="36"/>
                </a:cubicBezTo>
                <a:cubicBezTo>
                  <a:pt x="600" y="36"/>
                  <a:pt x="600" y="36"/>
                  <a:pt x="600" y="36"/>
                </a:cubicBezTo>
                <a:cubicBezTo>
                  <a:pt x="618" y="38"/>
                  <a:pt x="625" y="42"/>
                  <a:pt x="656" y="39"/>
                </a:cubicBezTo>
                <a:cubicBezTo>
                  <a:pt x="672" y="35"/>
                  <a:pt x="667" y="30"/>
                  <a:pt x="667" y="26"/>
                </a:cubicBezTo>
                <a:cubicBezTo>
                  <a:pt x="665" y="25"/>
                  <a:pt x="664" y="21"/>
                  <a:pt x="659" y="21"/>
                </a:cubicBezTo>
                <a:cubicBezTo>
                  <a:pt x="661" y="20"/>
                  <a:pt x="661" y="20"/>
                  <a:pt x="661" y="20"/>
                </a:cubicBezTo>
                <a:cubicBezTo>
                  <a:pt x="659" y="18"/>
                  <a:pt x="657" y="14"/>
                  <a:pt x="655" y="11"/>
                </a:cubicBezTo>
                <a:cubicBezTo>
                  <a:pt x="655" y="9"/>
                  <a:pt x="653" y="10"/>
                  <a:pt x="651" y="8"/>
                </a:cubicBezTo>
                <a:cubicBezTo>
                  <a:pt x="653" y="8"/>
                  <a:pt x="653" y="8"/>
                  <a:pt x="653" y="8"/>
                </a:cubicBezTo>
                <a:cubicBezTo>
                  <a:pt x="651" y="6"/>
                  <a:pt x="649" y="6"/>
                  <a:pt x="647" y="6"/>
                </a:cubicBezTo>
                <a:cubicBezTo>
                  <a:pt x="648" y="5"/>
                  <a:pt x="648" y="5"/>
                  <a:pt x="648" y="5"/>
                </a:cubicBezTo>
                <a:cubicBezTo>
                  <a:pt x="649" y="5"/>
                  <a:pt x="650" y="4"/>
                  <a:pt x="651" y="4"/>
                </a:cubicBezTo>
                <a:cubicBezTo>
                  <a:pt x="652" y="5"/>
                  <a:pt x="653" y="5"/>
                  <a:pt x="654" y="5"/>
                </a:cubicBezTo>
                <a:cubicBezTo>
                  <a:pt x="653" y="5"/>
                  <a:pt x="654" y="5"/>
                  <a:pt x="654" y="4"/>
                </a:cubicBezTo>
                <a:cubicBezTo>
                  <a:pt x="655" y="4"/>
                  <a:pt x="655" y="4"/>
                  <a:pt x="656" y="4"/>
                </a:cubicBezTo>
                <a:cubicBezTo>
                  <a:pt x="662" y="4"/>
                  <a:pt x="666" y="4"/>
                  <a:pt x="668" y="3"/>
                </a:cubicBezTo>
                <a:cubicBezTo>
                  <a:pt x="666" y="4"/>
                  <a:pt x="671" y="4"/>
                  <a:pt x="667" y="4"/>
                </a:cubicBezTo>
                <a:cubicBezTo>
                  <a:pt x="671" y="4"/>
                  <a:pt x="674" y="4"/>
                  <a:pt x="677" y="4"/>
                </a:cubicBezTo>
                <a:cubicBezTo>
                  <a:pt x="676" y="4"/>
                  <a:pt x="675" y="4"/>
                  <a:pt x="674" y="4"/>
                </a:cubicBezTo>
                <a:cubicBezTo>
                  <a:pt x="678" y="3"/>
                  <a:pt x="682" y="3"/>
                  <a:pt x="682" y="3"/>
                </a:cubicBezTo>
                <a:cubicBezTo>
                  <a:pt x="680" y="3"/>
                  <a:pt x="679" y="3"/>
                  <a:pt x="677" y="3"/>
                </a:cubicBezTo>
                <a:cubicBezTo>
                  <a:pt x="679" y="2"/>
                  <a:pt x="687" y="2"/>
                  <a:pt x="687" y="3"/>
                </a:cubicBezTo>
                <a:cubicBezTo>
                  <a:pt x="687" y="4"/>
                  <a:pt x="681" y="4"/>
                  <a:pt x="683" y="4"/>
                </a:cubicBezTo>
                <a:cubicBezTo>
                  <a:pt x="695" y="4"/>
                  <a:pt x="695" y="4"/>
                  <a:pt x="695" y="4"/>
                </a:cubicBezTo>
                <a:cubicBezTo>
                  <a:pt x="692" y="4"/>
                  <a:pt x="691" y="3"/>
                  <a:pt x="693" y="3"/>
                </a:cubicBezTo>
                <a:cubicBezTo>
                  <a:pt x="688" y="3"/>
                  <a:pt x="688" y="3"/>
                  <a:pt x="688" y="3"/>
                </a:cubicBezTo>
                <a:cubicBezTo>
                  <a:pt x="689" y="2"/>
                  <a:pt x="689" y="2"/>
                  <a:pt x="689" y="2"/>
                </a:cubicBezTo>
                <a:cubicBezTo>
                  <a:pt x="682" y="2"/>
                  <a:pt x="677" y="1"/>
                  <a:pt x="668" y="1"/>
                </a:cubicBezTo>
                <a:cubicBezTo>
                  <a:pt x="670" y="2"/>
                  <a:pt x="670" y="2"/>
                  <a:pt x="670" y="2"/>
                </a:cubicBezTo>
                <a:cubicBezTo>
                  <a:pt x="665" y="2"/>
                  <a:pt x="659" y="3"/>
                  <a:pt x="655" y="3"/>
                </a:cubicBezTo>
                <a:cubicBezTo>
                  <a:pt x="658" y="2"/>
                  <a:pt x="656" y="2"/>
                  <a:pt x="657" y="2"/>
                </a:cubicBezTo>
                <a:cubicBezTo>
                  <a:pt x="655" y="2"/>
                  <a:pt x="654" y="2"/>
                  <a:pt x="652" y="2"/>
                </a:cubicBezTo>
                <a:cubicBezTo>
                  <a:pt x="656" y="1"/>
                  <a:pt x="656" y="1"/>
                  <a:pt x="656" y="1"/>
                </a:cubicBezTo>
                <a:cubicBezTo>
                  <a:pt x="655" y="1"/>
                  <a:pt x="654" y="2"/>
                  <a:pt x="652" y="2"/>
                </a:cubicBezTo>
                <a:cubicBezTo>
                  <a:pt x="649" y="3"/>
                  <a:pt x="655" y="0"/>
                  <a:pt x="645" y="4"/>
                </a:cubicBezTo>
                <a:cubicBezTo>
                  <a:pt x="644" y="4"/>
                  <a:pt x="644" y="4"/>
                  <a:pt x="644" y="4"/>
                </a:cubicBezTo>
                <a:cubicBezTo>
                  <a:pt x="644" y="6"/>
                  <a:pt x="643" y="7"/>
                  <a:pt x="643" y="7"/>
                </a:cubicBezTo>
                <a:cubicBezTo>
                  <a:pt x="643" y="7"/>
                  <a:pt x="643" y="7"/>
                  <a:pt x="643" y="7"/>
                </a:cubicBezTo>
                <a:cubicBezTo>
                  <a:pt x="641" y="10"/>
                  <a:pt x="645" y="6"/>
                  <a:pt x="645" y="8"/>
                </a:cubicBezTo>
                <a:cubicBezTo>
                  <a:pt x="644" y="9"/>
                  <a:pt x="641" y="9"/>
                  <a:pt x="640" y="11"/>
                </a:cubicBezTo>
                <a:cubicBezTo>
                  <a:pt x="640" y="13"/>
                  <a:pt x="645" y="16"/>
                  <a:pt x="644" y="19"/>
                </a:cubicBezTo>
                <a:cubicBezTo>
                  <a:pt x="647" y="21"/>
                  <a:pt x="650" y="23"/>
                  <a:pt x="653" y="24"/>
                </a:cubicBezTo>
                <a:cubicBezTo>
                  <a:pt x="654" y="25"/>
                  <a:pt x="649" y="25"/>
                  <a:pt x="652" y="26"/>
                </a:cubicBezTo>
                <a:cubicBezTo>
                  <a:pt x="650" y="26"/>
                  <a:pt x="649" y="26"/>
                  <a:pt x="648" y="27"/>
                </a:cubicBezTo>
                <a:cubicBezTo>
                  <a:pt x="650" y="27"/>
                  <a:pt x="650" y="30"/>
                  <a:pt x="652" y="28"/>
                </a:cubicBezTo>
                <a:cubicBezTo>
                  <a:pt x="653" y="30"/>
                  <a:pt x="654" y="32"/>
                  <a:pt x="653" y="33"/>
                </a:cubicBezTo>
                <a:cubicBezTo>
                  <a:pt x="652" y="33"/>
                  <a:pt x="650" y="33"/>
                  <a:pt x="649" y="33"/>
                </a:cubicBezTo>
                <a:cubicBezTo>
                  <a:pt x="648" y="34"/>
                  <a:pt x="650" y="34"/>
                  <a:pt x="646" y="34"/>
                </a:cubicBezTo>
                <a:cubicBezTo>
                  <a:pt x="638" y="35"/>
                  <a:pt x="640" y="33"/>
                  <a:pt x="639" y="32"/>
                </a:cubicBezTo>
                <a:cubicBezTo>
                  <a:pt x="643" y="32"/>
                  <a:pt x="643" y="32"/>
                  <a:pt x="643" y="32"/>
                </a:cubicBezTo>
                <a:cubicBezTo>
                  <a:pt x="640" y="32"/>
                  <a:pt x="637" y="32"/>
                  <a:pt x="633" y="32"/>
                </a:cubicBezTo>
                <a:cubicBezTo>
                  <a:pt x="635" y="30"/>
                  <a:pt x="640" y="32"/>
                  <a:pt x="643" y="32"/>
                </a:cubicBezTo>
                <a:cubicBezTo>
                  <a:pt x="642" y="30"/>
                  <a:pt x="642" y="30"/>
                  <a:pt x="642" y="30"/>
                </a:cubicBezTo>
                <a:cubicBezTo>
                  <a:pt x="636" y="29"/>
                  <a:pt x="638" y="31"/>
                  <a:pt x="632" y="30"/>
                </a:cubicBezTo>
                <a:cubicBezTo>
                  <a:pt x="634" y="30"/>
                  <a:pt x="634" y="30"/>
                  <a:pt x="634" y="30"/>
                </a:cubicBezTo>
                <a:cubicBezTo>
                  <a:pt x="629" y="29"/>
                  <a:pt x="629" y="29"/>
                  <a:pt x="629" y="29"/>
                </a:cubicBezTo>
                <a:cubicBezTo>
                  <a:pt x="628" y="30"/>
                  <a:pt x="627" y="31"/>
                  <a:pt x="631" y="31"/>
                </a:cubicBezTo>
                <a:cubicBezTo>
                  <a:pt x="626" y="32"/>
                  <a:pt x="627" y="31"/>
                  <a:pt x="621" y="30"/>
                </a:cubicBezTo>
                <a:cubicBezTo>
                  <a:pt x="618" y="31"/>
                  <a:pt x="624" y="31"/>
                  <a:pt x="622" y="31"/>
                </a:cubicBezTo>
                <a:cubicBezTo>
                  <a:pt x="621" y="32"/>
                  <a:pt x="617" y="32"/>
                  <a:pt x="614" y="31"/>
                </a:cubicBezTo>
                <a:cubicBezTo>
                  <a:pt x="609" y="31"/>
                  <a:pt x="614" y="30"/>
                  <a:pt x="613" y="30"/>
                </a:cubicBezTo>
                <a:cubicBezTo>
                  <a:pt x="614" y="30"/>
                  <a:pt x="618" y="30"/>
                  <a:pt x="616" y="30"/>
                </a:cubicBezTo>
                <a:cubicBezTo>
                  <a:pt x="624" y="30"/>
                  <a:pt x="618" y="29"/>
                  <a:pt x="623" y="29"/>
                </a:cubicBezTo>
                <a:cubicBezTo>
                  <a:pt x="619" y="27"/>
                  <a:pt x="617" y="28"/>
                  <a:pt x="615" y="28"/>
                </a:cubicBezTo>
                <a:cubicBezTo>
                  <a:pt x="616" y="29"/>
                  <a:pt x="612" y="29"/>
                  <a:pt x="613" y="29"/>
                </a:cubicBezTo>
                <a:cubicBezTo>
                  <a:pt x="600" y="30"/>
                  <a:pt x="611" y="27"/>
                  <a:pt x="603" y="27"/>
                </a:cubicBezTo>
                <a:cubicBezTo>
                  <a:pt x="602" y="28"/>
                  <a:pt x="589" y="27"/>
                  <a:pt x="591" y="29"/>
                </a:cubicBezTo>
                <a:cubicBezTo>
                  <a:pt x="589" y="29"/>
                  <a:pt x="586" y="29"/>
                  <a:pt x="585" y="29"/>
                </a:cubicBezTo>
                <a:cubicBezTo>
                  <a:pt x="589" y="28"/>
                  <a:pt x="583" y="28"/>
                  <a:pt x="588" y="27"/>
                </a:cubicBezTo>
                <a:cubicBezTo>
                  <a:pt x="586" y="27"/>
                  <a:pt x="586" y="27"/>
                  <a:pt x="586" y="27"/>
                </a:cubicBezTo>
                <a:cubicBezTo>
                  <a:pt x="592" y="27"/>
                  <a:pt x="592" y="27"/>
                  <a:pt x="592" y="27"/>
                </a:cubicBezTo>
                <a:cubicBezTo>
                  <a:pt x="590" y="26"/>
                  <a:pt x="587" y="24"/>
                  <a:pt x="586" y="24"/>
                </a:cubicBezTo>
                <a:cubicBezTo>
                  <a:pt x="581" y="24"/>
                  <a:pt x="586" y="25"/>
                  <a:pt x="580" y="24"/>
                </a:cubicBezTo>
                <a:cubicBezTo>
                  <a:pt x="583" y="24"/>
                  <a:pt x="581" y="23"/>
                  <a:pt x="579" y="23"/>
                </a:cubicBezTo>
                <a:cubicBezTo>
                  <a:pt x="582" y="24"/>
                  <a:pt x="576" y="24"/>
                  <a:pt x="573" y="24"/>
                </a:cubicBezTo>
                <a:cubicBezTo>
                  <a:pt x="569" y="24"/>
                  <a:pt x="567" y="23"/>
                  <a:pt x="568" y="23"/>
                </a:cubicBezTo>
                <a:cubicBezTo>
                  <a:pt x="574" y="22"/>
                  <a:pt x="574" y="22"/>
                  <a:pt x="574" y="22"/>
                </a:cubicBezTo>
                <a:cubicBezTo>
                  <a:pt x="570" y="23"/>
                  <a:pt x="573" y="22"/>
                  <a:pt x="570" y="22"/>
                </a:cubicBezTo>
                <a:cubicBezTo>
                  <a:pt x="568" y="22"/>
                  <a:pt x="564" y="23"/>
                  <a:pt x="562" y="23"/>
                </a:cubicBezTo>
                <a:cubicBezTo>
                  <a:pt x="558" y="23"/>
                  <a:pt x="558" y="22"/>
                  <a:pt x="556" y="22"/>
                </a:cubicBezTo>
                <a:cubicBezTo>
                  <a:pt x="562" y="22"/>
                  <a:pt x="562" y="22"/>
                  <a:pt x="562" y="22"/>
                </a:cubicBezTo>
                <a:cubicBezTo>
                  <a:pt x="556" y="22"/>
                  <a:pt x="564" y="21"/>
                  <a:pt x="556" y="21"/>
                </a:cubicBezTo>
                <a:cubicBezTo>
                  <a:pt x="553" y="21"/>
                  <a:pt x="553" y="21"/>
                  <a:pt x="553" y="21"/>
                </a:cubicBezTo>
                <a:cubicBezTo>
                  <a:pt x="552" y="21"/>
                  <a:pt x="552" y="21"/>
                  <a:pt x="554" y="20"/>
                </a:cubicBezTo>
                <a:cubicBezTo>
                  <a:pt x="552" y="21"/>
                  <a:pt x="548" y="21"/>
                  <a:pt x="546" y="21"/>
                </a:cubicBezTo>
                <a:cubicBezTo>
                  <a:pt x="546" y="20"/>
                  <a:pt x="546" y="20"/>
                  <a:pt x="546" y="20"/>
                </a:cubicBezTo>
                <a:cubicBezTo>
                  <a:pt x="543" y="20"/>
                  <a:pt x="536" y="21"/>
                  <a:pt x="532" y="21"/>
                </a:cubicBezTo>
                <a:cubicBezTo>
                  <a:pt x="534" y="22"/>
                  <a:pt x="538" y="20"/>
                  <a:pt x="543" y="21"/>
                </a:cubicBezTo>
                <a:cubicBezTo>
                  <a:pt x="545" y="22"/>
                  <a:pt x="536" y="22"/>
                  <a:pt x="534" y="22"/>
                </a:cubicBezTo>
                <a:cubicBezTo>
                  <a:pt x="537" y="21"/>
                  <a:pt x="523" y="22"/>
                  <a:pt x="513" y="25"/>
                </a:cubicBezTo>
                <a:cubicBezTo>
                  <a:pt x="507" y="26"/>
                  <a:pt x="500" y="29"/>
                  <a:pt x="500" y="29"/>
                </a:cubicBezTo>
                <a:cubicBezTo>
                  <a:pt x="501" y="30"/>
                  <a:pt x="501" y="30"/>
                  <a:pt x="501" y="30"/>
                </a:cubicBezTo>
                <a:cubicBezTo>
                  <a:pt x="493" y="32"/>
                  <a:pt x="499" y="34"/>
                  <a:pt x="498" y="36"/>
                </a:cubicBezTo>
                <a:cubicBezTo>
                  <a:pt x="496" y="35"/>
                  <a:pt x="494" y="35"/>
                  <a:pt x="494" y="37"/>
                </a:cubicBezTo>
                <a:cubicBezTo>
                  <a:pt x="497" y="35"/>
                  <a:pt x="499" y="38"/>
                  <a:pt x="501" y="37"/>
                </a:cubicBezTo>
                <a:cubicBezTo>
                  <a:pt x="501" y="39"/>
                  <a:pt x="496" y="37"/>
                  <a:pt x="494" y="38"/>
                </a:cubicBezTo>
                <a:cubicBezTo>
                  <a:pt x="497" y="39"/>
                  <a:pt x="494" y="41"/>
                  <a:pt x="498" y="41"/>
                </a:cubicBezTo>
                <a:cubicBezTo>
                  <a:pt x="498" y="40"/>
                  <a:pt x="500" y="41"/>
                  <a:pt x="502" y="41"/>
                </a:cubicBezTo>
                <a:cubicBezTo>
                  <a:pt x="503" y="43"/>
                  <a:pt x="500" y="41"/>
                  <a:pt x="500" y="43"/>
                </a:cubicBezTo>
                <a:cubicBezTo>
                  <a:pt x="501" y="43"/>
                  <a:pt x="504" y="44"/>
                  <a:pt x="504" y="42"/>
                </a:cubicBezTo>
                <a:cubicBezTo>
                  <a:pt x="504" y="43"/>
                  <a:pt x="509" y="44"/>
                  <a:pt x="507" y="45"/>
                </a:cubicBezTo>
                <a:cubicBezTo>
                  <a:pt x="506" y="46"/>
                  <a:pt x="505" y="44"/>
                  <a:pt x="504" y="45"/>
                </a:cubicBezTo>
                <a:cubicBezTo>
                  <a:pt x="505" y="47"/>
                  <a:pt x="510" y="45"/>
                  <a:pt x="513" y="47"/>
                </a:cubicBezTo>
                <a:cubicBezTo>
                  <a:pt x="513" y="45"/>
                  <a:pt x="518" y="45"/>
                  <a:pt x="520" y="46"/>
                </a:cubicBezTo>
                <a:cubicBezTo>
                  <a:pt x="521" y="49"/>
                  <a:pt x="518" y="45"/>
                  <a:pt x="516" y="47"/>
                </a:cubicBezTo>
                <a:cubicBezTo>
                  <a:pt x="517" y="48"/>
                  <a:pt x="517" y="48"/>
                  <a:pt x="517" y="48"/>
                </a:cubicBezTo>
                <a:cubicBezTo>
                  <a:pt x="515" y="50"/>
                  <a:pt x="508" y="46"/>
                  <a:pt x="506" y="48"/>
                </a:cubicBezTo>
                <a:cubicBezTo>
                  <a:pt x="509" y="49"/>
                  <a:pt x="509" y="49"/>
                  <a:pt x="509" y="49"/>
                </a:cubicBezTo>
                <a:cubicBezTo>
                  <a:pt x="507" y="49"/>
                  <a:pt x="505" y="49"/>
                  <a:pt x="504" y="50"/>
                </a:cubicBezTo>
                <a:cubicBezTo>
                  <a:pt x="507" y="50"/>
                  <a:pt x="507" y="52"/>
                  <a:pt x="508" y="52"/>
                </a:cubicBezTo>
                <a:cubicBezTo>
                  <a:pt x="511" y="52"/>
                  <a:pt x="507" y="52"/>
                  <a:pt x="509" y="51"/>
                </a:cubicBezTo>
                <a:cubicBezTo>
                  <a:pt x="510" y="52"/>
                  <a:pt x="514" y="52"/>
                  <a:pt x="515" y="54"/>
                </a:cubicBezTo>
                <a:cubicBezTo>
                  <a:pt x="512" y="53"/>
                  <a:pt x="512" y="55"/>
                  <a:pt x="510" y="55"/>
                </a:cubicBezTo>
                <a:cubicBezTo>
                  <a:pt x="510" y="56"/>
                  <a:pt x="513" y="55"/>
                  <a:pt x="513" y="56"/>
                </a:cubicBezTo>
                <a:cubicBezTo>
                  <a:pt x="512" y="56"/>
                  <a:pt x="512" y="56"/>
                  <a:pt x="512" y="56"/>
                </a:cubicBezTo>
                <a:cubicBezTo>
                  <a:pt x="516" y="61"/>
                  <a:pt x="521" y="66"/>
                  <a:pt x="530" y="69"/>
                </a:cubicBezTo>
                <a:cubicBezTo>
                  <a:pt x="528" y="70"/>
                  <a:pt x="529" y="72"/>
                  <a:pt x="529" y="74"/>
                </a:cubicBezTo>
                <a:cubicBezTo>
                  <a:pt x="529" y="73"/>
                  <a:pt x="531" y="74"/>
                  <a:pt x="532" y="74"/>
                </a:cubicBezTo>
                <a:cubicBezTo>
                  <a:pt x="530" y="76"/>
                  <a:pt x="530" y="76"/>
                  <a:pt x="530" y="76"/>
                </a:cubicBezTo>
                <a:cubicBezTo>
                  <a:pt x="530" y="78"/>
                  <a:pt x="533" y="79"/>
                  <a:pt x="535" y="80"/>
                </a:cubicBezTo>
                <a:cubicBezTo>
                  <a:pt x="535" y="80"/>
                  <a:pt x="534" y="80"/>
                  <a:pt x="534" y="80"/>
                </a:cubicBezTo>
                <a:cubicBezTo>
                  <a:pt x="533" y="82"/>
                  <a:pt x="536" y="81"/>
                  <a:pt x="537" y="82"/>
                </a:cubicBezTo>
                <a:cubicBezTo>
                  <a:pt x="535" y="83"/>
                  <a:pt x="535" y="83"/>
                  <a:pt x="535" y="83"/>
                </a:cubicBezTo>
                <a:cubicBezTo>
                  <a:pt x="537" y="83"/>
                  <a:pt x="537" y="83"/>
                  <a:pt x="537" y="83"/>
                </a:cubicBezTo>
                <a:cubicBezTo>
                  <a:pt x="538" y="84"/>
                  <a:pt x="538" y="86"/>
                  <a:pt x="535" y="86"/>
                </a:cubicBezTo>
                <a:cubicBezTo>
                  <a:pt x="536" y="86"/>
                  <a:pt x="536" y="87"/>
                  <a:pt x="537" y="86"/>
                </a:cubicBezTo>
                <a:cubicBezTo>
                  <a:pt x="536" y="87"/>
                  <a:pt x="535" y="90"/>
                  <a:pt x="535" y="91"/>
                </a:cubicBezTo>
                <a:cubicBezTo>
                  <a:pt x="530" y="91"/>
                  <a:pt x="523" y="91"/>
                  <a:pt x="518" y="91"/>
                </a:cubicBezTo>
                <a:cubicBezTo>
                  <a:pt x="516" y="91"/>
                  <a:pt x="516" y="91"/>
                  <a:pt x="515" y="91"/>
                </a:cubicBezTo>
                <a:cubicBezTo>
                  <a:pt x="510" y="89"/>
                  <a:pt x="499" y="90"/>
                  <a:pt x="493" y="88"/>
                </a:cubicBezTo>
                <a:cubicBezTo>
                  <a:pt x="494" y="89"/>
                  <a:pt x="489" y="90"/>
                  <a:pt x="485" y="90"/>
                </a:cubicBezTo>
                <a:cubicBezTo>
                  <a:pt x="479" y="90"/>
                  <a:pt x="486" y="88"/>
                  <a:pt x="483" y="87"/>
                </a:cubicBezTo>
                <a:cubicBezTo>
                  <a:pt x="480" y="87"/>
                  <a:pt x="476" y="87"/>
                  <a:pt x="475" y="87"/>
                </a:cubicBezTo>
                <a:cubicBezTo>
                  <a:pt x="475" y="87"/>
                  <a:pt x="475" y="87"/>
                  <a:pt x="475" y="87"/>
                </a:cubicBezTo>
                <a:cubicBezTo>
                  <a:pt x="472" y="87"/>
                  <a:pt x="468" y="87"/>
                  <a:pt x="466" y="86"/>
                </a:cubicBezTo>
                <a:cubicBezTo>
                  <a:pt x="466" y="86"/>
                  <a:pt x="466" y="86"/>
                  <a:pt x="466" y="86"/>
                </a:cubicBezTo>
                <a:cubicBezTo>
                  <a:pt x="464" y="86"/>
                  <a:pt x="463" y="85"/>
                  <a:pt x="460" y="85"/>
                </a:cubicBezTo>
                <a:cubicBezTo>
                  <a:pt x="457" y="85"/>
                  <a:pt x="453" y="84"/>
                  <a:pt x="450" y="85"/>
                </a:cubicBezTo>
                <a:cubicBezTo>
                  <a:pt x="450" y="84"/>
                  <a:pt x="450" y="84"/>
                  <a:pt x="450" y="84"/>
                </a:cubicBezTo>
                <a:cubicBezTo>
                  <a:pt x="448" y="85"/>
                  <a:pt x="448" y="85"/>
                  <a:pt x="448" y="85"/>
                </a:cubicBezTo>
                <a:cubicBezTo>
                  <a:pt x="444" y="84"/>
                  <a:pt x="444" y="84"/>
                  <a:pt x="444" y="84"/>
                </a:cubicBezTo>
                <a:cubicBezTo>
                  <a:pt x="446" y="84"/>
                  <a:pt x="447" y="83"/>
                  <a:pt x="448" y="83"/>
                </a:cubicBezTo>
                <a:cubicBezTo>
                  <a:pt x="444" y="82"/>
                  <a:pt x="445" y="84"/>
                  <a:pt x="442" y="84"/>
                </a:cubicBezTo>
                <a:cubicBezTo>
                  <a:pt x="437" y="84"/>
                  <a:pt x="439" y="83"/>
                  <a:pt x="438" y="83"/>
                </a:cubicBezTo>
                <a:cubicBezTo>
                  <a:pt x="440" y="83"/>
                  <a:pt x="440" y="83"/>
                  <a:pt x="441" y="83"/>
                </a:cubicBezTo>
                <a:cubicBezTo>
                  <a:pt x="445" y="83"/>
                  <a:pt x="440" y="83"/>
                  <a:pt x="440" y="82"/>
                </a:cubicBezTo>
                <a:cubicBezTo>
                  <a:pt x="440" y="82"/>
                  <a:pt x="438" y="83"/>
                  <a:pt x="435" y="82"/>
                </a:cubicBezTo>
                <a:cubicBezTo>
                  <a:pt x="433" y="82"/>
                  <a:pt x="428" y="82"/>
                  <a:pt x="430" y="81"/>
                </a:cubicBezTo>
                <a:cubicBezTo>
                  <a:pt x="427" y="81"/>
                  <a:pt x="425" y="81"/>
                  <a:pt x="423" y="81"/>
                </a:cubicBezTo>
                <a:cubicBezTo>
                  <a:pt x="424" y="81"/>
                  <a:pt x="427" y="82"/>
                  <a:pt x="427" y="82"/>
                </a:cubicBezTo>
                <a:cubicBezTo>
                  <a:pt x="425" y="82"/>
                  <a:pt x="421" y="82"/>
                  <a:pt x="421" y="82"/>
                </a:cubicBezTo>
                <a:cubicBezTo>
                  <a:pt x="423" y="82"/>
                  <a:pt x="423" y="82"/>
                  <a:pt x="423" y="82"/>
                </a:cubicBezTo>
                <a:cubicBezTo>
                  <a:pt x="421" y="82"/>
                  <a:pt x="417" y="81"/>
                  <a:pt x="418" y="82"/>
                </a:cubicBezTo>
                <a:cubicBezTo>
                  <a:pt x="417" y="80"/>
                  <a:pt x="417" y="80"/>
                  <a:pt x="417" y="80"/>
                </a:cubicBezTo>
                <a:cubicBezTo>
                  <a:pt x="414" y="81"/>
                  <a:pt x="411" y="80"/>
                  <a:pt x="408" y="80"/>
                </a:cubicBezTo>
                <a:cubicBezTo>
                  <a:pt x="409" y="79"/>
                  <a:pt x="413" y="79"/>
                  <a:pt x="408" y="78"/>
                </a:cubicBezTo>
                <a:cubicBezTo>
                  <a:pt x="402" y="78"/>
                  <a:pt x="402" y="78"/>
                  <a:pt x="402" y="78"/>
                </a:cubicBezTo>
                <a:cubicBezTo>
                  <a:pt x="400" y="78"/>
                  <a:pt x="399" y="78"/>
                  <a:pt x="401" y="77"/>
                </a:cubicBezTo>
                <a:cubicBezTo>
                  <a:pt x="393" y="76"/>
                  <a:pt x="388" y="78"/>
                  <a:pt x="383" y="77"/>
                </a:cubicBezTo>
                <a:cubicBezTo>
                  <a:pt x="387" y="76"/>
                  <a:pt x="385" y="76"/>
                  <a:pt x="383" y="75"/>
                </a:cubicBezTo>
                <a:cubicBezTo>
                  <a:pt x="383" y="75"/>
                  <a:pt x="382" y="76"/>
                  <a:pt x="380" y="76"/>
                </a:cubicBezTo>
                <a:cubicBezTo>
                  <a:pt x="380" y="76"/>
                  <a:pt x="383" y="75"/>
                  <a:pt x="384" y="76"/>
                </a:cubicBezTo>
                <a:cubicBezTo>
                  <a:pt x="384" y="77"/>
                  <a:pt x="381" y="76"/>
                  <a:pt x="379" y="76"/>
                </a:cubicBezTo>
                <a:cubicBezTo>
                  <a:pt x="378" y="73"/>
                  <a:pt x="361" y="73"/>
                  <a:pt x="354" y="71"/>
                </a:cubicBezTo>
                <a:cubicBezTo>
                  <a:pt x="352" y="72"/>
                  <a:pt x="349" y="71"/>
                  <a:pt x="346" y="71"/>
                </a:cubicBezTo>
                <a:cubicBezTo>
                  <a:pt x="349" y="70"/>
                  <a:pt x="340" y="71"/>
                  <a:pt x="339" y="70"/>
                </a:cubicBezTo>
                <a:cubicBezTo>
                  <a:pt x="338" y="71"/>
                  <a:pt x="338" y="71"/>
                  <a:pt x="338" y="71"/>
                </a:cubicBezTo>
                <a:cubicBezTo>
                  <a:pt x="333" y="70"/>
                  <a:pt x="325" y="71"/>
                  <a:pt x="324" y="70"/>
                </a:cubicBezTo>
                <a:cubicBezTo>
                  <a:pt x="321" y="69"/>
                  <a:pt x="327" y="69"/>
                  <a:pt x="329" y="69"/>
                </a:cubicBezTo>
                <a:cubicBezTo>
                  <a:pt x="327" y="67"/>
                  <a:pt x="314" y="69"/>
                  <a:pt x="313" y="67"/>
                </a:cubicBezTo>
                <a:cubicBezTo>
                  <a:pt x="312" y="67"/>
                  <a:pt x="312" y="68"/>
                  <a:pt x="307" y="68"/>
                </a:cubicBezTo>
                <a:cubicBezTo>
                  <a:pt x="305" y="68"/>
                  <a:pt x="299" y="66"/>
                  <a:pt x="300" y="66"/>
                </a:cubicBezTo>
                <a:cubicBezTo>
                  <a:pt x="297" y="66"/>
                  <a:pt x="295" y="67"/>
                  <a:pt x="293" y="66"/>
                </a:cubicBezTo>
                <a:cubicBezTo>
                  <a:pt x="294" y="66"/>
                  <a:pt x="295" y="66"/>
                  <a:pt x="297" y="66"/>
                </a:cubicBezTo>
                <a:cubicBezTo>
                  <a:pt x="292" y="65"/>
                  <a:pt x="287" y="65"/>
                  <a:pt x="282" y="65"/>
                </a:cubicBezTo>
                <a:cubicBezTo>
                  <a:pt x="281" y="64"/>
                  <a:pt x="271" y="64"/>
                  <a:pt x="263" y="64"/>
                </a:cubicBezTo>
                <a:cubicBezTo>
                  <a:pt x="259" y="65"/>
                  <a:pt x="244" y="65"/>
                  <a:pt x="240" y="69"/>
                </a:cubicBezTo>
                <a:cubicBezTo>
                  <a:pt x="240" y="68"/>
                  <a:pt x="238" y="69"/>
                  <a:pt x="237" y="70"/>
                </a:cubicBezTo>
                <a:cubicBezTo>
                  <a:pt x="235" y="72"/>
                  <a:pt x="239" y="72"/>
                  <a:pt x="239" y="73"/>
                </a:cubicBezTo>
                <a:cubicBezTo>
                  <a:pt x="236" y="73"/>
                  <a:pt x="236" y="73"/>
                  <a:pt x="236" y="73"/>
                </a:cubicBezTo>
                <a:cubicBezTo>
                  <a:pt x="233" y="74"/>
                  <a:pt x="237" y="76"/>
                  <a:pt x="236" y="77"/>
                </a:cubicBezTo>
                <a:cubicBezTo>
                  <a:pt x="238" y="76"/>
                  <a:pt x="237" y="78"/>
                  <a:pt x="239" y="77"/>
                </a:cubicBezTo>
                <a:cubicBezTo>
                  <a:pt x="241" y="78"/>
                  <a:pt x="241" y="78"/>
                  <a:pt x="241" y="78"/>
                </a:cubicBezTo>
                <a:cubicBezTo>
                  <a:pt x="243" y="80"/>
                  <a:pt x="242" y="78"/>
                  <a:pt x="245" y="80"/>
                </a:cubicBezTo>
                <a:cubicBezTo>
                  <a:pt x="246" y="81"/>
                  <a:pt x="242" y="81"/>
                  <a:pt x="242" y="81"/>
                </a:cubicBezTo>
                <a:cubicBezTo>
                  <a:pt x="241" y="82"/>
                  <a:pt x="243" y="82"/>
                  <a:pt x="245" y="83"/>
                </a:cubicBezTo>
                <a:cubicBezTo>
                  <a:pt x="245" y="83"/>
                  <a:pt x="245" y="83"/>
                  <a:pt x="246" y="83"/>
                </a:cubicBezTo>
                <a:cubicBezTo>
                  <a:pt x="245" y="83"/>
                  <a:pt x="245" y="83"/>
                  <a:pt x="245" y="83"/>
                </a:cubicBezTo>
                <a:cubicBezTo>
                  <a:pt x="246" y="84"/>
                  <a:pt x="246" y="84"/>
                  <a:pt x="247" y="84"/>
                </a:cubicBezTo>
                <a:cubicBezTo>
                  <a:pt x="247" y="84"/>
                  <a:pt x="247" y="84"/>
                  <a:pt x="247" y="84"/>
                </a:cubicBezTo>
                <a:cubicBezTo>
                  <a:pt x="246" y="84"/>
                  <a:pt x="246" y="84"/>
                  <a:pt x="245" y="83"/>
                </a:cubicBezTo>
                <a:cubicBezTo>
                  <a:pt x="245" y="84"/>
                  <a:pt x="246" y="84"/>
                  <a:pt x="246" y="84"/>
                </a:cubicBezTo>
                <a:cubicBezTo>
                  <a:pt x="246" y="85"/>
                  <a:pt x="246" y="85"/>
                  <a:pt x="246" y="85"/>
                </a:cubicBezTo>
                <a:cubicBezTo>
                  <a:pt x="247" y="85"/>
                  <a:pt x="247" y="85"/>
                  <a:pt x="247" y="85"/>
                </a:cubicBezTo>
                <a:cubicBezTo>
                  <a:pt x="245" y="86"/>
                  <a:pt x="245" y="86"/>
                  <a:pt x="245" y="86"/>
                </a:cubicBezTo>
                <a:cubicBezTo>
                  <a:pt x="245" y="86"/>
                  <a:pt x="250" y="87"/>
                  <a:pt x="251" y="87"/>
                </a:cubicBezTo>
                <a:cubicBezTo>
                  <a:pt x="252" y="90"/>
                  <a:pt x="260" y="94"/>
                  <a:pt x="263" y="95"/>
                </a:cubicBezTo>
                <a:cubicBezTo>
                  <a:pt x="262" y="95"/>
                  <a:pt x="262" y="95"/>
                  <a:pt x="263" y="95"/>
                </a:cubicBezTo>
                <a:cubicBezTo>
                  <a:pt x="265" y="96"/>
                  <a:pt x="268" y="96"/>
                  <a:pt x="267" y="96"/>
                </a:cubicBezTo>
                <a:cubicBezTo>
                  <a:pt x="269" y="97"/>
                  <a:pt x="266" y="97"/>
                  <a:pt x="268" y="99"/>
                </a:cubicBezTo>
                <a:cubicBezTo>
                  <a:pt x="268" y="99"/>
                  <a:pt x="270" y="98"/>
                  <a:pt x="269" y="98"/>
                </a:cubicBezTo>
                <a:cubicBezTo>
                  <a:pt x="270" y="101"/>
                  <a:pt x="279" y="102"/>
                  <a:pt x="281" y="105"/>
                </a:cubicBezTo>
                <a:cubicBezTo>
                  <a:pt x="280" y="105"/>
                  <a:pt x="279" y="105"/>
                  <a:pt x="278" y="105"/>
                </a:cubicBezTo>
                <a:cubicBezTo>
                  <a:pt x="282" y="106"/>
                  <a:pt x="285" y="108"/>
                  <a:pt x="291" y="109"/>
                </a:cubicBezTo>
                <a:cubicBezTo>
                  <a:pt x="289" y="109"/>
                  <a:pt x="289" y="109"/>
                  <a:pt x="287" y="109"/>
                </a:cubicBezTo>
                <a:cubicBezTo>
                  <a:pt x="289" y="110"/>
                  <a:pt x="292" y="112"/>
                  <a:pt x="295" y="112"/>
                </a:cubicBezTo>
                <a:cubicBezTo>
                  <a:pt x="295" y="111"/>
                  <a:pt x="294" y="112"/>
                  <a:pt x="293" y="111"/>
                </a:cubicBezTo>
                <a:cubicBezTo>
                  <a:pt x="293" y="110"/>
                  <a:pt x="298" y="111"/>
                  <a:pt x="299" y="112"/>
                </a:cubicBezTo>
                <a:cubicBezTo>
                  <a:pt x="299" y="112"/>
                  <a:pt x="299" y="112"/>
                  <a:pt x="299" y="112"/>
                </a:cubicBezTo>
                <a:cubicBezTo>
                  <a:pt x="301" y="113"/>
                  <a:pt x="302" y="113"/>
                  <a:pt x="304" y="114"/>
                </a:cubicBezTo>
                <a:cubicBezTo>
                  <a:pt x="304" y="115"/>
                  <a:pt x="302" y="114"/>
                  <a:pt x="302" y="115"/>
                </a:cubicBezTo>
                <a:cubicBezTo>
                  <a:pt x="299" y="116"/>
                  <a:pt x="304" y="118"/>
                  <a:pt x="304" y="118"/>
                </a:cubicBezTo>
                <a:cubicBezTo>
                  <a:pt x="306" y="118"/>
                  <a:pt x="307" y="119"/>
                  <a:pt x="308" y="118"/>
                </a:cubicBezTo>
                <a:cubicBezTo>
                  <a:pt x="310" y="119"/>
                  <a:pt x="307" y="119"/>
                  <a:pt x="308" y="120"/>
                </a:cubicBezTo>
                <a:cubicBezTo>
                  <a:pt x="318" y="121"/>
                  <a:pt x="318" y="121"/>
                  <a:pt x="318" y="121"/>
                </a:cubicBezTo>
                <a:cubicBezTo>
                  <a:pt x="317" y="121"/>
                  <a:pt x="317" y="123"/>
                  <a:pt x="314" y="122"/>
                </a:cubicBezTo>
                <a:cubicBezTo>
                  <a:pt x="318" y="124"/>
                  <a:pt x="324" y="124"/>
                  <a:pt x="328" y="125"/>
                </a:cubicBezTo>
                <a:cubicBezTo>
                  <a:pt x="329" y="126"/>
                  <a:pt x="333" y="127"/>
                  <a:pt x="334" y="128"/>
                </a:cubicBezTo>
                <a:cubicBezTo>
                  <a:pt x="333" y="129"/>
                  <a:pt x="334" y="127"/>
                  <a:pt x="332" y="128"/>
                </a:cubicBezTo>
                <a:cubicBezTo>
                  <a:pt x="332" y="129"/>
                  <a:pt x="332" y="129"/>
                  <a:pt x="332" y="129"/>
                </a:cubicBezTo>
                <a:cubicBezTo>
                  <a:pt x="329" y="128"/>
                  <a:pt x="329" y="130"/>
                  <a:pt x="326" y="130"/>
                </a:cubicBezTo>
                <a:cubicBezTo>
                  <a:pt x="329" y="131"/>
                  <a:pt x="332" y="133"/>
                  <a:pt x="335" y="135"/>
                </a:cubicBezTo>
                <a:cubicBezTo>
                  <a:pt x="336" y="133"/>
                  <a:pt x="340" y="137"/>
                  <a:pt x="343" y="136"/>
                </a:cubicBezTo>
                <a:cubicBezTo>
                  <a:pt x="347" y="138"/>
                  <a:pt x="342" y="138"/>
                  <a:pt x="342" y="139"/>
                </a:cubicBezTo>
                <a:cubicBezTo>
                  <a:pt x="347" y="140"/>
                  <a:pt x="349" y="143"/>
                  <a:pt x="352" y="144"/>
                </a:cubicBezTo>
                <a:cubicBezTo>
                  <a:pt x="352" y="144"/>
                  <a:pt x="352" y="144"/>
                  <a:pt x="351" y="144"/>
                </a:cubicBezTo>
                <a:cubicBezTo>
                  <a:pt x="355" y="146"/>
                  <a:pt x="358" y="149"/>
                  <a:pt x="363" y="150"/>
                </a:cubicBezTo>
                <a:cubicBezTo>
                  <a:pt x="363" y="150"/>
                  <a:pt x="362" y="150"/>
                  <a:pt x="361" y="150"/>
                </a:cubicBezTo>
                <a:cubicBezTo>
                  <a:pt x="362" y="152"/>
                  <a:pt x="366" y="149"/>
                  <a:pt x="367" y="152"/>
                </a:cubicBezTo>
                <a:cubicBezTo>
                  <a:pt x="364" y="152"/>
                  <a:pt x="364" y="152"/>
                  <a:pt x="364" y="152"/>
                </a:cubicBezTo>
                <a:cubicBezTo>
                  <a:pt x="368" y="153"/>
                  <a:pt x="366" y="155"/>
                  <a:pt x="371" y="156"/>
                </a:cubicBezTo>
                <a:cubicBezTo>
                  <a:pt x="370" y="156"/>
                  <a:pt x="369" y="156"/>
                  <a:pt x="368" y="156"/>
                </a:cubicBezTo>
                <a:cubicBezTo>
                  <a:pt x="371" y="157"/>
                  <a:pt x="372" y="159"/>
                  <a:pt x="376" y="160"/>
                </a:cubicBezTo>
                <a:cubicBezTo>
                  <a:pt x="375" y="160"/>
                  <a:pt x="374" y="160"/>
                  <a:pt x="372" y="160"/>
                </a:cubicBezTo>
                <a:cubicBezTo>
                  <a:pt x="372" y="161"/>
                  <a:pt x="377" y="161"/>
                  <a:pt x="376" y="162"/>
                </a:cubicBezTo>
                <a:cubicBezTo>
                  <a:pt x="376" y="163"/>
                  <a:pt x="375" y="164"/>
                  <a:pt x="375" y="164"/>
                </a:cubicBezTo>
                <a:cubicBezTo>
                  <a:pt x="378" y="164"/>
                  <a:pt x="376" y="167"/>
                  <a:pt x="370" y="167"/>
                </a:cubicBezTo>
                <a:cubicBezTo>
                  <a:pt x="370" y="167"/>
                  <a:pt x="368" y="167"/>
                  <a:pt x="365" y="167"/>
                </a:cubicBezTo>
                <a:cubicBezTo>
                  <a:pt x="339" y="166"/>
                  <a:pt x="317" y="163"/>
                  <a:pt x="293" y="161"/>
                </a:cubicBezTo>
                <a:cubicBezTo>
                  <a:pt x="292" y="159"/>
                  <a:pt x="300" y="161"/>
                  <a:pt x="299" y="160"/>
                </a:cubicBezTo>
                <a:cubicBezTo>
                  <a:pt x="297" y="161"/>
                  <a:pt x="295" y="159"/>
                  <a:pt x="288" y="159"/>
                </a:cubicBezTo>
                <a:cubicBezTo>
                  <a:pt x="288" y="159"/>
                  <a:pt x="288" y="159"/>
                  <a:pt x="288" y="159"/>
                </a:cubicBezTo>
                <a:cubicBezTo>
                  <a:pt x="285" y="158"/>
                  <a:pt x="285" y="157"/>
                  <a:pt x="281" y="157"/>
                </a:cubicBezTo>
                <a:cubicBezTo>
                  <a:pt x="280" y="158"/>
                  <a:pt x="280" y="158"/>
                  <a:pt x="280" y="158"/>
                </a:cubicBezTo>
                <a:cubicBezTo>
                  <a:pt x="276" y="158"/>
                  <a:pt x="276" y="155"/>
                  <a:pt x="272" y="156"/>
                </a:cubicBezTo>
                <a:cubicBezTo>
                  <a:pt x="271" y="155"/>
                  <a:pt x="271" y="155"/>
                  <a:pt x="271" y="155"/>
                </a:cubicBezTo>
                <a:cubicBezTo>
                  <a:pt x="265" y="156"/>
                  <a:pt x="267" y="154"/>
                  <a:pt x="261" y="154"/>
                </a:cubicBezTo>
                <a:cubicBezTo>
                  <a:pt x="262" y="154"/>
                  <a:pt x="262" y="154"/>
                  <a:pt x="262" y="154"/>
                </a:cubicBezTo>
                <a:cubicBezTo>
                  <a:pt x="258" y="153"/>
                  <a:pt x="249" y="154"/>
                  <a:pt x="249" y="152"/>
                </a:cubicBezTo>
                <a:cubicBezTo>
                  <a:pt x="244" y="152"/>
                  <a:pt x="239" y="151"/>
                  <a:pt x="236" y="152"/>
                </a:cubicBezTo>
                <a:cubicBezTo>
                  <a:pt x="236" y="151"/>
                  <a:pt x="238" y="151"/>
                  <a:pt x="239" y="151"/>
                </a:cubicBezTo>
                <a:cubicBezTo>
                  <a:pt x="222" y="149"/>
                  <a:pt x="205" y="145"/>
                  <a:pt x="188" y="144"/>
                </a:cubicBezTo>
                <a:cubicBezTo>
                  <a:pt x="188" y="143"/>
                  <a:pt x="189" y="144"/>
                  <a:pt x="190" y="143"/>
                </a:cubicBezTo>
                <a:cubicBezTo>
                  <a:pt x="179" y="143"/>
                  <a:pt x="175" y="139"/>
                  <a:pt x="164" y="140"/>
                </a:cubicBezTo>
                <a:cubicBezTo>
                  <a:pt x="160" y="140"/>
                  <a:pt x="160" y="140"/>
                  <a:pt x="160" y="140"/>
                </a:cubicBezTo>
                <a:cubicBezTo>
                  <a:pt x="159" y="139"/>
                  <a:pt x="160" y="139"/>
                  <a:pt x="159" y="138"/>
                </a:cubicBezTo>
                <a:cubicBezTo>
                  <a:pt x="156" y="139"/>
                  <a:pt x="151" y="137"/>
                  <a:pt x="148" y="138"/>
                </a:cubicBezTo>
                <a:cubicBezTo>
                  <a:pt x="148" y="137"/>
                  <a:pt x="150" y="137"/>
                  <a:pt x="150" y="137"/>
                </a:cubicBezTo>
                <a:cubicBezTo>
                  <a:pt x="147" y="136"/>
                  <a:pt x="139" y="136"/>
                  <a:pt x="136" y="135"/>
                </a:cubicBezTo>
                <a:cubicBezTo>
                  <a:pt x="138" y="135"/>
                  <a:pt x="138" y="135"/>
                  <a:pt x="138" y="135"/>
                </a:cubicBezTo>
                <a:cubicBezTo>
                  <a:pt x="122" y="130"/>
                  <a:pt x="100" y="124"/>
                  <a:pt x="79" y="123"/>
                </a:cubicBezTo>
                <a:cubicBezTo>
                  <a:pt x="74" y="122"/>
                  <a:pt x="80" y="122"/>
                  <a:pt x="78" y="121"/>
                </a:cubicBezTo>
                <a:cubicBezTo>
                  <a:pt x="58" y="120"/>
                  <a:pt x="44" y="114"/>
                  <a:pt x="23" y="113"/>
                </a:cubicBezTo>
                <a:cubicBezTo>
                  <a:pt x="10" y="111"/>
                  <a:pt x="0" y="113"/>
                  <a:pt x="0" y="113"/>
                </a:cubicBezTo>
                <a:cubicBezTo>
                  <a:pt x="31" y="117"/>
                  <a:pt x="53" y="123"/>
                  <a:pt x="78" y="130"/>
                </a:cubicBezTo>
                <a:close/>
                <a:moveTo>
                  <a:pt x="656" y="33"/>
                </a:moveTo>
                <a:cubicBezTo>
                  <a:pt x="656" y="33"/>
                  <a:pt x="656" y="33"/>
                  <a:pt x="656" y="33"/>
                </a:cubicBezTo>
                <a:moveTo>
                  <a:pt x="655" y="33"/>
                </a:moveTo>
                <a:cubicBezTo>
                  <a:pt x="655" y="33"/>
                  <a:pt x="655" y="33"/>
                  <a:pt x="655" y="33"/>
                </a:cubicBezTo>
                <a:cubicBezTo>
                  <a:pt x="656" y="33"/>
                  <a:pt x="656" y="33"/>
                  <a:pt x="655" y="33"/>
                </a:cubicBezTo>
                <a:close/>
                <a:moveTo>
                  <a:pt x="650" y="3"/>
                </a:moveTo>
                <a:cubicBezTo>
                  <a:pt x="650" y="3"/>
                  <a:pt x="650" y="4"/>
                  <a:pt x="650" y="4"/>
                </a:cubicBezTo>
                <a:cubicBezTo>
                  <a:pt x="650" y="4"/>
                  <a:pt x="649" y="4"/>
                  <a:pt x="648" y="5"/>
                </a:cubicBezTo>
                <a:cubicBezTo>
                  <a:pt x="648" y="4"/>
                  <a:pt x="648" y="3"/>
                  <a:pt x="650" y="3"/>
                </a:cubicBezTo>
                <a:close/>
                <a:moveTo>
                  <a:pt x="649" y="34"/>
                </a:moveTo>
                <a:cubicBezTo>
                  <a:pt x="650" y="34"/>
                  <a:pt x="651" y="34"/>
                  <a:pt x="653" y="34"/>
                </a:cubicBezTo>
                <a:cubicBezTo>
                  <a:pt x="653" y="33"/>
                  <a:pt x="653" y="33"/>
                  <a:pt x="653" y="33"/>
                </a:cubicBezTo>
                <a:cubicBezTo>
                  <a:pt x="653" y="34"/>
                  <a:pt x="653" y="34"/>
                  <a:pt x="653" y="34"/>
                </a:cubicBezTo>
                <a:cubicBezTo>
                  <a:pt x="654" y="34"/>
                  <a:pt x="655" y="33"/>
                  <a:pt x="655" y="33"/>
                </a:cubicBezTo>
                <a:cubicBezTo>
                  <a:pt x="654" y="34"/>
                  <a:pt x="654" y="34"/>
                  <a:pt x="653" y="34"/>
                </a:cubicBezTo>
                <a:cubicBezTo>
                  <a:pt x="653" y="34"/>
                  <a:pt x="653" y="35"/>
                  <a:pt x="652" y="35"/>
                </a:cubicBezTo>
                <a:cubicBezTo>
                  <a:pt x="652" y="35"/>
                  <a:pt x="652" y="35"/>
                  <a:pt x="652" y="35"/>
                </a:cubicBezTo>
                <a:cubicBezTo>
                  <a:pt x="652" y="35"/>
                  <a:pt x="651" y="35"/>
                  <a:pt x="650" y="35"/>
                </a:cubicBezTo>
                <a:cubicBezTo>
                  <a:pt x="649" y="35"/>
                  <a:pt x="649" y="35"/>
                  <a:pt x="649" y="35"/>
                </a:cubicBezTo>
                <a:cubicBezTo>
                  <a:pt x="647" y="36"/>
                  <a:pt x="650" y="36"/>
                  <a:pt x="648" y="37"/>
                </a:cubicBezTo>
                <a:cubicBezTo>
                  <a:pt x="646" y="37"/>
                  <a:pt x="644" y="37"/>
                  <a:pt x="643" y="37"/>
                </a:cubicBezTo>
                <a:cubicBezTo>
                  <a:pt x="643" y="36"/>
                  <a:pt x="646" y="35"/>
                  <a:pt x="640" y="34"/>
                </a:cubicBezTo>
                <a:cubicBezTo>
                  <a:pt x="644" y="33"/>
                  <a:pt x="649" y="35"/>
                  <a:pt x="649" y="34"/>
                </a:cubicBezTo>
                <a:close/>
                <a:moveTo>
                  <a:pt x="539" y="91"/>
                </a:moveTo>
                <a:cubicBezTo>
                  <a:pt x="541" y="91"/>
                  <a:pt x="537" y="92"/>
                  <a:pt x="538" y="92"/>
                </a:cubicBezTo>
                <a:cubicBezTo>
                  <a:pt x="537" y="92"/>
                  <a:pt x="535" y="93"/>
                  <a:pt x="535" y="92"/>
                </a:cubicBezTo>
                <a:cubicBezTo>
                  <a:pt x="538" y="92"/>
                  <a:pt x="539" y="91"/>
                  <a:pt x="539" y="91"/>
                </a:cubicBezTo>
                <a:close/>
              </a:path>
            </a:pathLst>
          </a:custGeom>
          <a:solidFill>
            <a:schemeClr val="bg1">
              <a:lumMod val="85000"/>
            </a:schemeClr>
          </a:solidFill>
          <a:ln>
            <a:noFill/>
          </a:ln>
          <a:extLst/>
        </p:spPr>
        <p:txBody>
          <a:bodyPr wrap="square" lIns="91440" tIns="45720" rIns="91440" bIns="45720" anchor="ctr">
            <a:normAutofit/>
          </a:bodyPr>
          <a:lstStyle/>
          <a:p>
            <a:pPr algn="ctr"/>
            <a:endParaRPr/>
          </a:p>
        </p:txBody>
      </p:sp>
      <p:grpSp>
        <p:nvGrpSpPr>
          <p:cNvPr id="141" name="组合 140"/>
          <p:cNvGrpSpPr/>
          <p:nvPr/>
        </p:nvGrpSpPr>
        <p:grpSpPr>
          <a:xfrm>
            <a:off x="785719" y="2128945"/>
            <a:ext cx="10850563" cy="3499369"/>
            <a:chOff x="669924" y="1889308"/>
            <a:chExt cx="10850563" cy="3499369"/>
          </a:xfrm>
        </p:grpSpPr>
        <p:grpSp>
          <p:nvGrpSpPr>
            <p:cNvPr id="5" name="d24af4d3-2ce9-43ee-b8d4-1a224eca20fd"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p:cNvGrpSpPr>
              <a:grpSpLocks noChangeAspect="1"/>
            </p:cNvGrpSpPr>
            <p:nvPr>
              <p:custDataLst>
                <p:tags r:id="rId1"/>
              </p:custDataLst>
            </p:nvPr>
          </p:nvGrpSpPr>
          <p:grpSpPr>
            <a:xfrm>
              <a:off x="669924" y="2202038"/>
              <a:ext cx="10850563" cy="2865087"/>
              <a:chOff x="1" y="1821663"/>
              <a:chExt cx="8075999" cy="2865087"/>
            </a:xfrm>
          </p:grpSpPr>
          <p:sp>
            <p:nvSpPr>
              <p:cNvPr id="6" name="îṡḷîḓé">
                <a:extLst>
                  <a:ext uri="{FF2B5EF4-FFF2-40B4-BE49-F238E27FC236}">
                    <a16:creationId xmlns:a16="http://schemas.microsoft.com/office/drawing/2014/main" id="{6BF7A20F-B2F3-4B92-A7B2-4F1A966B1F26}"/>
                  </a:ext>
                </a:extLst>
              </p:cNvPr>
              <p:cNvSpPr/>
              <p:nvPr/>
            </p:nvSpPr>
            <p:spPr>
              <a:xfrm>
                <a:off x="1" y="1839308"/>
                <a:ext cx="8075999" cy="2847442"/>
              </a:xfrm>
              <a:prstGeom prst="homePlate">
                <a:avLst>
                  <a:gd name="adj" fmla="val 36237"/>
                </a:avLst>
              </a:prstGeom>
              <a:pattFill prst="pct5">
                <a:fgClr>
                  <a:srgbClr val="E4E6EA"/>
                </a:fgClr>
                <a:bgClr>
                  <a:srgbClr val="ADB5BF"/>
                </a:bgClr>
              </a:patt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a:p>
            </p:txBody>
          </p:sp>
          <p:sp>
            <p:nvSpPr>
              <p:cNvPr id="7" name="isļíḓè">
                <a:extLst>
                  <a:ext uri="{FF2B5EF4-FFF2-40B4-BE49-F238E27FC236}">
                    <a16:creationId xmlns:a16="http://schemas.microsoft.com/office/drawing/2014/main" id="{7E805008-6ED9-4D72-9896-4FB6E9174BB8}"/>
                  </a:ext>
                </a:extLst>
              </p:cNvPr>
              <p:cNvSpPr/>
              <p:nvPr/>
            </p:nvSpPr>
            <p:spPr>
              <a:xfrm>
                <a:off x="669924" y="1821663"/>
                <a:ext cx="6371076" cy="2865087"/>
              </a:xfrm>
              <a:prstGeom prst="rect">
                <a:avLst/>
              </a:pr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a:p>
            </p:txBody>
          </p:sp>
          <p:cxnSp>
            <p:nvCxnSpPr>
              <p:cNvPr id="13" name="直接连接符 12">
                <a:extLst>
                  <a:ext uri="{FF2B5EF4-FFF2-40B4-BE49-F238E27FC236}">
                    <a16:creationId xmlns:a16="http://schemas.microsoft.com/office/drawing/2014/main" id="{7ECC7B00-C598-4387-A249-1791A4E40D81}"/>
                  </a:ext>
                </a:extLst>
              </p:cNvPr>
              <p:cNvCxnSpPr/>
              <p:nvPr/>
            </p:nvCxnSpPr>
            <p:spPr>
              <a:xfrm>
                <a:off x="4601164" y="2683050"/>
                <a:ext cx="0" cy="1415333"/>
              </a:xfrm>
              <a:prstGeom prst="line">
                <a:avLst/>
              </a:prstGeom>
              <a:ln w="3175" cap="rnd">
                <a:solidFill>
                  <a:schemeClr val="bg1">
                    <a:lumMod val="75000"/>
                  </a:schemeClr>
                </a:solidFill>
                <a:round/>
                <a:headEnd type="none"/>
                <a:tailEnd type="none" w="med" len="med"/>
              </a:ln>
            </p:spPr>
            <p:style>
              <a:lnRef idx="1">
                <a:schemeClr val="accent1"/>
              </a:lnRef>
              <a:fillRef idx="0">
                <a:schemeClr val="accent1"/>
              </a:fillRef>
              <a:effectRef idx="0">
                <a:schemeClr val="accent1"/>
              </a:effectRef>
              <a:fontRef idx="minor">
                <a:schemeClr val="tx1"/>
              </a:fontRef>
            </p:style>
          </p:cxnSp>
        </p:grpSp>
        <p:pic>
          <p:nvPicPr>
            <p:cNvPr id="23" name="图片 22"/>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7217015" y="1889308"/>
              <a:ext cx="2617910" cy="3490546"/>
            </a:xfrm>
            <a:prstGeom prst="rect">
              <a:avLst/>
            </a:prstGeom>
          </p:spPr>
        </p:pic>
        <p:pic>
          <p:nvPicPr>
            <p:cNvPr id="22" name="图片 21"/>
            <p:cNvPicPr>
              <a:picLocks noChangeAspect="1"/>
            </p:cNvPicPr>
            <p:nvPr/>
          </p:nvPicPr>
          <p:blipFill>
            <a:blip r:embed="rId4" cstate="email">
              <a:extLst>
                <a:ext uri="{28A0092B-C50C-407E-A947-70E740481C1C}">
                  <a14:useLocalDpi xmlns:a14="http://schemas.microsoft.com/office/drawing/2010/main" val="0"/>
                </a:ext>
              </a:extLst>
            </a:blip>
            <a:stretch>
              <a:fillRect/>
            </a:stretch>
          </p:blipFill>
          <p:spPr>
            <a:xfrm>
              <a:off x="1813555" y="1898131"/>
              <a:ext cx="4654061" cy="3490546"/>
            </a:xfrm>
            <a:prstGeom prst="rect">
              <a:avLst/>
            </a:prstGeom>
          </p:spPr>
        </p:pic>
      </p:grpSp>
    </p:spTree>
    <p:extLst>
      <p:ext uri="{BB962C8B-B14F-4D97-AF65-F5344CB8AC3E}">
        <p14:creationId xmlns:p14="http://schemas.microsoft.com/office/powerpoint/2010/main" val="591984543"/>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îṡḷîḓé">
            <a:extLst>
              <a:ext uri="{FF2B5EF4-FFF2-40B4-BE49-F238E27FC236}">
                <a16:creationId xmlns:a16="http://schemas.microsoft.com/office/drawing/2014/main" id="{6BF7A20F-B2F3-4B92-A7B2-4F1A966B1F26}"/>
              </a:ext>
            </a:extLst>
          </p:cNvPr>
          <p:cNvSpPr/>
          <p:nvPr/>
        </p:nvSpPr>
        <p:spPr>
          <a:xfrm rot="5400000">
            <a:off x="5985334" y="2596428"/>
            <a:ext cx="5675703" cy="2847442"/>
          </a:xfrm>
          <a:prstGeom prst="homePlate">
            <a:avLst>
              <a:gd name="adj" fmla="val 36237"/>
            </a:avLst>
          </a:prstGeom>
          <a:pattFill prst="pct5">
            <a:fgClr>
              <a:srgbClr val="E4E6EA"/>
            </a:fgClr>
            <a:bgClr>
              <a:srgbClr val="ADB5BF"/>
            </a:bgClr>
          </a:patt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a:p>
        </p:txBody>
      </p:sp>
      <p:sp>
        <p:nvSpPr>
          <p:cNvPr id="2" name="标题 1"/>
          <p:cNvSpPr>
            <a:spLocks noGrp="1"/>
          </p:cNvSpPr>
          <p:nvPr>
            <p:ph type="title"/>
          </p:nvPr>
        </p:nvSpPr>
        <p:spPr/>
        <p:txBody>
          <a:bodyPr/>
          <a:lstStyle/>
          <a:p>
            <a:r>
              <a:rPr lang="zh-CN" altLang="en-US" dirty="0" smtClean="0"/>
              <a:t>无人仓库运行实景</a:t>
            </a:r>
            <a:endParaRPr lang="zh-CN" altLang="en-US" dirty="0"/>
          </a:p>
        </p:txBody>
      </p:sp>
      <p:grpSp>
        <p:nvGrpSpPr>
          <p:cNvPr id="9" name="组合 8"/>
          <p:cNvGrpSpPr/>
          <p:nvPr/>
        </p:nvGrpSpPr>
        <p:grpSpPr>
          <a:xfrm>
            <a:off x="2034986" y="1500200"/>
            <a:ext cx="2865368" cy="4784396"/>
            <a:chOff x="2034986" y="1500200"/>
            <a:chExt cx="2865368" cy="4784396"/>
          </a:xfrm>
        </p:grpSpPr>
        <p:pic>
          <p:nvPicPr>
            <p:cNvPr id="5" name="图片 4"/>
            <p:cNvPicPr>
              <a:picLocks noChangeAspect="1"/>
            </p:cNvPicPr>
            <p:nvPr/>
          </p:nvPicPr>
          <p:blipFill rotWithShape="1">
            <a:blip r:embed="rId2"/>
            <a:srcRect r="55911"/>
            <a:stretch/>
          </p:blipFill>
          <p:spPr>
            <a:xfrm rot="5400000">
              <a:off x="1081568" y="2465810"/>
              <a:ext cx="4784396" cy="2853175"/>
            </a:xfrm>
            <a:prstGeom prst="rect">
              <a:avLst/>
            </a:prstGeom>
          </p:spPr>
        </p:pic>
        <p:pic>
          <p:nvPicPr>
            <p:cNvPr id="8" name="图片 7"/>
            <p:cNvPicPr>
              <a:picLocks noChangeAspect="1"/>
            </p:cNvPicPr>
            <p:nvPr/>
          </p:nvPicPr>
          <p:blipFill rotWithShape="1">
            <a:blip r:embed="rId3"/>
            <a:srcRect r="51335"/>
            <a:stretch/>
          </p:blipFill>
          <p:spPr>
            <a:xfrm rot="5400000">
              <a:off x="1384938" y="2603293"/>
              <a:ext cx="4165463" cy="2865368"/>
            </a:xfrm>
            <a:prstGeom prst="rect">
              <a:avLst/>
            </a:prstGeom>
          </p:spPr>
        </p:pic>
      </p:grpSp>
      <p:pic>
        <p:nvPicPr>
          <p:cNvPr id="10" name="图片 9"/>
          <p:cNvPicPr>
            <a:picLocks noChangeAspect="1"/>
          </p:cNvPicPr>
          <p:nvPr/>
        </p:nvPicPr>
        <p:blipFill rotWithShape="1">
          <a:blip r:embed="rId3"/>
          <a:srcRect r="51335"/>
          <a:stretch/>
        </p:blipFill>
        <p:spPr>
          <a:xfrm rot="5400000">
            <a:off x="6553939" y="2009897"/>
            <a:ext cx="4520567" cy="2865368"/>
          </a:xfrm>
          <a:prstGeom prst="rect">
            <a:avLst/>
          </a:prstGeom>
        </p:spPr>
      </p:pic>
      <p:pic>
        <p:nvPicPr>
          <p:cNvPr id="3" name="图片 2"/>
          <p:cNvPicPr>
            <a:picLocks noChangeAspect="1"/>
          </p:cNvPicPr>
          <p:nvPr/>
        </p:nvPicPr>
        <p:blipFill>
          <a:blip r:embed="rId4"/>
          <a:stretch>
            <a:fillRect/>
          </a:stretch>
        </p:blipFill>
        <p:spPr>
          <a:xfrm>
            <a:off x="669924" y="2024297"/>
            <a:ext cx="5364480" cy="4023360"/>
          </a:xfrm>
          <a:prstGeom prst="rect">
            <a:avLst/>
          </a:prstGeom>
        </p:spPr>
      </p:pic>
      <p:pic>
        <p:nvPicPr>
          <p:cNvPr id="4" name="图片 3"/>
          <p:cNvPicPr>
            <a:picLocks noChangeAspect="1"/>
          </p:cNvPicPr>
          <p:nvPr/>
        </p:nvPicPr>
        <p:blipFill>
          <a:blip r:embed="rId5" cstate="email">
            <a:extLst>
              <a:ext uri="{28A0092B-C50C-407E-A947-70E740481C1C}">
                <a14:useLocalDpi xmlns:a14="http://schemas.microsoft.com/office/drawing/2010/main" val="0"/>
              </a:ext>
            </a:extLst>
          </a:blip>
          <a:stretch>
            <a:fillRect/>
          </a:stretch>
        </p:blipFill>
        <p:spPr>
          <a:xfrm>
            <a:off x="6156007" y="1500199"/>
            <a:ext cx="5364480" cy="4023360"/>
          </a:xfrm>
          <a:prstGeom prst="rect">
            <a:avLst/>
          </a:prstGeom>
        </p:spPr>
      </p:pic>
      <p:sp>
        <p:nvSpPr>
          <p:cNvPr id="12" name="íṧlíḑè">
            <a:extLst>
              <a:ext uri="{FF2B5EF4-FFF2-40B4-BE49-F238E27FC236}">
                <a16:creationId xmlns:a16="http://schemas.microsoft.com/office/drawing/2014/main" id="{7C99620B-8631-4194-A4B4-5C3A0230A3FB}"/>
              </a:ext>
            </a:extLst>
          </p:cNvPr>
          <p:cNvSpPr/>
          <p:nvPr/>
        </p:nvSpPr>
        <p:spPr bwMode="auto">
          <a:xfrm flipH="1">
            <a:off x="8112846" y="5773880"/>
            <a:ext cx="4079154" cy="1022653"/>
          </a:xfrm>
          <a:custGeom>
            <a:avLst/>
            <a:gdLst>
              <a:gd name="T0" fmla="*/ 229 w 695"/>
              <a:gd name="T1" fmla="*/ 157 h 174"/>
              <a:gd name="T2" fmla="*/ 338 w 695"/>
              <a:gd name="T3" fmla="*/ 173 h 174"/>
              <a:gd name="T4" fmla="*/ 395 w 695"/>
              <a:gd name="T5" fmla="*/ 157 h 174"/>
              <a:gd name="T6" fmla="*/ 273 w 695"/>
              <a:gd name="T7" fmla="*/ 86 h 174"/>
              <a:gd name="T8" fmla="*/ 273 w 695"/>
              <a:gd name="T9" fmla="*/ 72 h 174"/>
              <a:gd name="T10" fmla="*/ 355 w 695"/>
              <a:gd name="T11" fmla="*/ 82 h 174"/>
              <a:gd name="T12" fmla="*/ 493 w 695"/>
              <a:gd name="T13" fmla="*/ 99 h 174"/>
              <a:gd name="T14" fmla="*/ 563 w 695"/>
              <a:gd name="T15" fmla="*/ 86 h 174"/>
              <a:gd name="T16" fmla="*/ 534 w 695"/>
              <a:gd name="T17" fmla="*/ 47 h 174"/>
              <a:gd name="T18" fmla="*/ 569 w 695"/>
              <a:gd name="T19" fmla="*/ 32 h 174"/>
              <a:gd name="T20" fmla="*/ 656 w 695"/>
              <a:gd name="T21" fmla="*/ 39 h 174"/>
              <a:gd name="T22" fmla="*/ 653 w 695"/>
              <a:gd name="T23" fmla="*/ 8 h 174"/>
              <a:gd name="T24" fmla="*/ 656 w 695"/>
              <a:gd name="T25" fmla="*/ 4 h 174"/>
              <a:gd name="T26" fmla="*/ 677 w 695"/>
              <a:gd name="T27" fmla="*/ 3 h 174"/>
              <a:gd name="T28" fmla="*/ 689 w 695"/>
              <a:gd name="T29" fmla="*/ 2 h 174"/>
              <a:gd name="T30" fmla="*/ 656 w 695"/>
              <a:gd name="T31" fmla="*/ 1 h 174"/>
              <a:gd name="T32" fmla="*/ 645 w 695"/>
              <a:gd name="T33" fmla="*/ 8 h 174"/>
              <a:gd name="T34" fmla="*/ 652 w 695"/>
              <a:gd name="T35" fmla="*/ 28 h 174"/>
              <a:gd name="T36" fmla="*/ 633 w 695"/>
              <a:gd name="T37" fmla="*/ 32 h 174"/>
              <a:gd name="T38" fmla="*/ 631 w 695"/>
              <a:gd name="T39" fmla="*/ 31 h 174"/>
              <a:gd name="T40" fmla="*/ 623 w 695"/>
              <a:gd name="T41" fmla="*/ 29 h 174"/>
              <a:gd name="T42" fmla="*/ 588 w 695"/>
              <a:gd name="T43" fmla="*/ 27 h 174"/>
              <a:gd name="T44" fmla="*/ 573 w 695"/>
              <a:gd name="T45" fmla="*/ 24 h 174"/>
              <a:gd name="T46" fmla="*/ 562 w 695"/>
              <a:gd name="T47" fmla="*/ 22 h 174"/>
              <a:gd name="T48" fmla="*/ 532 w 695"/>
              <a:gd name="T49" fmla="*/ 21 h 174"/>
              <a:gd name="T50" fmla="*/ 498 w 695"/>
              <a:gd name="T51" fmla="*/ 36 h 174"/>
              <a:gd name="T52" fmla="*/ 500 w 695"/>
              <a:gd name="T53" fmla="*/ 43 h 174"/>
              <a:gd name="T54" fmla="*/ 516 w 695"/>
              <a:gd name="T55" fmla="*/ 47 h 174"/>
              <a:gd name="T56" fmla="*/ 509 w 695"/>
              <a:gd name="T57" fmla="*/ 51 h 174"/>
              <a:gd name="T58" fmla="*/ 529 w 695"/>
              <a:gd name="T59" fmla="*/ 74 h 174"/>
              <a:gd name="T60" fmla="*/ 535 w 695"/>
              <a:gd name="T61" fmla="*/ 83 h 174"/>
              <a:gd name="T62" fmla="*/ 515 w 695"/>
              <a:gd name="T63" fmla="*/ 91 h 174"/>
              <a:gd name="T64" fmla="*/ 466 w 695"/>
              <a:gd name="T65" fmla="*/ 86 h 174"/>
              <a:gd name="T66" fmla="*/ 444 w 695"/>
              <a:gd name="T67" fmla="*/ 84 h 174"/>
              <a:gd name="T68" fmla="*/ 435 w 695"/>
              <a:gd name="T69" fmla="*/ 82 h 174"/>
              <a:gd name="T70" fmla="*/ 418 w 695"/>
              <a:gd name="T71" fmla="*/ 82 h 174"/>
              <a:gd name="T72" fmla="*/ 383 w 695"/>
              <a:gd name="T73" fmla="*/ 77 h 174"/>
              <a:gd name="T74" fmla="*/ 346 w 695"/>
              <a:gd name="T75" fmla="*/ 71 h 174"/>
              <a:gd name="T76" fmla="*/ 307 w 695"/>
              <a:gd name="T77" fmla="*/ 68 h 174"/>
              <a:gd name="T78" fmla="*/ 240 w 695"/>
              <a:gd name="T79" fmla="*/ 69 h 174"/>
              <a:gd name="T80" fmla="*/ 241 w 695"/>
              <a:gd name="T81" fmla="*/ 78 h 174"/>
              <a:gd name="T82" fmla="*/ 247 w 695"/>
              <a:gd name="T83" fmla="*/ 84 h 174"/>
              <a:gd name="T84" fmla="*/ 245 w 695"/>
              <a:gd name="T85" fmla="*/ 86 h 174"/>
              <a:gd name="T86" fmla="*/ 269 w 695"/>
              <a:gd name="T87" fmla="*/ 98 h 174"/>
              <a:gd name="T88" fmla="*/ 293 w 695"/>
              <a:gd name="T89" fmla="*/ 111 h 174"/>
              <a:gd name="T90" fmla="*/ 308 w 695"/>
              <a:gd name="T91" fmla="*/ 118 h 174"/>
              <a:gd name="T92" fmla="*/ 332 w 695"/>
              <a:gd name="T93" fmla="*/ 128 h 174"/>
              <a:gd name="T94" fmla="*/ 352 w 695"/>
              <a:gd name="T95" fmla="*/ 144 h 174"/>
              <a:gd name="T96" fmla="*/ 371 w 695"/>
              <a:gd name="T97" fmla="*/ 156 h 174"/>
              <a:gd name="T98" fmla="*/ 370 w 695"/>
              <a:gd name="T99" fmla="*/ 167 h 174"/>
              <a:gd name="T100" fmla="*/ 281 w 695"/>
              <a:gd name="T101" fmla="*/ 157 h 174"/>
              <a:gd name="T102" fmla="*/ 249 w 695"/>
              <a:gd name="T103" fmla="*/ 152 h 174"/>
              <a:gd name="T104" fmla="*/ 160 w 695"/>
              <a:gd name="T105" fmla="*/ 140 h 174"/>
              <a:gd name="T106" fmla="*/ 79 w 695"/>
              <a:gd name="T107" fmla="*/ 123 h 174"/>
              <a:gd name="T108" fmla="*/ 656 w 695"/>
              <a:gd name="T109" fmla="*/ 33 h 174"/>
              <a:gd name="T110" fmla="*/ 648 w 695"/>
              <a:gd name="T111" fmla="*/ 5 h 174"/>
              <a:gd name="T112" fmla="*/ 655 w 695"/>
              <a:gd name="T113" fmla="*/ 33 h 174"/>
              <a:gd name="T114" fmla="*/ 648 w 695"/>
              <a:gd name="T115" fmla="*/ 37 h 174"/>
              <a:gd name="T116" fmla="*/ 535 w 695"/>
              <a:gd name="T117" fmla="*/ 92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95" h="174">
                <a:moveTo>
                  <a:pt x="78" y="130"/>
                </a:moveTo>
                <a:cubicBezTo>
                  <a:pt x="88" y="132"/>
                  <a:pt x="101" y="134"/>
                  <a:pt x="109" y="136"/>
                </a:cubicBezTo>
                <a:cubicBezTo>
                  <a:pt x="147" y="143"/>
                  <a:pt x="179" y="151"/>
                  <a:pt x="220" y="157"/>
                </a:cubicBezTo>
                <a:cubicBezTo>
                  <a:pt x="219" y="157"/>
                  <a:pt x="222" y="157"/>
                  <a:pt x="225" y="157"/>
                </a:cubicBezTo>
                <a:cubicBezTo>
                  <a:pt x="224" y="157"/>
                  <a:pt x="224" y="157"/>
                  <a:pt x="224" y="157"/>
                </a:cubicBezTo>
                <a:cubicBezTo>
                  <a:pt x="229" y="157"/>
                  <a:pt x="229" y="157"/>
                  <a:pt x="229" y="157"/>
                </a:cubicBezTo>
                <a:cubicBezTo>
                  <a:pt x="232" y="157"/>
                  <a:pt x="229" y="158"/>
                  <a:pt x="226" y="158"/>
                </a:cubicBezTo>
                <a:cubicBezTo>
                  <a:pt x="242" y="160"/>
                  <a:pt x="257" y="162"/>
                  <a:pt x="272" y="165"/>
                </a:cubicBezTo>
                <a:cubicBezTo>
                  <a:pt x="275" y="164"/>
                  <a:pt x="280" y="166"/>
                  <a:pt x="283" y="165"/>
                </a:cubicBezTo>
                <a:cubicBezTo>
                  <a:pt x="283" y="166"/>
                  <a:pt x="283" y="166"/>
                  <a:pt x="282" y="166"/>
                </a:cubicBezTo>
                <a:cubicBezTo>
                  <a:pt x="294" y="167"/>
                  <a:pt x="295" y="167"/>
                  <a:pt x="303" y="169"/>
                </a:cubicBezTo>
                <a:cubicBezTo>
                  <a:pt x="314" y="171"/>
                  <a:pt x="325" y="172"/>
                  <a:pt x="338" y="173"/>
                </a:cubicBezTo>
                <a:cubicBezTo>
                  <a:pt x="346" y="174"/>
                  <a:pt x="351" y="174"/>
                  <a:pt x="366" y="173"/>
                </a:cubicBezTo>
                <a:cubicBezTo>
                  <a:pt x="367" y="173"/>
                  <a:pt x="372" y="173"/>
                  <a:pt x="375" y="172"/>
                </a:cubicBezTo>
                <a:cubicBezTo>
                  <a:pt x="379" y="171"/>
                  <a:pt x="379" y="171"/>
                  <a:pt x="379" y="171"/>
                </a:cubicBezTo>
                <a:cubicBezTo>
                  <a:pt x="396" y="166"/>
                  <a:pt x="387" y="169"/>
                  <a:pt x="391" y="167"/>
                </a:cubicBezTo>
                <a:cubicBezTo>
                  <a:pt x="398" y="163"/>
                  <a:pt x="396" y="163"/>
                  <a:pt x="397" y="161"/>
                </a:cubicBezTo>
                <a:cubicBezTo>
                  <a:pt x="397" y="160"/>
                  <a:pt x="396" y="158"/>
                  <a:pt x="395" y="157"/>
                </a:cubicBezTo>
                <a:cubicBezTo>
                  <a:pt x="389" y="149"/>
                  <a:pt x="378" y="143"/>
                  <a:pt x="368" y="136"/>
                </a:cubicBezTo>
                <a:cubicBezTo>
                  <a:pt x="347" y="123"/>
                  <a:pt x="322" y="111"/>
                  <a:pt x="300" y="97"/>
                </a:cubicBezTo>
                <a:cubicBezTo>
                  <a:pt x="292" y="96"/>
                  <a:pt x="289" y="93"/>
                  <a:pt x="282" y="92"/>
                </a:cubicBezTo>
                <a:cubicBezTo>
                  <a:pt x="283" y="91"/>
                  <a:pt x="283" y="91"/>
                  <a:pt x="283" y="91"/>
                </a:cubicBezTo>
                <a:cubicBezTo>
                  <a:pt x="278" y="90"/>
                  <a:pt x="279" y="89"/>
                  <a:pt x="277" y="86"/>
                </a:cubicBezTo>
                <a:cubicBezTo>
                  <a:pt x="276" y="86"/>
                  <a:pt x="275" y="85"/>
                  <a:pt x="273" y="86"/>
                </a:cubicBezTo>
                <a:cubicBezTo>
                  <a:pt x="270" y="85"/>
                  <a:pt x="274" y="83"/>
                  <a:pt x="271" y="82"/>
                </a:cubicBezTo>
                <a:cubicBezTo>
                  <a:pt x="272" y="82"/>
                  <a:pt x="270" y="83"/>
                  <a:pt x="270" y="82"/>
                </a:cubicBezTo>
                <a:cubicBezTo>
                  <a:pt x="262" y="79"/>
                  <a:pt x="272" y="82"/>
                  <a:pt x="269" y="77"/>
                </a:cubicBezTo>
                <a:cubicBezTo>
                  <a:pt x="267" y="76"/>
                  <a:pt x="264" y="74"/>
                  <a:pt x="262" y="72"/>
                </a:cubicBezTo>
                <a:cubicBezTo>
                  <a:pt x="265" y="72"/>
                  <a:pt x="269" y="72"/>
                  <a:pt x="272" y="73"/>
                </a:cubicBezTo>
                <a:cubicBezTo>
                  <a:pt x="270" y="73"/>
                  <a:pt x="271" y="72"/>
                  <a:pt x="273" y="72"/>
                </a:cubicBezTo>
                <a:cubicBezTo>
                  <a:pt x="273" y="74"/>
                  <a:pt x="281" y="72"/>
                  <a:pt x="284" y="73"/>
                </a:cubicBezTo>
                <a:cubicBezTo>
                  <a:pt x="283" y="73"/>
                  <a:pt x="281" y="73"/>
                  <a:pt x="280" y="73"/>
                </a:cubicBezTo>
                <a:cubicBezTo>
                  <a:pt x="288" y="75"/>
                  <a:pt x="297" y="75"/>
                  <a:pt x="304" y="76"/>
                </a:cubicBezTo>
                <a:cubicBezTo>
                  <a:pt x="314" y="76"/>
                  <a:pt x="320" y="79"/>
                  <a:pt x="327" y="78"/>
                </a:cubicBezTo>
                <a:cubicBezTo>
                  <a:pt x="325" y="79"/>
                  <a:pt x="330" y="79"/>
                  <a:pt x="331" y="80"/>
                </a:cubicBezTo>
                <a:cubicBezTo>
                  <a:pt x="341" y="79"/>
                  <a:pt x="345" y="82"/>
                  <a:pt x="355" y="82"/>
                </a:cubicBezTo>
                <a:cubicBezTo>
                  <a:pt x="354" y="82"/>
                  <a:pt x="354" y="82"/>
                  <a:pt x="354" y="82"/>
                </a:cubicBezTo>
                <a:cubicBezTo>
                  <a:pt x="376" y="85"/>
                  <a:pt x="398" y="88"/>
                  <a:pt x="422" y="90"/>
                </a:cubicBezTo>
                <a:cubicBezTo>
                  <a:pt x="436" y="92"/>
                  <a:pt x="446" y="95"/>
                  <a:pt x="463" y="96"/>
                </a:cubicBezTo>
                <a:cubicBezTo>
                  <a:pt x="466" y="96"/>
                  <a:pt x="464" y="96"/>
                  <a:pt x="467" y="96"/>
                </a:cubicBezTo>
                <a:cubicBezTo>
                  <a:pt x="470" y="96"/>
                  <a:pt x="466" y="96"/>
                  <a:pt x="467" y="96"/>
                </a:cubicBezTo>
                <a:cubicBezTo>
                  <a:pt x="475" y="97"/>
                  <a:pt x="483" y="98"/>
                  <a:pt x="493" y="99"/>
                </a:cubicBezTo>
                <a:cubicBezTo>
                  <a:pt x="494" y="99"/>
                  <a:pt x="497" y="99"/>
                  <a:pt x="497" y="99"/>
                </a:cubicBezTo>
                <a:cubicBezTo>
                  <a:pt x="501" y="100"/>
                  <a:pt x="508" y="100"/>
                  <a:pt x="516" y="100"/>
                </a:cubicBezTo>
                <a:cubicBezTo>
                  <a:pt x="520" y="100"/>
                  <a:pt x="524" y="100"/>
                  <a:pt x="530" y="100"/>
                </a:cubicBezTo>
                <a:cubicBezTo>
                  <a:pt x="534" y="101"/>
                  <a:pt x="558" y="94"/>
                  <a:pt x="557" y="93"/>
                </a:cubicBezTo>
                <a:cubicBezTo>
                  <a:pt x="549" y="96"/>
                  <a:pt x="562" y="89"/>
                  <a:pt x="560" y="87"/>
                </a:cubicBezTo>
                <a:cubicBezTo>
                  <a:pt x="561" y="86"/>
                  <a:pt x="562" y="86"/>
                  <a:pt x="563" y="86"/>
                </a:cubicBezTo>
                <a:cubicBezTo>
                  <a:pt x="564" y="83"/>
                  <a:pt x="563" y="81"/>
                  <a:pt x="563" y="77"/>
                </a:cubicBezTo>
                <a:cubicBezTo>
                  <a:pt x="562" y="76"/>
                  <a:pt x="559" y="76"/>
                  <a:pt x="559" y="74"/>
                </a:cubicBezTo>
                <a:cubicBezTo>
                  <a:pt x="561" y="72"/>
                  <a:pt x="557" y="70"/>
                  <a:pt x="557" y="68"/>
                </a:cubicBezTo>
                <a:cubicBezTo>
                  <a:pt x="554" y="69"/>
                  <a:pt x="551" y="68"/>
                  <a:pt x="550" y="66"/>
                </a:cubicBezTo>
                <a:cubicBezTo>
                  <a:pt x="554" y="65"/>
                  <a:pt x="554" y="65"/>
                  <a:pt x="554" y="65"/>
                </a:cubicBezTo>
                <a:cubicBezTo>
                  <a:pt x="548" y="61"/>
                  <a:pt x="545" y="52"/>
                  <a:pt x="534" y="47"/>
                </a:cubicBezTo>
                <a:cubicBezTo>
                  <a:pt x="536" y="46"/>
                  <a:pt x="536" y="46"/>
                  <a:pt x="536" y="46"/>
                </a:cubicBezTo>
                <a:cubicBezTo>
                  <a:pt x="528" y="41"/>
                  <a:pt x="524" y="34"/>
                  <a:pt x="521" y="29"/>
                </a:cubicBezTo>
                <a:cubicBezTo>
                  <a:pt x="521" y="29"/>
                  <a:pt x="520" y="30"/>
                  <a:pt x="527" y="30"/>
                </a:cubicBezTo>
                <a:cubicBezTo>
                  <a:pt x="534" y="29"/>
                  <a:pt x="537" y="29"/>
                  <a:pt x="543" y="29"/>
                </a:cubicBezTo>
                <a:cubicBezTo>
                  <a:pt x="546" y="29"/>
                  <a:pt x="546" y="30"/>
                  <a:pt x="547" y="30"/>
                </a:cubicBezTo>
                <a:cubicBezTo>
                  <a:pt x="555" y="31"/>
                  <a:pt x="560" y="33"/>
                  <a:pt x="569" y="32"/>
                </a:cubicBezTo>
                <a:cubicBezTo>
                  <a:pt x="568" y="33"/>
                  <a:pt x="568" y="33"/>
                  <a:pt x="568" y="33"/>
                </a:cubicBezTo>
                <a:cubicBezTo>
                  <a:pt x="575" y="33"/>
                  <a:pt x="586" y="34"/>
                  <a:pt x="592" y="35"/>
                </a:cubicBezTo>
                <a:cubicBezTo>
                  <a:pt x="595" y="35"/>
                  <a:pt x="603" y="36"/>
                  <a:pt x="601" y="35"/>
                </a:cubicBezTo>
                <a:cubicBezTo>
                  <a:pt x="604" y="35"/>
                  <a:pt x="600" y="36"/>
                  <a:pt x="605" y="36"/>
                </a:cubicBezTo>
                <a:cubicBezTo>
                  <a:pt x="600" y="36"/>
                  <a:pt x="600" y="36"/>
                  <a:pt x="600" y="36"/>
                </a:cubicBezTo>
                <a:cubicBezTo>
                  <a:pt x="618" y="38"/>
                  <a:pt x="625" y="42"/>
                  <a:pt x="656" y="39"/>
                </a:cubicBezTo>
                <a:cubicBezTo>
                  <a:pt x="672" y="35"/>
                  <a:pt x="667" y="30"/>
                  <a:pt x="667" y="26"/>
                </a:cubicBezTo>
                <a:cubicBezTo>
                  <a:pt x="665" y="25"/>
                  <a:pt x="664" y="21"/>
                  <a:pt x="659" y="21"/>
                </a:cubicBezTo>
                <a:cubicBezTo>
                  <a:pt x="661" y="20"/>
                  <a:pt x="661" y="20"/>
                  <a:pt x="661" y="20"/>
                </a:cubicBezTo>
                <a:cubicBezTo>
                  <a:pt x="659" y="18"/>
                  <a:pt x="657" y="14"/>
                  <a:pt x="655" y="11"/>
                </a:cubicBezTo>
                <a:cubicBezTo>
                  <a:pt x="655" y="9"/>
                  <a:pt x="653" y="10"/>
                  <a:pt x="651" y="8"/>
                </a:cubicBezTo>
                <a:cubicBezTo>
                  <a:pt x="653" y="8"/>
                  <a:pt x="653" y="8"/>
                  <a:pt x="653" y="8"/>
                </a:cubicBezTo>
                <a:cubicBezTo>
                  <a:pt x="651" y="6"/>
                  <a:pt x="649" y="6"/>
                  <a:pt x="647" y="6"/>
                </a:cubicBezTo>
                <a:cubicBezTo>
                  <a:pt x="648" y="5"/>
                  <a:pt x="648" y="5"/>
                  <a:pt x="648" y="5"/>
                </a:cubicBezTo>
                <a:cubicBezTo>
                  <a:pt x="649" y="5"/>
                  <a:pt x="650" y="4"/>
                  <a:pt x="651" y="4"/>
                </a:cubicBezTo>
                <a:cubicBezTo>
                  <a:pt x="652" y="5"/>
                  <a:pt x="653" y="5"/>
                  <a:pt x="654" y="5"/>
                </a:cubicBezTo>
                <a:cubicBezTo>
                  <a:pt x="653" y="5"/>
                  <a:pt x="654" y="5"/>
                  <a:pt x="654" y="4"/>
                </a:cubicBezTo>
                <a:cubicBezTo>
                  <a:pt x="655" y="4"/>
                  <a:pt x="655" y="4"/>
                  <a:pt x="656" y="4"/>
                </a:cubicBezTo>
                <a:cubicBezTo>
                  <a:pt x="662" y="4"/>
                  <a:pt x="666" y="4"/>
                  <a:pt x="668" y="3"/>
                </a:cubicBezTo>
                <a:cubicBezTo>
                  <a:pt x="666" y="4"/>
                  <a:pt x="671" y="4"/>
                  <a:pt x="667" y="4"/>
                </a:cubicBezTo>
                <a:cubicBezTo>
                  <a:pt x="671" y="4"/>
                  <a:pt x="674" y="4"/>
                  <a:pt x="677" y="4"/>
                </a:cubicBezTo>
                <a:cubicBezTo>
                  <a:pt x="676" y="4"/>
                  <a:pt x="675" y="4"/>
                  <a:pt x="674" y="4"/>
                </a:cubicBezTo>
                <a:cubicBezTo>
                  <a:pt x="678" y="3"/>
                  <a:pt x="682" y="3"/>
                  <a:pt x="682" y="3"/>
                </a:cubicBezTo>
                <a:cubicBezTo>
                  <a:pt x="680" y="3"/>
                  <a:pt x="679" y="3"/>
                  <a:pt x="677" y="3"/>
                </a:cubicBezTo>
                <a:cubicBezTo>
                  <a:pt x="679" y="2"/>
                  <a:pt x="687" y="2"/>
                  <a:pt x="687" y="3"/>
                </a:cubicBezTo>
                <a:cubicBezTo>
                  <a:pt x="687" y="4"/>
                  <a:pt x="681" y="4"/>
                  <a:pt x="683" y="4"/>
                </a:cubicBezTo>
                <a:cubicBezTo>
                  <a:pt x="695" y="4"/>
                  <a:pt x="695" y="4"/>
                  <a:pt x="695" y="4"/>
                </a:cubicBezTo>
                <a:cubicBezTo>
                  <a:pt x="692" y="4"/>
                  <a:pt x="691" y="3"/>
                  <a:pt x="693" y="3"/>
                </a:cubicBezTo>
                <a:cubicBezTo>
                  <a:pt x="688" y="3"/>
                  <a:pt x="688" y="3"/>
                  <a:pt x="688" y="3"/>
                </a:cubicBezTo>
                <a:cubicBezTo>
                  <a:pt x="689" y="2"/>
                  <a:pt x="689" y="2"/>
                  <a:pt x="689" y="2"/>
                </a:cubicBezTo>
                <a:cubicBezTo>
                  <a:pt x="682" y="2"/>
                  <a:pt x="677" y="1"/>
                  <a:pt x="668" y="1"/>
                </a:cubicBezTo>
                <a:cubicBezTo>
                  <a:pt x="670" y="2"/>
                  <a:pt x="670" y="2"/>
                  <a:pt x="670" y="2"/>
                </a:cubicBezTo>
                <a:cubicBezTo>
                  <a:pt x="665" y="2"/>
                  <a:pt x="659" y="3"/>
                  <a:pt x="655" y="3"/>
                </a:cubicBezTo>
                <a:cubicBezTo>
                  <a:pt x="658" y="2"/>
                  <a:pt x="656" y="2"/>
                  <a:pt x="657" y="2"/>
                </a:cubicBezTo>
                <a:cubicBezTo>
                  <a:pt x="655" y="2"/>
                  <a:pt x="654" y="2"/>
                  <a:pt x="652" y="2"/>
                </a:cubicBezTo>
                <a:cubicBezTo>
                  <a:pt x="656" y="1"/>
                  <a:pt x="656" y="1"/>
                  <a:pt x="656" y="1"/>
                </a:cubicBezTo>
                <a:cubicBezTo>
                  <a:pt x="655" y="1"/>
                  <a:pt x="654" y="2"/>
                  <a:pt x="652" y="2"/>
                </a:cubicBezTo>
                <a:cubicBezTo>
                  <a:pt x="649" y="3"/>
                  <a:pt x="655" y="0"/>
                  <a:pt x="645" y="4"/>
                </a:cubicBezTo>
                <a:cubicBezTo>
                  <a:pt x="644" y="4"/>
                  <a:pt x="644" y="4"/>
                  <a:pt x="644" y="4"/>
                </a:cubicBezTo>
                <a:cubicBezTo>
                  <a:pt x="644" y="6"/>
                  <a:pt x="643" y="7"/>
                  <a:pt x="643" y="7"/>
                </a:cubicBezTo>
                <a:cubicBezTo>
                  <a:pt x="643" y="7"/>
                  <a:pt x="643" y="7"/>
                  <a:pt x="643" y="7"/>
                </a:cubicBezTo>
                <a:cubicBezTo>
                  <a:pt x="641" y="10"/>
                  <a:pt x="645" y="6"/>
                  <a:pt x="645" y="8"/>
                </a:cubicBezTo>
                <a:cubicBezTo>
                  <a:pt x="644" y="9"/>
                  <a:pt x="641" y="9"/>
                  <a:pt x="640" y="11"/>
                </a:cubicBezTo>
                <a:cubicBezTo>
                  <a:pt x="640" y="13"/>
                  <a:pt x="645" y="16"/>
                  <a:pt x="644" y="19"/>
                </a:cubicBezTo>
                <a:cubicBezTo>
                  <a:pt x="647" y="21"/>
                  <a:pt x="650" y="23"/>
                  <a:pt x="653" y="24"/>
                </a:cubicBezTo>
                <a:cubicBezTo>
                  <a:pt x="654" y="25"/>
                  <a:pt x="649" y="25"/>
                  <a:pt x="652" y="26"/>
                </a:cubicBezTo>
                <a:cubicBezTo>
                  <a:pt x="650" y="26"/>
                  <a:pt x="649" y="26"/>
                  <a:pt x="648" y="27"/>
                </a:cubicBezTo>
                <a:cubicBezTo>
                  <a:pt x="650" y="27"/>
                  <a:pt x="650" y="30"/>
                  <a:pt x="652" y="28"/>
                </a:cubicBezTo>
                <a:cubicBezTo>
                  <a:pt x="653" y="30"/>
                  <a:pt x="654" y="32"/>
                  <a:pt x="653" y="33"/>
                </a:cubicBezTo>
                <a:cubicBezTo>
                  <a:pt x="652" y="33"/>
                  <a:pt x="650" y="33"/>
                  <a:pt x="649" y="33"/>
                </a:cubicBezTo>
                <a:cubicBezTo>
                  <a:pt x="648" y="34"/>
                  <a:pt x="650" y="34"/>
                  <a:pt x="646" y="34"/>
                </a:cubicBezTo>
                <a:cubicBezTo>
                  <a:pt x="638" y="35"/>
                  <a:pt x="640" y="33"/>
                  <a:pt x="639" y="32"/>
                </a:cubicBezTo>
                <a:cubicBezTo>
                  <a:pt x="643" y="32"/>
                  <a:pt x="643" y="32"/>
                  <a:pt x="643" y="32"/>
                </a:cubicBezTo>
                <a:cubicBezTo>
                  <a:pt x="640" y="32"/>
                  <a:pt x="637" y="32"/>
                  <a:pt x="633" y="32"/>
                </a:cubicBezTo>
                <a:cubicBezTo>
                  <a:pt x="635" y="30"/>
                  <a:pt x="640" y="32"/>
                  <a:pt x="643" y="32"/>
                </a:cubicBezTo>
                <a:cubicBezTo>
                  <a:pt x="642" y="30"/>
                  <a:pt x="642" y="30"/>
                  <a:pt x="642" y="30"/>
                </a:cubicBezTo>
                <a:cubicBezTo>
                  <a:pt x="636" y="29"/>
                  <a:pt x="638" y="31"/>
                  <a:pt x="632" y="30"/>
                </a:cubicBezTo>
                <a:cubicBezTo>
                  <a:pt x="634" y="30"/>
                  <a:pt x="634" y="30"/>
                  <a:pt x="634" y="30"/>
                </a:cubicBezTo>
                <a:cubicBezTo>
                  <a:pt x="629" y="29"/>
                  <a:pt x="629" y="29"/>
                  <a:pt x="629" y="29"/>
                </a:cubicBezTo>
                <a:cubicBezTo>
                  <a:pt x="628" y="30"/>
                  <a:pt x="627" y="31"/>
                  <a:pt x="631" y="31"/>
                </a:cubicBezTo>
                <a:cubicBezTo>
                  <a:pt x="626" y="32"/>
                  <a:pt x="627" y="31"/>
                  <a:pt x="621" y="30"/>
                </a:cubicBezTo>
                <a:cubicBezTo>
                  <a:pt x="618" y="31"/>
                  <a:pt x="624" y="31"/>
                  <a:pt x="622" y="31"/>
                </a:cubicBezTo>
                <a:cubicBezTo>
                  <a:pt x="621" y="32"/>
                  <a:pt x="617" y="32"/>
                  <a:pt x="614" y="31"/>
                </a:cubicBezTo>
                <a:cubicBezTo>
                  <a:pt x="609" y="31"/>
                  <a:pt x="614" y="30"/>
                  <a:pt x="613" y="30"/>
                </a:cubicBezTo>
                <a:cubicBezTo>
                  <a:pt x="614" y="30"/>
                  <a:pt x="618" y="30"/>
                  <a:pt x="616" y="30"/>
                </a:cubicBezTo>
                <a:cubicBezTo>
                  <a:pt x="624" y="30"/>
                  <a:pt x="618" y="29"/>
                  <a:pt x="623" y="29"/>
                </a:cubicBezTo>
                <a:cubicBezTo>
                  <a:pt x="619" y="27"/>
                  <a:pt x="617" y="28"/>
                  <a:pt x="615" y="28"/>
                </a:cubicBezTo>
                <a:cubicBezTo>
                  <a:pt x="616" y="29"/>
                  <a:pt x="612" y="29"/>
                  <a:pt x="613" y="29"/>
                </a:cubicBezTo>
                <a:cubicBezTo>
                  <a:pt x="600" y="30"/>
                  <a:pt x="611" y="27"/>
                  <a:pt x="603" y="27"/>
                </a:cubicBezTo>
                <a:cubicBezTo>
                  <a:pt x="602" y="28"/>
                  <a:pt x="589" y="27"/>
                  <a:pt x="591" y="29"/>
                </a:cubicBezTo>
                <a:cubicBezTo>
                  <a:pt x="589" y="29"/>
                  <a:pt x="586" y="29"/>
                  <a:pt x="585" y="29"/>
                </a:cubicBezTo>
                <a:cubicBezTo>
                  <a:pt x="589" y="28"/>
                  <a:pt x="583" y="28"/>
                  <a:pt x="588" y="27"/>
                </a:cubicBezTo>
                <a:cubicBezTo>
                  <a:pt x="586" y="27"/>
                  <a:pt x="586" y="27"/>
                  <a:pt x="586" y="27"/>
                </a:cubicBezTo>
                <a:cubicBezTo>
                  <a:pt x="592" y="27"/>
                  <a:pt x="592" y="27"/>
                  <a:pt x="592" y="27"/>
                </a:cubicBezTo>
                <a:cubicBezTo>
                  <a:pt x="590" y="26"/>
                  <a:pt x="587" y="24"/>
                  <a:pt x="586" y="24"/>
                </a:cubicBezTo>
                <a:cubicBezTo>
                  <a:pt x="581" y="24"/>
                  <a:pt x="586" y="25"/>
                  <a:pt x="580" y="24"/>
                </a:cubicBezTo>
                <a:cubicBezTo>
                  <a:pt x="583" y="24"/>
                  <a:pt x="581" y="23"/>
                  <a:pt x="579" y="23"/>
                </a:cubicBezTo>
                <a:cubicBezTo>
                  <a:pt x="582" y="24"/>
                  <a:pt x="576" y="24"/>
                  <a:pt x="573" y="24"/>
                </a:cubicBezTo>
                <a:cubicBezTo>
                  <a:pt x="569" y="24"/>
                  <a:pt x="567" y="23"/>
                  <a:pt x="568" y="23"/>
                </a:cubicBezTo>
                <a:cubicBezTo>
                  <a:pt x="574" y="22"/>
                  <a:pt x="574" y="22"/>
                  <a:pt x="574" y="22"/>
                </a:cubicBezTo>
                <a:cubicBezTo>
                  <a:pt x="570" y="23"/>
                  <a:pt x="573" y="22"/>
                  <a:pt x="570" y="22"/>
                </a:cubicBezTo>
                <a:cubicBezTo>
                  <a:pt x="568" y="22"/>
                  <a:pt x="564" y="23"/>
                  <a:pt x="562" y="23"/>
                </a:cubicBezTo>
                <a:cubicBezTo>
                  <a:pt x="558" y="23"/>
                  <a:pt x="558" y="22"/>
                  <a:pt x="556" y="22"/>
                </a:cubicBezTo>
                <a:cubicBezTo>
                  <a:pt x="562" y="22"/>
                  <a:pt x="562" y="22"/>
                  <a:pt x="562" y="22"/>
                </a:cubicBezTo>
                <a:cubicBezTo>
                  <a:pt x="556" y="22"/>
                  <a:pt x="564" y="21"/>
                  <a:pt x="556" y="21"/>
                </a:cubicBezTo>
                <a:cubicBezTo>
                  <a:pt x="553" y="21"/>
                  <a:pt x="553" y="21"/>
                  <a:pt x="553" y="21"/>
                </a:cubicBezTo>
                <a:cubicBezTo>
                  <a:pt x="552" y="21"/>
                  <a:pt x="552" y="21"/>
                  <a:pt x="554" y="20"/>
                </a:cubicBezTo>
                <a:cubicBezTo>
                  <a:pt x="552" y="21"/>
                  <a:pt x="548" y="21"/>
                  <a:pt x="546" y="21"/>
                </a:cubicBezTo>
                <a:cubicBezTo>
                  <a:pt x="546" y="20"/>
                  <a:pt x="546" y="20"/>
                  <a:pt x="546" y="20"/>
                </a:cubicBezTo>
                <a:cubicBezTo>
                  <a:pt x="543" y="20"/>
                  <a:pt x="536" y="21"/>
                  <a:pt x="532" y="21"/>
                </a:cubicBezTo>
                <a:cubicBezTo>
                  <a:pt x="534" y="22"/>
                  <a:pt x="538" y="20"/>
                  <a:pt x="543" y="21"/>
                </a:cubicBezTo>
                <a:cubicBezTo>
                  <a:pt x="545" y="22"/>
                  <a:pt x="536" y="22"/>
                  <a:pt x="534" y="22"/>
                </a:cubicBezTo>
                <a:cubicBezTo>
                  <a:pt x="537" y="21"/>
                  <a:pt x="523" y="22"/>
                  <a:pt x="513" y="25"/>
                </a:cubicBezTo>
                <a:cubicBezTo>
                  <a:pt x="507" y="26"/>
                  <a:pt x="500" y="29"/>
                  <a:pt x="500" y="29"/>
                </a:cubicBezTo>
                <a:cubicBezTo>
                  <a:pt x="501" y="30"/>
                  <a:pt x="501" y="30"/>
                  <a:pt x="501" y="30"/>
                </a:cubicBezTo>
                <a:cubicBezTo>
                  <a:pt x="493" y="32"/>
                  <a:pt x="499" y="34"/>
                  <a:pt x="498" y="36"/>
                </a:cubicBezTo>
                <a:cubicBezTo>
                  <a:pt x="496" y="35"/>
                  <a:pt x="494" y="35"/>
                  <a:pt x="494" y="37"/>
                </a:cubicBezTo>
                <a:cubicBezTo>
                  <a:pt x="497" y="35"/>
                  <a:pt x="499" y="38"/>
                  <a:pt x="501" y="37"/>
                </a:cubicBezTo>
                <a:cubicBezTo>
                  <a:pt x="501" y="39"/>
                  <a:pt x="496" y="37"/>
                  <a:pt x="494" y="38"/>
                </a:cubicBezTo>
                <a:cubicBezTo>
                  <a:pt x="497" y="39"/>
                  <a:pt x="494" y="41"/>
                  <a:pt x="498" y="41"/>
                </a:cubicBezTo>
                <a:cubicBezTo>
                  <a:pt x="498" y="40"/>
                  <a:pt x="500" y="41"/>
                  <a:pt x="502" y="41"/>
                </a:cubicBezTo>
                <a:cubicBezTo>
                  <a:pt x="503" y="43"/>
                  <a:pt x="500" y="41"/>
                  <a:pt x="500" y="43"/>
                </a:cubicBezTo>
                <a:cubicBezTo>
                  <a:pt x="501" y="43"/>
                  <a:pt x="504" y="44"/>
                  <a:pt x="504" y="42"/>
                </a:cubicBezTo>
                <a:cubicBezTo>
                  <a:pt x="504" y="43"/>
                  <a:pt x="509" y="44"/>
                  <a:pt x="507" y="45"/>
                </a:cubicBezTo>
                <a:cubicBezTo>
                  <a:pt x="506" y="46"/>
                  <a:pt x="505" y="44"/>
                  <a:pt x="504" y="45"/>
                </a:cubicBezTo>
                <a:cubicBezTo>
                  <a:pt x="505" y="47"/>
                  <a:pt x="510" y="45"/>
                  <a:pt x="513" y="47"/>
                </a:cubicBezTo>
                <a:cubicBezTo>
                  <a:pt x="513" y="45"/>
                  <a:pt x="518" y="45"/>
                  <a:pt x="520" y="46"/>
                </a:cubicBezTo>
                <a:cubicBezTo>
                  <a:pt x="521" y="49"/>
                  <a:pt x="518" y="45"/>
                  <a:pt x="516" y="47"/>
                </a:cubicBezTo>
                <a:cubicBezTo>
                  <a:pt x="517" y="48"/>
                  <a:pt x="517" y="48"/>
                  <a:pt x="517" y="48"/>
                </a:cubicBezTo>
                <a:cubicBezTo>
                  <a:pt x="515" y="50"/>
                  <a:pt x="508" y="46"/>
                  <a:pt x="506" y="48"/>
                </a:cubicBezTo>
                <a:cubicBezTo>
                  <a:pt x="509" y="49"/>
                  <a:pt x="509" y="49"/>
                  <a:pt x="509" y="49"/>
                </a:cubicBezTo>
                <a:cubicBezTo>
                  <a:pt x="507" y="49"/>
                  <a:pt x="505" y="49"/>
                  <a:pt x="504" y="50"/>
                </a:cubicBezTo>
                <a:cubicBezTo>
                  <a:pt x="507" y="50"/>
                  <a:pt x="507" y="52"/>
                  <a:pt x="508" y="52"/>
                </a:cubicBezTo>
                <a:cubicBezTo>
                  <a:pt x="511" y="52"/>
                  <a:pt x="507" y="52"/>
                  <a:pt x="509" y="51"/>
                </a:cubicBezTo>
                <a:cubicBezTo>
                  <a:pt x="510" y="52"/>
                  <a:pt x="514" y="52"/>
                  <a:pt x="515" y="54"/>
                </a:cubicBezTo>
                <a:cubicBezTo>
                  <a:pt x="512" y="53"/>
                  <a:pt x="512" y="55"/>
                  <a:pt x="510" y="55"/>
                </a:cubicBezTo>
                <a:cubicBezTo>
                  <a:pt x="510" y="56"/>
                  <a:pt x="513" y="55"/>
                  <a:pt x="513" y="56"/>
                </a:cubicBezTo>
                <a:cubicBezTo>
                  <a:pt x="512" y="56"/>
                  <a:pt x="512" y="56"/>
                  <a:pt x="512" y="56"/>
                </a:cubicBezTo>
                <a:cubicBezTo>
                  <a:pt x="516" y="61"/>
                  <a:pt x="521" y="66"/>
                  <a:pt x="530" y="69"/>
                </a:cubicBezTo>
                <a:cubicBezTo>
                  <a:pt x="528" y="70"/>
                  <a:pt x="529" y="72"/>
                  <a:pt x="529" y="74"/>
                </a:cubicBezTo>
                <a:cubicBezTo>
                  <a:pt x="529" y="73"/>
                  <a:pt x="531" y="74"/>
                  <a:pt x="532" y="74"/>
                </a:cubicBezTo>
                <a:cubicBezTo>
                  <a:pt x="530" y="76"/>
                  <a:pt x="530" y="76"/>
                  <a:pt x="530" y="76"/>
                </a:cubicBezTo>
                <a:cubicBezTo>
                  <a:pt x="530" y="78"/>
                  <a:pt x="533" y="79"/>
                  <a:pt x="535" y="80"/>
                </a:cubicBezTo>
                <a:cubicBezTo>
                  <a:pt x="535" y="80"/>
                  <a:pt x="534" y="80"/>
                  <a:pt x="534" y="80"/>
                </a:cubicBezTo>
                <a:cubicBezTo>
                  <a:pt x="533" y="82"/>
                  <a:pt x="536" y="81"/>
                  <a:pt x="537" y="82"/>
                </a:cubicBezTo>
                <a:cubicBezTo>
                  <a:pt x="535" y="83"/>
                  <a:pt x="535" y="83"/>
                  <a:pt x="535" y="83"/>
                </a:cubicBezTo>
                <a:cubicBezTo>
                  <a:pt x="537" y="83"/>
                  <a:pt x="537" y="83"/>
                  <a:pt x="537" y="83"/>
                </a:cubicBezTo>
                <a:cubicBezTo>
                  <a:pt x="538" y="84"/>
                  <a:pt x="538" y="86"/>
                  <a:pt x="535" y="86"/>
                </a:cubicBezTo>
                <a:cubicBezTo>
                  <a:pt x="536" y="86"/>
                  <a:pt x="536" y="87"/>
                  <a:pt x="537" y="86"/>
                </a:cubicBezTo>
                <a:cubicBezTo>
                  <a:pt x="536" y="87"/>
                  <a:pt x="535" y="90"/>
                  <a:pt x="535" y="91"/>
                </a:cubicBezTo>
                <a:cubicBezTo>
                  <a:pt x="530" y="91"/>
                  <a:pt x="523" y="91"/>
                  <a:pt x="518" y="91"/>
                </a:cubicBezTo>
                <a:cubicBezTo>
                  <a:pt x="516" y="91"/>
                  <a:pt x="516" y="91"/>
                  <a:pt x="515" y="91"/>
                </a:cubicBezTo>
                <a:cubicBezTo>
                  <a:pt x="510" y="89"/>
                  <a:pt x="499" y="90"/>
                  <a:pt x="493" y="88"/>
                </a:cubicBezTo>
                <a:cubicBezTo>
                  <a:pt x="494" y="89"/>
                  <a:pt x="489" y="90"/>
                  <a:pt x="485" y="90"/>
                </a:cubicBezTo>
                <a:cubicBezTo>
                  <a:pt x="479" y="90"/>
                  <a:pt x="486" y="88"/>
                  <a:pt x="483" y="87"/>
                </a:cubicBezTo>
                <a:cubicBezTo>
                  <a:pt x="480" y="87"/>
                  <a:pt x="476" y="87"/>
                  <a:pt x="475" y="87"/>
                </a:cubicBezTo>
                <a:cubicBezTo>
                  <a:pt x="475" y="87"/>
                  <a:pt x="475" y="87"/>
                  <a:pt x="475" y="87"/>
                </a:cubicBezTo>
                <a:cubicBezTo>
                  <a:pt x="472" y="87"/>
                  <a:pt x="468" y="87"/>
                  <a:pt x="466" y="86"/>
                </a:cubicBezTo>
                <a:cubicBezTo>
                  <a:pt x="466" y="86"/>
                  <a:pt x="466" y="86"/>
                  <a:pt x="466" y="86"/>
                </a:cubicBezTo>
                <a:cubicBezTo>
                  <a:pt x="464" y="86"/>
                  <a:pt x="463" y="85"/>
                  <a:pt x="460" y="85"/>
                </a:cubicBezTo>
                <a:cubicBezTo>
                  <a:pt x="457" y="85"/>
                  <a:pt x="453" y="84"/>
                  <a:pt x="450" y="85"/>
                </a:cubicBezTo>
                <a:cubicBezTo>
                  <a:pt x="450" y="84"/>
                  <a:pt x="450" y="84"/>
                  <a:pt x="450" y="84"/>
                </a:cubicBezTo>
                <a:cubicBezTo>
                  <a:pt x="448" y="85"/>
                  <a:pt x="448" y="85"/>
                  <a:pt x="448" y="85"/>
                </a:cubicBezTo>
                <a:cubicBezTo>
                  <a:pt x="444" y="84"/>
                  <a:pt x="444" y="84"/>
                  <a:pt x="444" y="84"/>
                </a:cubicBezTo>
                <a:cubicBezTo>
                  <a:pt x="446" y="84"/>
                  <a:pt x="447" y="83"/>
                  <a:pt x="448" y="83"/>
                </a:cubicBezTo>
                <a:cubicBezTo>
                  <a:pt x="444" y="82"/>
                  <a:pt x="445" y="84"/>
                  <a:pt x="442" y="84"/>
                </a:cubicBezTo>
                <a:cubicBezTo>
                  <a:pt x="437" y="84"/>
                  <a:pt x="439" y="83"/>
                  <a:pt x="438" y="83"/>
                </a:cubicBezTo>
                <a:cubicBezTo>
                  <a:pt x="440" y="83"/>
                  <a:pt x="440" y="83"/>
                  <a:pt x="441" y="83"/>
                </a:cubicBezTo>
                <a:cubicBezTo>
                  <a:pt x="445" y="83"/>
                  <a:pt x="440" y="83"/>
                  <a:pt x="440" y="82"/>
                </a:cubicBezTo>
                <a:cubicBezTo>
                  <a:pt x="440" y="82"/>
                  <a:pt x="438" y="83"/>
                  <a:pt x="435" y="82"/>
                </a:cubicBezTo>
                <a:cubicBezTo>
                  <a:pt x="433" y="82"/>
                  <a:pt x="428" y="82"/>
                  <a:pt x="430" y="81"/>
                </a:cubicBezTo>
                <a:cubicBezTo>
                  <a:pt x="427" y="81"/>
                  <a:pt x="425" y="81"/>
                  <a:pt x="423" y="81"/>
                </a:cubicBezTo>
                <a:cubicBezTo>
                  <a:pt x="424" y="81"/>
                  <a:pt x="427" y="82"/>
                  <a:pt x="427" y="82"/>
                </a:cubicBezTo>
                <a:cubicBezTo>
                  <a:pt x="425" y="82"/>
                  <a:pt x="421" y="82"/>
                  <a:pt x="421" y="82"/>
                </a:cubicBezTo>
                <a:cubicBezTo>
                  <a:pt x="423" y="82"/>
                  <a:pt x="423" y="82"/>
                  <a:pt x="423" y="82"/>
                </a:cubicBezTo>
                <a:cubicBezTo>
                  <a:pt x="421" y="82"/>
                  <a:pt x="417" y="81"/>
                  <a:pt x="418" y="82"/>
                </a:cubicBezTo>
                <a:cubicBezTo>
                  <a:pt x="417" y="80"/>
                  <a:pt x="417" y="80"/>
                  <a:pt x="417" y="80"/>
                </a:cubicBezTo>
                <a:cubicBezTo>
                  <a:pt x="414" y="81"/>
                  <a:pt x="411" y="80"/>
                  <a:pt x="408" y="80"/>
                </a:cubicBezTo>
                <a:cubicBezTo>
                  <a:pt x="409" y="79"/>
                  <a:pt x="413" y="79"/>
                  <a:pt x="408" y="78"/>
                </a:cubicBezTo>
                <a:cubicBezTo>
                  <a:pt x="402" y="78"/>
                  <a:pt x="402" y="78"/>
                  <a:pt x="402" y="78"/>
                </a:cubicBezTo>
                <a:cubicBezTo>
                  <a:pt x="400" y="78"/>
                  <a:pt x="399" y="78"/>
                  <a:pt x="401" y="77"/>
                </a:cubicBezTo>
                <a:cubicBezTo>
                  <a:pt x="393" y="76"/>
                  <a:pt x="388" y="78"/>
                  <a:pt x="383" y="77"/>
                </a:cubicBezTo>
                <a:cubicBezTo>
                  <a:pt x="387" y="76"/>
                  <a:pt x="385" y="76"/>
                  <a:pt x="383" y="75"/>
                </a:cubicBezTo>
                <a:cubicBezTo>
                  <a:pt x="383" y="75"/>
                  <a:pt x="382" y="76"/>
                  <a:pt x="380" y="76"/>
                </a:cubicBezTo>
                <a:cubicBezTo>
                  <a:pt x="380" y="76"/>
                  <a:pt x="383" y="75"/>
                  <a:pt x="384" y="76"/>
                </a:cubicBezTo>
                <a:cubicBezTo>
                  <a:pt x="384" y="77"/>
                  <a:pt x="381" y="76"/>
                  <a:pt x="379" y="76"/>
                </a:cubicBezTo>
                <a:cubicBezTo>
                  <a:pt x="378" y="73"/>
                  <a:pt x="361" y="73"/>
                  <a:pt x="354" y="71"/>
                </a:cubicBezTo>
                <a:cubicBezTo>
                  <a:pt x="352" y="72"/>
                  <a:pt x="349" y="71"/>
                  <a:pt x="346" y="71"/>
                </a:cubicBezTo>
                <a:cubicBezTo>
                  <a:pt x="349" y="70"/>
                  <a:pt x="340" y="71"/>
                  <a:pt x="339" y="70"/>
                </a:cubicBezTo>
                <a:cubicBezTo>
                  <a:pt x="338" y="71"/>
                  <a:pt x="338" y="71"/>
                  <a:pt x="338" y="71"/>
                </a:cubicBezTo>
                <a:cubicBezTo>
                  <a:pt x="333" y="70"/>
                  <a:pt x="325" y="71"/>
                  <a:pt x="324" y="70"/>
                </a:cubicBezTo>
                <a:cubicBezTo>
                  <a:pt x="321" y="69"/>
                  <a:pt x="327" y="69"/>
                  <a:pt x="329" y="69"/>
                </a:cubicBezTo>
                <a:cubicBezTo>
                  <a:pt x="327" y="67"/>
                  <a:pt x="314" y="69"/>
                  <a:pt x="313" y="67"/>
                </a:cubicBezTo>
                <a:cubicBezTo>
                  <a:pt x="312" y="67"/>
                  <a:pt x="312" y="68"/>
                  <a:pt x="307" y="68"/>
                </a:cubicBezTo>
                <a:cubicBezTo>
                  <a:pt x="305" y="68"/>
                  <a:pt x="299" y="66"/>
                  <a:pt x="300" y="66"/>
                </a:cubicBezTo>
                <a:cubicBezTo>
                  <a:pt x="297" y="66"/>
                  <a:pt x="295" y="67"/>
                  <a:pt x="293" y="66"/>
                </a:cubicBezTo>
                <a:cubicBezTo>
                  <a:pt x="294" y="66"/>
                  <a:pt x="295" y="66"/>
                  <a:pt x="297" y="66"/>
                </a:cubicBezTo>
                <a:cubicBezTo>
                  <a:pt x="292" y="65"/>
                  <a:pt x="287" y="65"/>
                  <a:pt x="282" y="65"/>
                </a:cubicBezTo>
                <a:cubicBezTo>
                  <a:pt x="281" y="64"/>
                  <a:pt x="271" y="64"/>
                  <a:pt x="263" y="64"/>
                </a:cubicBezTo>
                <a:cubicBezTo>
                  <a:pt x="259" y="65"/>
                  <a:pt x="244" y="65"/>
                  <a:pt x="240" y="69"/>
                </a:cubicBezTo>
                <a:cubicBezTo>
                  <a:pt x="240" y="68"/>
                  <a:pt x="238" y="69"/>
                  <a:pt x="237" y="70"/>
                </a:cubicBezTo>
                <a:cubicBezTo>
                  <a:pt x="235" y="72"/>
                  <a:pt x="239" y="72"/>
                  <a:pt x="239" y="73"/>
                </a:cubicBezTo>
                <a:cubicBezTo>
                  <a:pt x="236" y="73"/>
                  <a:pt x="236" y="73"/>
                  <a:pt x="236" y="73"/>
                </a:cubicBezTo>
                <a:cubicBezTo>
                  <a:pt x="233" y="74"/>
                  <a:pt x="237" y="76"/>
                  <a:pt x="236" y="77"/>
                </a:cubicBezTo>
                <a:cubicBezTo>
                  <a:pt x="238" y="76"/>
                  <a:pt x="237" y="78"/>
                  <a:pt x="239" y="77"/>
                </a:cubicBezTo>
                <a:cubicBezTo>
                  <a:pt x="241" y="78"/>
                  <a:pt x="241" y="78"/>
                  <a:pt x="241" y="78"/>
                </a:cubicBezTo>
                <a:cubicBezTo>
                  <a:pt x="243" y="80"/>
                  <a:pt x="242" y="78"/>
                  <a:pt x="245" y="80"/>
                </a:cubicBezTo>
                <a:cubicBezTo>
                  <a:pt x="246" y="81"/>
                  <a:pt x="242" y="81"/>
                  <a:pt x="242" y="81"/>
                </a:cubicBezTo>
                <a:cubicBezTo>
                  <a:pt x="241" y="82"/>
                  <a:pt x="243" y="82"/>
                  <a:pt x="245" y="83"/>
                </a:cubicBezTo>
                <a:cubicBezTo>
                  <a:pt x="245" y="83"/>
                  <a:pt x="245" y="83"/>
                  <a:pt x="246" y="83"/>
                </a:cubicBezTo>
                <a:cubicBezTo>
                  <a:pt x="245" y="83"/>
                  <a:pt x="245" y="83"/>
                  <a:pt x="245" y="83"/>
                </a:cubicBezTo>
                <a:cubicBezTo>
                  <a:pt x="246" y="84"/>
                  <a:pt x="246" y="84"/>
                  <a:pt x="247" y="84"/>
                </a:cubicBezTo>
                <a:cubicBezTo>
                  <a:pt x="247" y="84"/>
                  <a:pt x="247" y="84"/>
                  <a:pt x="247" y="84"/>
                </a:cubicBezTo>
                <a:cubicBezTo>
                  <a:pt x="246" y="84"/>
                  <a:pt x="246" y="84"/>
                  <a:pt x="245" y="83"/>
                </a:cubicBezTo>
                <a:cubicBezTo>
                  <a:pt x="245" y="84"/>
                  <a:pt x="246" y="84"/>
                  <a:pt x="246" y="84"/>
                </a:cubicBezTo>
                <a:cubicBezTo>
                  <a:pt x="246" y="85"/>
                  <a:pt x="246" y="85"/>
                  <a:pt x="246" y="85"/>
                </a:cubicBezTo>
                <a:cubicBezTo>
                  <a:pt x="247" y="85"/>
                  <a:pt x="247" y="85"/>
                  <a:pt x="247" y="85"/>
                </a:cubicBezTo>
                <a:cubicBezTo>
                  <a:pt x="245" y="86"/>
                  <a:pt x="245" y="86"/>
                  <a:pt x="245" y="86"/>
                </a:cubicBezTo>
                <a:cubicBezTo>
                  <a:pt x="245" y="86"/>
                  <a:pt x="250" y="87"/>
                  <a:pt x="251" y="87"/>
                </a:cubicBezTo>
                <a:cubicBezTo>
                  <a:pt x="252" y="90"/>
                  <a:pt x="260" y="94"/>
                  <a:pt x="263" y="95"/>
                </a:cubicBezTo>
                <a:cubicBezTo>
                  <a:pt x="262" y="95"/>
                  <a:pt x="262" y="95"/>
                  <a:pt x="263" y="95"/>
                </a:cubicBezTo>
                <a:cubicBezTo>
                  <a:pt x="265" y="96"/>
                  <a:pt x="268" y="96"/>
                  <a:pt x="267" y="96"/>
                </a:cubicBezTo>
                <a:cubicBezTo>
                  <a:pt x="269" y="97"/>
                  <a:pt x="266" y="97"/>
                  <a:pt x="268" y="99"/>
                </a:cubicBezTo>
                <a:cubicBezTo>
                  <a:pt x="268" y="99"/>
                  <a:pt x="270" y="98"/>
                  <a:pt x="269" y="98"/>
                </a:cubicBezTo>
                <a:cubicBezTo>
                  <a:pt x="270" y="101"/>
                  <a:pt x="279" y="102"/>
                  <a:pt x="281" y="105"/>
                </a:cubicBezTo>
                <a:cubicBezTo>
                  <a:pt x="280" y="105"/>
                  <a:pt x="279" y="105"/>
                  <a:pt x="278" y="105"/>
                </a:cubicBezTo>
                <a:cubicBezTo>
                  <a:pt x="282" y="106"/>
                  <a:pt x="285" y="108"/>
                  <a:pt x="291" y="109"/>
                </a:cubicBezTo>
                <a:cubicBezTo>
                  <a:pt x="289" y="109"/>
                  <a:pt x="289" y="109"/>
                  <a:pt x="287" y="109"/>
                </a:cubicBezTo>
                <a:cubicBezTo>
                  <a:pt x="289" y="110"/>
                  <a:pt x="292" y="112"/>
                  <a:pt x="295" y="112"/>
                </a:cubicBezTo>
                <a:cubicBezTo>
                  <a:pt x="295" y="111"/>
                  <a:pt x="294" y="112"/>
                  <a:pt x="293" y="111"/>
                </a:cubicBezTo>
                <a:cubicBezTo>
                  <a:pt x="293" y="110"/>
                  <a:pt x="298" y="111"/>
                  <a:pt x="299" y="112"/>
                </a:cubicBezTo>
                <a:cubicBezTo>
                  <a:pt x="299" y="112"/>
                  <a:pt x="299" y="112"/>
                  <a:pt x="299" y="112"/>
                </a:cubicBezTo>
                <a:cubicBezTo>
                  <a:pt x="301" y="113"/>
                  <a:pt x="302" y="113"/>
                  <a:pt x="304" y="114"/>
                </a:cubicBezTo>
                <a:cubicBezTo>
                  <a:pt x="304" y="115"/>
                  <a:pt x="302" y="114"/>
                  <a:pt x="302" y="115"/>
                </a:cubicBezTo>
                <a:cubicBezTo>
                  <a:pt x="299" y="116"/>
                  <a:pt x="304" y="118"/>
                  <a:pt x="304" y="118"/>
                </a:cubicBezTo>
                <a:cubicBezTo>
                  <a:pt x="306" y="118"/>
                  <a:pt x="307" y="119"/>
                  <a:pt x="308" y="118"/>
                </a:cubicBezTo>
                <a:cubicBezTo>
                  <a:pt x="310" y="119"/>
                  <a:pt x="307" y="119"/>
                  <a:pt x="308" y="120"/>
                </a:cubicBezTo>
                <a:cubicBezTo>
                  <a:pt x="318" y="121"/>
                  <a:pt x="318" y="121"/>
                  <a:pt x="318" y="121"/>
                </a:cubicBezTo>
                <a:cubicBezTo>
                  <a:pt x="317" y="121"/>
                  <a:pt x="317" y="123"/>
                  <a:pt x="314" y="122"/>
                </a:cubicBezTo>
                <a:cubicBezTo>
                  <a:pt x="318" y="124"/>
                  <a:pt x="324" y="124"/>
                  <a:pt x="328" y="125"/>
                </a:cubicBezTo>
                <a:cubicBezTo>
                  <a:pt x="329" y="126"/>
                  <a:pt x="333" y="127"/>
                  <a:pt x="334" y="128"/>
                </a:cubicBezTo>
                <a:cubicBezTo>
                  <a:pt x="333" y="129"/>
                  <a:pt x="334" y="127"/>
                  <a:pt x="332" y="128"/>
                </a:cubicBezTo>
                <a:cubicBezTo>
                  <a:pt x="332" y="129"/>
                  <a:pt x="332" y="129"/>
                  <a:pt x="332" y="129"/>
                </a:cubicBezTo>
                <a:cubicBezTo>
                  <a:pt x="329" y="128"/>
                  <a:pt x="329" y="130"/>
                  <a:pt x="326" y="130"/>
                </a:cubicBezTo>
                <a:cubicBezTo>
                  <a:pt x="329" y="131"/>
                  <a:pt x="332" y="133"/>
                  <a:pt x="335" y="135"/>
                </a:cubicBezTo>
                <a:cubicBezTo>
                  <a:pt x="336" y="133"/>
                  <a:pt x="340" y="137"/>
                  <a:pt x="343" y="136"/>
                </a:cubicBezTo>
                <a:cubicBezTo>
                  <a:pt x="347" y="138"/>
                  <a:pt x="342" y="138"/>
                  <a:pt x="342" y="139"/>
                </a:cubicBezTo>
                <a:cubicBezTo>
                  <a:pt x="347" y="140"/>
                  <a:pt x="349" y="143"/>
                  <a:pt x="352" y="144"/>
                </a:cubicBezTo>
                <a:cubicBezTo>
                  <a:pt x="352" y="144"/>
                  <a:pt x="352" y="144"/>
                  <a:pt x="351" y="144"/>
                </a:cubicBezTo>
                <a:cubicBezTo>
                  <a:pt x="355" y="146"/>
                  <a:pt x="358" y="149"/>
                  <a:pt x="363" y="150"/>
                </a:cubicBezTo>
                <a:cubicBezTo>
                  <a:pt x="363" y="150"/>
                  <a:pt x="362" y="150"/>
                  <a:pt x="361" y="150"/>
                </a:cubicBezTo>
                <a:cubicBezTo>
                  <a:pt x="362" y="152"/>
                  <a:pt x="366" y="149"/>
                  <a:pt x="367" y="152"/>
                </a:cubicBezTo>
                <a:cubicBezTo>
                  <a:pt x="364" y="152"/>
                  <a:pt x="364" y="152"/>
                  <a:pt x="364" y="152"/>
                </a:cubicBezTo>
                <a:cubicBezTo>
                  <a:pt x="368" y="153"/>
                  <a:pt x="366" y="155"/>
                  <a:pt x="371" y="156"/>
                </a:cubicBezTo>
                <a:cubicBezTo>
                  <a:pt x="370" y="156"/>
                  <a:pt x="369" y="156"/>
                  <a:pt x="368" y="156"/>
                </a:cubicBezTo>
                <a:cubicBezTo>
                  <a:pt x="371" y="157"/>
                  <a:pt x="372" y="159"/>
                  <a:pt x="376" y="160"/>
                </a:cubicBezTo>
                <a:cubicBezTo>
                  <a:pt x="375" y="160"/>
                  <a:pt x="374" y="160"/>
                  <a:pt x="372" y="160"/>
                </a:cubicBezTo>
                <a:cubicBezTo>
                  <a:pt x="372" y="161"/>
                  <a:pt x="377" y="161"/>
                  <a:pt x="376" y="162"/>
                </a:cubicBezTo>
                <a:cubicBezTo>
                  <a:pt x="376" y="163"/>
                  <a:pt x="375" y="164"/>
                  <a:pt x="375" y="164"/>
                </a:cubicBezTo>
                <a:cubicBezTo>
                  <a:pt x="378" y="164"/>
                  <a:pt x="376" y="167"/>
                  <a:pt x="370" y="167"/>
                </a:cubicBezTo>
                <a:cubicBezTo>
                  <a:pt x="370" y="167"/>
                  <a:pt x="368" y="167"/>
                  <a:pt x="365" y="167"/>
                </a:cubicBezTo>
                <a:cubicBezTo>
                  <a:pt x="339" y="166"/>
                  <a:pt x="317" y="163"/>
                  <a:pt x="293" y="161"/>
                </a:cubicBezTo>
                <a:cubicBezTo>
                  <a:pt x="292" y="159"/>
                  <a:pt x="300" y="161"/>
                  <a:pt x="299" y="160"/>
                </a:cubicBezTo>
                <a:cubicBezTo>
                  <a:pt x="297" y="161"/>
                  <a:pt x="295" y="159"/>
                  <a:pt x="288" y="159"/>
                </a:cubicBezTo>
                <a:cubicBezTo>
                  <a:pt x="288" y="159"/>
                  <a:pt x="288" y="159"/>
                  <a:pt x="288" y="159"/>
                </a:cubicBezTo>
                <a:cubicBezTo>
                  <a:pt x="285" y="158"/>
                  <a:pt x="285" y="157"/>
                  <a:pt x="281" y="157"/>
                </a:cubicBezTo>
                <a:cubicBezTo>
                  <a:pt x="280" y="158"/>
                  <a:pt x="280" y="158"/>
                  <a:pt x="280" y="158"/>
                </a:cubicBezTo>
                <a:cubicBezTo>
                  <a:pt x="276" y="158"/>
                  <a:pt x="276" y="155"/>
                  <a:pt x="272" y="156"/>
                </a:cubicBezTo>
                <a:cubicBezTo>
                  <a:pt x="271" y="155"/>
                  <a:pt x="271" y="155"/>
                  <a:pt x="271" y="155"/>
                </a:cubicBezTo>
                <a:cubicBezTo>
                  <a:pt x="265" y="156"/>
                  <a:pt x="267" y="154"/>
                  <a:pt x="261" y="154"/>
                </a:cubicBezTo>
                <a:cubicBezTo>
                  <a:pt x="262" y="154"/>
                  <a:pt x="262" y="154"/>
                  <a:pt x="262" y="154"/>
                </a:cubicBezTo>
                <a:cubicBezTo>
                  <a:pt x="258" y="153"/>
                  <a:pt x="249" y="154"/>
                  <a:pt x="249" y="152"/>
                </a:cubicBezTo>
                <a:cubicBezTo>
                  <a:pt x="244" y="152"/>
                  <a:pt x="239" y="151"/>
                  <a:pt x="236" y="152"/>
                </a:cubicBezTo>
                <a:cubicBezTo>
                  <a:pt x="236" y="151"/>
                  <a:pt x="238" y="151"/>
                  <a:pt x="239" y="151"/>
                </a:cubicBezTo>
                <a:cubicBezTo>
                  <a:pt x="222" y="149"/>
                  <a:pt x="205" y="145"/>
                  <a:pt x="188" y="144"/>
                </a:cubicBezTo>
                <a:cubicBezTo>
                  <a:pt x="188" y="143"/>
                  <a:pt x="189" y="144"/>
                  <a:pt x="190" y="143"/>
                </a:cubicBezTo>
                <a:cubicBezTo>
                  <a:pt x="179" y="143"/>
                  <a:pt x="175" y="139"/>
                  <a:pt x="164" y="140"/>
                </a:cubicBezTo>
                <a:cubicBezTo>
                  <a:pt x="160" y="140"/>
                  <a:pt x="160" y="140"/>
                  <a:pt x="160" y="140"/>
                </a:cubicBezTo>
                <a:cubicBezTo>
                  <a:pt x="159" y="139"/>
                  <a:pt x="160" y="139"/>
                  <a:pt x="159" y="138"/>
                </a:cubicBezTo>
                <a:cubicBezTo>
                  <a:pt x="156" y="139"/>
                  <a:pt x="151" y="137"/>
                  <a:pt x="148" y="138"/>
                </a:cubicBezTo>
                <a:cubicBezTo>
                  <a:pt x="148" y="137"/>
                  <a:pt x="150" y="137"/>
                  <a:pt x="150" y="137"/>
                </a:cubicBezTo>
                <a:cubicBezTo>
                  <a:pt x="147" y="136"/>
                  <a:pt x="139" y="136"/>
                  <a:pt x="136" y="135"/>
                </a:cubicBezTo>
                <a:cubicBezTo>
                  <a:pt x="138" y="135"/>
                  <a:pt x="138" y="135"/>
                  <a:pt x="138" y="135"/>
                </a:cubicBezTo>
                <a:cubicBezTo>
                  <a:pt x="122" y="130"/>
                  <a:pt x="100" y="124"/>
                  <a:pt x="79" y="123"/>
                </a:cubicBezTo>
                <a:cubicBezTo>
                  <a:pt x="74" y="122"/>
                  <a:pt x="80" y="122"/>
                  <a:pt x="78" y="121"/>
                </a:cubicBezTo>
                <a:cubicBezTo>
                  <a:pt x="58" y="120"/>
                  <a:pt x="44" y="114"/>
                  <a:pt x="23" y="113"/>
                </a:cubicBezTo>
                <a:cubicBezTo>
                  <a:pt x="10" y="111"/>
                  <a:pt x="0" y="113"/>
                  <a:pt x="0" y="113"/>
                </a:cubicBezTo>
                <a:cubicBezTo>
                  <a:pt x="31" y="117"/>
                  <a:pt x="53" y="123"/>
                  <a:pt x="78" y="130"/>
                </a:cubicBezTo>
                <a:close/>
                <a:moveTo>
                  <a:pt x="656" y="33"/>
                </a:moveTo>
                <a:cubicBezTo>
                  <a:pt x="656" y="33"/>
                  <a:pt x="656" y="33"/>
                  <a:pt x="656" y="33"/>
                </a:cubicBezTo>
                <a:moveTo>
                  <a:pt x="655" y="33"/>
                </a:moveTo>
                <a:cubicBezTo>
                  <a:pt x="655" y="33"/>
                  <a:pt x="655" y="33"/>
                  <a:pt x="655" y="33"/>
                </a:cubicBezTo>
                <a:cubicBezTo>
                  <a:pt x="656" y="33"/>
                  <a:pt x="656" y="33"/>
                  <a:pt x="655" y="33"/>
                </a:cubicBezTo>
                <a:close/>
                <a:moveTo>
                  <a:pt x="650" y="3"/>
                </a:moveTo>
                <a:cubicBezTo>
                  <a:pt x="650" y="3"/>
                  <a:pt x="650" y="4"/>
                  <a:pt x="650" y="4"/>
                </a:cubicBezTo>
                <a:cubicBezTo>
                  <a:pt x="650" y="4"/>
                  <a:pt x="649" y="4"/>
                  <a:pt x="648" y="5"/>
                </a:cubicBezTo>
                <a:cubicBezTo>
                  <a:pt x="648" y="4"/>
                  <a:pt x="648" y="3"/>
                  <a:pt x="650" y="3"/>
                </a:cubicBezTo>
                <a:close/>
                <a:moveTo>
                  <a:pt x="649" y="34"/>
                </a:moveTo>
                <a:cubicBezTo>
                  <a:pt x="650" y="34"/>
                  <a:pt x="651" y="34"/>
                  <a:pt x="653" y="34"/>
                </a:cubicBezTo>
                <a:cubicBezTo>
                  <a:pt x="653" y="33"/>
                  <a:pt x="653" y="33"/>
                  <a:pt x="653" y="33"/>
                </a:cubicBezTo>
                <a:cubicBezTo>
                  <a:pt x="653" y="34"/>
                  <a:pt x="653" y="34"/>
                  <a:pt x="653" y="34"/>
                </a:cubicBezTo>
                <a:cubicBezTo>
                  <a:pt x="654" y="34"/>
                  <a:pt x="655" y="33"/>
                  <a:pt x="655" y="33"/>
                </a:cubicBezTo>
                <a:cubicBezTo>
                  <a:pt x="654" y="34"/>
                  <a:pt x="654" y="34"/>
                  <a:pt x="653" y="34"/>
                </a:cubicBezTo>
                <a:cubicBezTo>
                  <a:pt x="653" y="34"/>
                  <a:pt x="653" y="35"/>
                  <a:pt x="652" y="35"/>
                </a:cubicBezTo>
                <a:cubicBezTo>
                  <a:pt x="652" y="35"/>
                  <a:pt x="652" y="35"/>
                  <a:pt x="652" y="35"/>
                </a:cubicBezTo>
                <a:cubicBezTo>
                  <a:pt x="652" y="35"/>
                  <a:pt x="651" y="35"/>
                  <a:pt x="650" y="35"/>
                </a:cubicBezTo>
                <a:cubicBezTo>
                  <a:pt x="649" y="35"/>
                  <a:pt x="649" y="35"/>
                  <a:pt x="649" y="35"/>
                </a:cubicBezTo>
                <a:cubicBezTo>
                  <a:pt x="647" y="36"/>
                  <a:pt x="650" y="36"/>
                  <a:pt x="648" y="37"/>
                </a:cubicBezTo>
                <a:cubicBezTo>
                  <a:pt x="646" y="37"/>
                  <a:pt x="644" y="37"/>
                  <a:pt x="643" y="37"/>
                </a:cubicBezTo>
                <a:cubicBezTo>
                  <a:pt x="643" y="36"/>
                  <a:pt x="646" y="35"/>
                  <a:pt x="640" y="34"/>
                </a:cubicBezTo>
                <a:cubicBezTo>
                  <a:pt x="644" y="33"/>
                  <a:pt x="649" y="35"/>
                  <a:pt x="649" y="34"/>
                </a:cubicBezTo>
                <a:close/>
                <a:moveTo>
                  <a:pt x="539" y="91"/>
                </a:moveTo>
                <a:cubicBezTo>
                  <a:pt x="541" y="91"/>
                  <a:pt x="537" y="92"/>
                  <a:pt x="538" y="92"/>
                </a:cubicBezTo>
                <a:cubicBezTo>
                  <a:pt x="537" y="92"/>
                  <a:pt x="535" y="93"/>
                  <a:pt x="535" y="92"/>
                </a:cubicBezTo>
                <a:cubicBezTo>
                  <a:pt x="538" y="92"/>
                  <a:pt x="539" y="91"/>
                  <a:pt x="539" y="91"/>
                </a:cubicBezTo>
                <a:close/>
              </a:path>
            </a:pathLst>
          </a:custGeom>
          <a:solidFill>
            <a:schemeClr val="bg1">
              <a:lumMod val="85000"/>
            </a:schemeClr>
          </a:solidFill>
          <a:ln>
            <a:noFill/>
          </a:ln>
          <a:extLst/>
        </p:spPr>
        <p:txBody>
          <a:bodyPr wrap="square" lIns="91440" tIns="45720" rIns="91440" bIns="45720" anchor="ctr">
            <a:normAutofit/>
          </a:bodyPr>
          <a:lstStyle/>
          <a:p>
            <a:pPr algn="ctr"/>
            <a:endParaRPr/>
          </a:p>
        </p:txBody>
      </p:sp>
      <p:sp>
        <p:nvSpPr>
          <p:cNvPr id="13" name="íṧlíḑè">
            <a:extLst>
              <a:ext uri="{FF2B5EF4-FFF2-40B4-BE49-F238E27FC236}">
                <a16:creationId xmlns:a16="http://schemas.microsoft.com/office/drawing/2014/main" id="{7C99620B-8631-4194-A4B4-5C3A0230A3FB}"/>
              </a:ext>
            </a:extLst>
          </p:cNvPr>
          <p:cNvSpPr/>
          <p:nvPr/>
        </p:nvSpPr>
        <p:spPr bwMode="auto">
          <a:xfrm flipH="1">
            <a:off x="224476" y="930592"/>
            <a:ext cx="4079154" cy="1022653"/>
          </a:xfrm>
          <a:custGeom>
            <a:avLst/>
            <a:gdLst>
              <a:gd name="T0" fmla="*/ 229 w 695"/>
              <a:gd name="T1" fmla="*/ 157 h 174"/>
              <a:gd name="T2" fmla="*/ 338 w 695"/>
              <a:gd name="T3" fmla="*/ 173 h 174"/>
              <a:gd name="T4" fmla="*/ 395 w 695"/>
              <a:gd name="T5" fmla="*/ 157 h 174"/>
              <a:gd name="T6" fmla="*/ 273 w 695"/>
              <a:gd name="T7" fmla="*/ 86 h 174"/>
              <a:gd name="T8" fmla="*/ 273 w 695"/>
              <a:gd name="T9" fmla="*/ 72 h 174"/>
              <a:gd name="T10" fmla="*/ 355 w 695"/>
              <a:gd name="T11" fmla="*/ 82 h 174"/>
              <a:gd name="T12" fmla="*/ 493 w 695"/>
              <a:gd name="T13" fmla="*/ 99 h 174"/>
              <a:gd name="T14" fmla="*/ 563 w 695"/>
              <a:gd name="T15" fmla="*/ 86 h 174"/>
              <a:gd name="T16" fmla="*/ 534 w 695"/>
              <a:gd name="T17" fmla="*/ 47 h 174"/>
              <a:gd name="T18" fmla="*/ 569 w 695"/>
              <a:gd name="T19" fmla="*/ 32 h 174"/>
              <a:gd name="T20" fmla="*/ 656 w 695"/>
              <a:gd name="T21" fmla="*/ 39 h 174"/>
              <a:gd name="T22" fmla="*/ 653 w 695"/>
              <a:gd name="T23" fmla="*/ 8 h 174"/>
              <a:gd name="T24" fmla="*/ 656 w 695"/>
              <a:gd name="T25" fmla="*/ 4 h 174"/>
              <a:gd name="T26" fmla="*/ 677 w 695"/>
              <a:gd name="T27" fmla="*/ 3 h 174"/>
              <a:gd name="T28" fmla="*/ 689 w 695"/>
              <a:gd name="T29" fmla="*/ 2 h 174"/>
              <a:gd name="T30" fmla="*/ 656 w 695"/>
              <a:gd name="T31" fmla="*/ 1 h 174"/>
              <a:gd name="T32" fmla="*/ 645 w 695"/>
              <a:gd name="T33" fmla="*/ 8 h 174"/>
              <a:gd name="T34" fmla="*/ 652 w 695"/>
              <a:gd name="T35" fmla="*/ 28 h 174"/>
              <a:gd name="T36" fmla="*/ 633 w 695"/>
              <a:gd name="T37" fmla="*/ 32 h 174"/>
              <a:gd name="T38" fmla="*/ 631 w 695"/>
              <a:gd name="T39" fmla="*/ 31 h 174"/>
              <a:gd name="T40" fmla="*/ 623 w 695"/>
              <a:gd name="T41" fmla="*/ 29 h 174"/>
              <a:gd name="T42" fmla="*/ 588 w 695"/>
              <a:gd name="T43" fmla="*/ 27 h 174"/>
              <a:gd name="T44" fmla="*/ 573 w 695"/>
              <a:gd name="T45" fmla="*/ 24 h 174"/>
              <a:gd name="T46" fmla="*/ 562 w 695"/>
              <a:gd name="T47" fmla="*/ 22 h 174"/>
              <a:gd name="T48" fmla="*/ 532 w 695"/>
              <a:gd name="T49" fmla="*/ 21 h 174"/>
              <a:gd name="T50" fmla="*/ 498 w 695"/>
              <a:gd name="T51" fmla="*/ 36 h 174"/>
              <a:gd name="T52" fmla="*/ 500 w 695"/>
              <a:gd name="T53" fmla="*/ 43 h 174"/>
              <a:gd name="T54" fmla="*/ 516 w 695"/>
              <a:gd name="T55" fmla="*/ 47 h 174"/>
              <a:gd name="T56" fmla="*/ 509 w 695"/>
              <a:gd name="T57" fmla="*/ 51 h 174"/>
              <a:gd name="T58" fmla="*/ 529 w 695"/>
              <a:gd name="T59" fmla="*/ 74 h 174"/>
              <a:gd name="T60" fmla="*/ 535 w 695"/>
              <a:gd name="T61" fmla="*/ 83 h 174"/>
              <a:gd name="T62" fmla="*/ 515 w 695"/>
              <a:gd name="T63" fmla="*/ 91 h 174"/>
              <a:gd name="T64" fmla="*/ 466 w 695"/>
              <a:gd name="T65" fmla="*/ 86 h 174"/>
              <a:gd name="T66" fmla="*/ 444 w 695"/>
              <a:gd name="T67" fmla="*/ 84 h 174"/>
              <a:gd name="T68" fmla="*/ 435 w 695"/>
              <a:gd name="T69" fmla="*/ 82 h 174"/>
              <a:gd name="T70" fmla="*/ 418 w 695"/>
              <a:gd name="T71" fmla="*/ 82 h 174"/>
              <a:gd name="T72" fmla="*/ 383 w 695"/>
              <a:gd name="T73" fmla="*/ 77 h 174"/>
              <a:gd name="T74" fmla="*/ 346 w 695"/>
              <a:gd name="T75" fmla="*/ 71 h 174"/>
              <a:gd name="T76" fmla="*/ 307 w 695"/>
              <a:gd name="T77" fmla="*/ 68 h 174"/>
              <a:gd name="T78" fmla="*/ 240 w 695"/>
              <a:gd name="T79" fmla="*/ 69 h 174"/>
              <a:gd name="T80" fmla="*/ 241 w 695"/>
              <a:gd name="T81" fmla="*/ 78 h 174"/>
              <a:gd name="T82" fmla="*/ 247 w 695"/>
              <a:gd name="T83" fmla="*/ 84 h 174"/>
              <a:gd name="T84" fmla="*/ 245 w 695"/>
              <a:gd name="T85" fmla="*/ 86 h 174"/>
              <a:gd name="T86" fmla="*/ 269 w 695"/>
              <a:gd name="T87" fmla="*/ 98 h 174"/>
              <a:gd name="T88" fmla="*/ 293 w 695"/>
              <a:gd name="T89" fmla="*/ 111 h 174"/>
              <a:gd name="T90" fmla="*/ 308 w 695"/>
              <a:gd name="T91" fmla="*/ 118 h 174"/>
              <a:gd name="T92" fmla="*/ 332 w 695"/>
              <a:gd name="T93" fmla="*/ 128 h 174"/>
              <a:gd name="T94" fmla="*/ 352 w 695"/>
              <a:gd name="T95" fmla="*/ 144 h 174"/>
              <a:gd name="T96" fmla="*/ 371 w 695"/>
              <a:gd name="T97" fmla="*/ 156 h 174"/>
              <a:gd name="T98" fmla="*/ 370 w 695"/>
              <a:gd name="T99" fmla="*/ 167 h 174"/>
              <a:gd name="T100" fmla="*/ 281 w 695"/>
              <a:gd name="T101" fmla="*/ 157 h 174"/>
              <a:gd name="T102" fmla="*/ 249 w 695"/>
              <a:gd name="T103" fmla="*/ 152 h 174"/>
              <a:gd name="T104" fmla="*/ 160 w 695"/>
              <a:gd name="T105" fmla="*/ 140 h 174"/>
              <a:gd name="T106" fmla="*/ 79 w 695"/>
              <a:gd name="T107" fmla="*/ 123 h 174"/>
              <a:gd name="T108" fmla="*/ 656 w 695"/>
              <a:gd name="T109" fmla="*/ 33 h 174"/>
              <a:gd name="T110" fmla="*/ 648 w 695"/>
              <a:gd name="T111" fmla="*/ 5 h 174"/>
              <a:gd name="T112" fmla="*/ 655 w 695"/>
              <a:gd name="T113" fmla="*/ 33 h 174"/>
              <a:gd name="T114" fmla="*/ 648 w 695"/>
              <a:gd name="T115" fmla="*/ 37 h 174"/>
              <a:gd name="T116" fmla="*/ 535 w 695"/>
              <a:gd name="T117" fmla="*/ 92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95" h="174">
                <a:moveTo>
                  <a:pt x="78" y="130"/>
                </a:moveTo>
                <a:cubicBezTo>
                  <a:pt x="88" y="132"/>
                  <a:pt x="101" y="134"/>
                  <a:pt x="109" y="136"/>
                </a:cubicBezTo>
                <a:cubicBezTo>
                  <a:pt x="147" y="143"/>
                  <a:pt x="179" y="151"/>
                  <a:pt x="220" y="157"/>
                </a:cubicBezTo>
                <a:cubicBezTo>
                  <a:pt x="219" y="157"/>
                  <a:pt x="222" y="157"/>
                  <a:pt x="225" y="157"/>
                </a:cubicBezTo>
                <a:cubicBezTo>
                  <a:pt x="224" y="157"/>
                  <a:pt x="224" y="157"/>
                  <a:pt x="224" y="157"/>
                </a:cubicBezTo>
                <a:cubicBezTo>
                  <a:pt x="229" y="157"/>
                  <a:pt x="229" y="157"/>
                  <a:pt x="229" y="157"/>
                </a:cubicBezTo>
                <a:cubicBezTo>
                  <a:pt x="232" y="157"/>
                  <a:pt x="229" y="158"/>
                  <a:pt x="226" y="158"/>
                </a:cubicBezTo>
                <a:cubicBezTo>
                  <a:pt x="242" y="160"/>
                  <a:pt x="257" y="162"/>
                  <a:pt x="272" y="165"/>
                </a:cubicBezTo>
                <a:cubicBezTo>
                  <a:pt x="275" y="164"/>
                  <a:pt x="280" y="166"/>
                  <a:pt x="283" y="165"/>
                </a:cubicBezTo>
                <a:cubicBezTo>
                  <a:pt x="283" y="166"/>
                  <a:pt x="283" y="166"/>
                  <a:pt x="282" y="166"/>
                </a:cubicBezTo>
                <a:cubicBezTo>
                  <a:pt x="294" y="167"/>
                  <a:pt x="295" y="167"/>
                  <a:pt x="303" y="169"/>
                </a:cubicBezTo>
                <a:cubicBezTo>
                  <a:pt x="314" y="171"/>
                  <a:pt x="325" y="172"/>
                  <a:pt x="338" y="173"/>
                </a:cubicBezTo>
                <a:cubicBezTo>
                  <a:pt x="346" y="174"/>
                  <a:pt x="351" y="174"/>
                  <a:pt x="366" y="173"/>
                </a:cubicBezTo>
                <a:cubicBezTo>
                  <a:pt x="367" y="173"/>
                  <a:pt x="372" y="173"/>
                  <a:pt x="375" y="172"/>
                </a:cubicBezTo>
                <a:cubicBezTo>
                  <a:pt x="379" y="171"/>
                  <a:pt x="379" y="171"/>
                  <a:pt x="379" y="171"/>
                </a:cubicBezTo>
                <a:cubicBezTo>
                  <a:pt x="396" y="166"/>
                  <a:pt x="387" y="169"/>
                  <a:pt x="391" y="167"/>
                </a:cubicBezTo>
                <a:cubicBezTo>
                  <a:pt x="398" y="163"/>
                  <a:pt x="396" y="163"/>
                  <a:pt x="397" y="161"/>
                </a:cubicBezTo>
                <a:cubicBezTo>
                  <a:pt x="397" y="160"/>
                  <a:pt x="396" y="158"/>
                  <a:pt x="395" y="157"/>
                </a:cubicBezTo>
                <a:cubicBezTo>
                  <a:pt x="389" y="149"/>
                  <a:pt x="378" y="143"/>
                  <a:pt x="368" y="136"/>
                </a:cubicBezTo>
                <a:cubicBezTo>
                  <a:pt x="347" y="123"/>
                  <a:pt x="322" y="111"/>
                  <a:pt x="300" y="97"/>
                </a:cubicBezTo>
                <a:cubicBezTo>
                  <a:pt x="292" y="96"/>
                  <a:pt x="289" y="93"/>
                  <a:pt x="282" y="92"/>
                </a:cubicBezTo>
                <a:cubicBezTo>
                  <a:pt x="283" y="91"/>
                  <a:pt x="283" y="91"/>
                  <a:pt x="283" y="91"/>
                </a:cubicBezTo>
                <a:cubicBezTo>
                  <a:pt x="278" y="90"/>
                  <a:pt x="279" y="89"/>
                  <a:pt x="277" y="86"/>
                </a:cubicBezTo>
                <a:cubicBezTo>
                  <a:pt x="276" y="86"/>
                  <a:pt x="275" y="85"/>
                  <a:pt x="273" y="86"/>
                </a:cubicBezTo>
                <a:cubicBezTo>
                  <a:pt x="270" y="85"/>
                  <a:pt x="274" y="83"/>
                  <a:pt x="271" y="82"/>
                </a:cubicBezTo>
                <a:cubicBezTo>
                  <a:pt x="272" y="82"/>
                  <a:pt x="270" y="83"/>
                  <a:pt x="270" y="82"/>
                </a:cubicBezTo>
                <a:cubicBezTo>
                  <a:pt x="262" y="79"/>
                  <a:pt x="272" y="82"/>
                  <a:pt x="269" y="77"/>
                </a:cubicBezTo>
                <a:cubicBezTo>
                  <a:pt x="267" y="76"/>
                  <a:pt x="264" y="74"/>
                  <a:pt x="262" y="72"/>
                </a:cubicBezTo>
                <a:cubicBezTo>
                  <a:pt x="265" y="72"/>
                  <a:pt x="269" y="72"/>
                  <a:pt x="272" y="73"/>
                </a:cubicBezTo>
                <a:cubicBezTo>
                  <a:pt x="270" y="73"/>
                  <a:pt x="271" y="72"/>
                  <a:pt x="273" y="72"/>
                </a:cubicBezTo>
                <a:cubicBezTo>
                  <a:pt x="273" y="74"/>
                  <a:pt x="281" y="72"/>
                  <a:pt x="284" y="73"/>
                </a:cubicBezTo>
                <a:cubicBezTo>
                  <a:pt x="283" y="73"/>
                  <a:pt x="281" y="73"/>
                  <a:pt x="280" y="73"/>
                </a:cubicBezTo>
                <a:cubicBezTo>
                  <a:pt x="288" y="75"/>
                  <a:pt x="297" y="75"/>
                  <a:pt x="304" y="76"/>
                </a:cubicBezTo>
                <a:cubicBezTo>
                  <a:pt x="314" y="76"/>
                  <a:pt x="320" y="79"/>
                  <a:pt x="327" y="78"/>
                </a:cubicBezTo>
                <a:cubicBezTo>
                  <a:pt x="325" y="79"/>
                  <a:pt x="330" y="79"/>
                  <a:pt x="331" y="80"/>
                </a:cubicBezTo>
                <a:cubicBezTo>
                  <a:pt x="341" y="79"/>
                  <a:pt x="345" y="82"/>
                  <a:pt x="355" y="82"/>
                </a:cubicBezTo>
                <a:cubicBezTo>
                  <a:pt x="354" y="82"/>
                  <a:pt x="354" y="82"/>
                  <a:pt x="354" y="82"/>
                </a:cubicBezTo>
                <a:cubicBezTo>
                  <a:pt x="376" y="85"/>
                  <a:pt x="398" y="88"/>
                  <a:pt x="422" y="90"/>
                </a:cubicBezTo>
                <a:cubicBezTo>
                  <a:pt x="436" y="92"/>
                  <a:pt x="446" y="95"/>
                  <a:pt x="463" y="96"/>
                </a:cubicBezTo>
                <a:cubicBezTo>
                  <a:pt x="466" y="96"/>
                  <a:pt x="464" y="96"/>
                  <a:pt x="467" y="96"/>
                </a:cubicBezTo>
                <a:cubicBezTo>
                  <a:pt x="470" y="96"/>
                  <a:pt x="466" y="96"/>
                  <a:pt x="467" y="96"/>
                </a:cubicBezTo>
                <a:cubicBezTo>
                  <a:pt x="475" y="97"/>
                  <a:pt x="483" y="98"/>
                  <a:pt x="493" y="99"/>
                </a:cubicBezTo>
                <a:cubicBezTo>
                  <a:pt x="494" y="99"/>
                  <a:pt x="497" y="99"/>
                  <a:pt x="497" y="99"/>
                </a:cubicBezTo>
                <a:cubicBezTo>
                  <a:pt x="501" y="100"/>
                  <a:pt x="508" y="100"/>
                  <a:pt x="516" y="100"/>
                </a:cubicBezTo>
                <a:cubicBezTo>
                  <a:pt x="520" y="100"/>
                  <a:pt x="524" y="100"/>
                  <a:pt x="530" y="100"/>
                </a:cubicBezTo>
                <a:cubicBezTo>
                  <a:pt x="534" y="101"/>
                  <a:pt x="558" y="94"/>
                  <a:pt x="557" y="93"/>
                </a:cubicBezTo>
                <a:cubicBezTo>
                  <a:pt x="549" y="96"/>
                  <a:pt x="562" y="89"/>
                  <a:pt x="560" y="87"/>
                </a:cubicBezTo>
                <a:cubicBezTo>
                  <a:pt x="561" y="86"/>
                  <a:pt x="562" y="86"/>
                  <a:pt x="563" y="86"/>
                </a:cubicBezTo>
                <a:cubicBezTo>
                  <a:pt x="564" y="83"/>
                  <a:pt x="563" y="81"/>
                  <a:pt x="563" y="77"/>
                </a:cubicBezTo>
                <a:cubicBezTo>
                  <a:pt x="562" y="76"/>
                  <a:pt x="559" y="76"/>
                  <a:pt x="559" y="74"/>
                </a:cubicBezTo>
                <a:cubicBezTo>
                  <a:pt x="561" y="72"/>
                  <a:pt x="557" y="70"/>
                  <a:pt x="557" y="68"/>
                </a:cubicBezTo>
                <a:cubicBezTo>
                  <a:pt x="554" y="69"/>
                  <a:pt x="551" y="68"/>
                  <a:pt x="550" y="66"/>
                </a:cubicBezTo>
                <a:cubicBezTo>
                  <a:pt x="554" y="65"/>
                  <a:pt x="554" y="65"/>
                  <a:pt x="554" y="65"/>
                </a:cubicBezTo>
                <a:cubicBezTo>
                  <a:pt x="548" y="61"/>
                  <a:pt x="545" y="52"/>
                  <a:pt x="534" y="47"/>
                </a:cubicBezTo>
                <a:cubicBezTo>
                  <a:pt x="536" y="46"/>
                  <a:pt x="536" y="46"/>
                  <a:pt x="536" y="46"/>
                </a:cubicBezTo>
                <a:cubicBezTo>
                  <a:pt x="528" y="41"/>
                  <a:pt x="524" y="34"/>
                  <a:pt x="521" y="29"/>
                </a:cubicBezTo>
                <a:cubicBezTo>
                  <a:pt x="521" y="29"/>
                  <a:pt x="520" y="30"/>
                  <a:pt x="527" y="30"/>
                </a:cubicBezTo>
                <a:cubicBezTo>
                  <a:pt x="534" y="29"/>
                  <a:pt x="537" y="29"/>
                  <a:pt x="543" y="29"/>
                </a:cubicBezTo>
                <a:cubicBezTo>
                  <a:pt x="546" y="29"/>
                  <a:pt x="546" y="30"/>
                  <a:pt x="547" y="30"/>
                </a:cubicBezTo>
                <a:cubicBezTo>
                  <a:pt x="555" y="31"/>
                  <a:pt x="560" y="33"/>
                  <a:pt x="569" y="32"/>
                </a:cubicBezTo>
                <a:cubicBezTo>
                  <a:pt x="568" y="33"/>
                  <a:pt x="568" y="33"/>
                  <a:pt x="568" y="33"/>
                </a:cubicBezTo>
                <a:cubicBezTo>
                  <a:pt x="575" y="33"/>
                  <a:pt x="586" y="34"/>
                  <a:pt x="592" y="35"/>
                </a:cubicBezTo>
                <a:cubicBezTo>
                  <a:pt x="595" y="35"/>
                  <a:pt x="603" y="36"/>
                  <a:pt x="601" y="35"/>
                </a:cubicBezTo>
                <a:cubicBezTo>
                  <a:pt x="604" y="35"/>
                  <a:pt x="600" y="36"/>
                  <a:pt x="605" y="36"/>
                </a:cubicBezTo>
                <a:cubicBezTo>
                  <a:pt x="600" y="36"/>
                  <a:pt x="600" y="36"/>
                  <a:pt x="600" y="36"/>
                </a:cubicBezTo>
                <a:cubicBezTo>
                  <a:pt x="618" y="38"/>
                  <a:pt x="625" y="42"/>
                  <a:pt x="656" y="39"/>
                </a:cubicBezTo>
                <a:cubicBezTo>
                  <a:pt x="672" y="35"/>
                  <a:pt x="667" y="30"/>
                  <a:pt x="667" y="26"/>
                </a:cubicBezTo>
                <a:cubicBezTo>
                  <a:pt x="665" y="25"/>
                  <a:pt x="664" y="21"/>
                  <a:pt x="659" y="21"/>
                </a:cubicBezTo>
                <a:cubicBezTo>
                  <a:pt x="661" y="20"/>
                  <a:pt x="661" y="20"/>
                  <a:pt x="661" y="20"/>
                </a:cubicBezTo>
                <a:cubicBezTo>
                  <a:pt x="659" y="18"/>
                  <a:pt x="657" y="14"/>
                  <a:pt x="655" y="11"/>
                </a:cubicBezTo>
                <a:cubicBezTo>
                  <a:pt x="655" y="9"/>
                  <a:pt x="653" y="10"/>
                  <a:pt x="651" y="8"/>
                </a:cubicBezTo>
                <a:cubicBezTo>
                  <a:pt x="653" y="8"/>
                  <a:pt x="653" y="8"/>
                  <a:pt x="653" y="8"/>
                </a:cubicBezTo>
                <a:cubicBezTo>
                  <a:pt x="651" y="6"/>
                  <a:pt x="649" y="6"/>
                  <a:pt x="647" y="6"/>
                </a:cubicBezTo>
                <a:cubicBezTo>
                  <a:pt x="648" y="5"/>
                  <a:pt x="648" y="5"/>
                  <a:pt x="648" y="5"/>
                </a:cubicBezTo>
                <a:cubicBezTo>
                  <a:pt x="649" y="5"/>
                  <a:pt x="650" y="4"/>
                  <a:pt x="651" y="4"/>
                </a:cubicBezTo>
                <a:cubicBezTo>
                  <a:pt x="652" y="5"/>
                  <a:pt x="653" y="5"/>
                  <a:pt x="654" y="5"/>
                </a:cubicBezTo>
                <a:cubicBezTo>
                  <a:pt x="653" y="5"/>
                  <a:pt x="654" y="5"/>
                  <a:pt x="654" y="4"/>
                </a:cubicBezTo>
                <a:cubicBezTo>
                  <a:pt x="655" y="4"/>
                  <a:pt x="655" y="4"/>
                  <a:pt x="656" y="4"/>
                </a:cubicBezTo>
                <a:cubicBezTo>
                  <a:pt x="662" y="4"/>
                  <a:pt x="666" y="4"/>
                  <a:pt x="668" y="3"/>
                </a:cubicBezTo>
                <a:cubicBezTo>
                  <a:pt x="666" y="4"/>
                  <a:pt x="671" y="4"/>
                  <a:pt x="667" y="4"/>
                </a:cubicBezTo>
                <a:cubicBezTo>
                  <a:pt x="671" y="4"/>
                  <a:pt x="674" y="4"/>
                  <a:pt x="677" y="4"/>
                </a:cubicBezTo>
                <a:cubicBezTo>
                  <a:pt x="676" y="4"/>
                  <a:pt x="675" y="4"/>
                  <a:pt x="674" y="4"/>
                </a:cubicBezTo>
                <a:cubicBezTo>
                  <a:pt x="678" y="3"/>
                  <a:pt x="682" y="3"/>
                  <a:pt x="682" y="3"/>
                </a:cubicBezTo>
                <a:cubicBezTo>
                  <a:pt x="680" y="3"/>
                  <a:pt x="679" y="3"/>
                  <a:pt x="677" y="3"/>
                </a:cubicBezTo>
                <a:cubicBezTo>
                  <a:pt x="679" y="2"/>
                  <a:pt x="687" y="2"/>
                  <a:pt x="687" y="3"/>
                </a:cubicBezTo>
                <a:cubicBezTo>
                  <a:pt x="687" y="4"/>
                  <a:pt x="681" y="4"/>
                  <a:pt x="683" y="4"/>
                </a:cubicBezTo>
                <a:cubicBezTo>
                  <a:pt x="695" y="4"/>
                  <a:pt x="695" y="4"/>
                  <a:pt x="695" y="4"/>
                </a:cubicBezTo>
                <a:cubicBezTo>
                  <a:pt x="692" y="4"/>
                  <a:pt x="691" y="3"/>
                  <a:pt x="693" y="3"/>
                </a:cubicBezTo>
                <a:cubicBezTo>
                  <a:pt x="688" y="3"/>
                  <a:pt x="688" y="3"/>
                  <a:pt x="688" y="3"/>
                </a:cubicBezTo>
                <a:cubicBezTo>
                  <a:pt x="689" y="2"/>
                  <a:pt x="689" y="2"/>
                  <a:pt x="689" y="2"/>
                </a:cubicBezTo>
                <a:cubicBezTo>
                  <a:pt x="682" y="2"/>
                  <a:pt x="677" y="1"/>
                  <a:pt x="668" y="1"/>
                </a:cubicBezTo>
                <a:cubicBezTo>
                  <a:pt x="670" y="2"/>
                  <a:pt x="670" y="2"/>
                  <a:pt x="670" y="2"/>
                </a:cubicBezTo>
                <a:cubicBezTo>
                  <a:pt x="665" y="2"/>
                  <a:pt x="659" y="3"/>
                  <a:pt x="655" y="3"/>
                </a:cubicBezTo>
                <a:cubicBezTo>
                  <a:pt x="658" y="2"/>
                  <a:pt x="656" y="2"/>
                  <a:pt x="657" y="2"/>
                </a:cubicBezTo>
                <a:cubicBezTo>
                  <a:pt x="655" y="2"/>
                  <a:pt x="654" y="2"/>
                  <a:pt x="652" y="2"/>
                </a:cubicBezTo>
                <a:cubicBezTo>
                  <a:pt x="656" y="1"/>
                  <a:pt x="656" y="1"/>
                  <a:pt x="656" y="1"/>
                </a:cubicBezTo>
                <a:cubicBezTo>
                  <a:pt x="655" y="1"/>
                  <a:pt x="654" y="2"/>
                  <a:pt x="652" y="2"/>
                </a:cubicBezTo>
                <a:cubicBezTo>
                  <a:pt x="649" y="3"/>
                  <a:pt x="655" y="0"/>
                  <a:pt x="645" y="4"/>
                </a:cubicBezTo>
                <a:cubicBezTo>
                  <a:pt x="644" y="4"/>
                  <a:pt x="644" y="4"/>
                  <a:pt x="644" y="4"/>
                </a:cubicBezTo>
                <a:cubicBezTo>
                  <a:pt x="644" y="6"/>
                  <a:pt x="643" y="7"/>
                  <a:pt x="643" y="7"/>
                </a:cubicBezTo>
                <a:cubicBezTo>
                  <a:pt x="643" y="7"/>
                  <a:pt x="643" y="7"/>
                  <a:pt x="643" y="7"/>
                </a:cubicBezTo>
                <a:cubicBezTo>
                  <a:pt x="641" y="10"/>
                  <a:pt x="645" y="6"/>
                  <a:pt x="645" y="8"/>
                </a:cubicBezTo>
                <a:cubicBezTo>
                  <a:pt x="644" y="9"/>
                  <a:pt x="641" y="9"/>
                  <a:pt x="640" y="11"/>
                </a:cubicBezTo>
                <a:cubicBezTo>
                  <a:pt x="640" y="13"/>
                  <a:pt x="645" y="16"/>
                  <a:pt x="644" y="19"/>
                </a:cubicBezTo>
                <a:cubicBezTo>
                  <a:pt x="647" y="21"/>
                  <a:pt x="650" y="23"/>
                  <a:pt x="653" y="24"/>
                </a:cubicBezTo>
                <a:cubicBezTo>
                  <a:pt x="654" y="25"/>
                  <a:pt x="649" y="25"/>
                  <a:pt x="652" y="26"/>
                </a:cubicBezTo>
                <a:cubicBezTo>
                  <a:pt x="650" y="26"/>
                  <a:pt x="649" y="26"/>
                  <a:pt x="648" y="27"/>
                </a:cubicBezTo>
                <a:cubicBezTo>
                  <a:pt x="650" y="27"/>
                  <a:pt x="650" y="30"/>
                  <a:pt x="652" y="28"/>
                </a:cubicBezTo>
                <a:cubicBezTo>
                  <a:pt x="653" y="30"/>
                  <a:pt x="654" y="32"/>
                  <a:pt x="653" y="33"/>
                </a:cubicBezTo>
                <a:cubicBezTo>
                  <a:pt x="652" y="33"/>
                  <a:pt x="650" y="33"/>
                  <a:pt x="649" y="33"/>
                </a:cubicBezTo>
                <a:cubicBezTo>
                  <a:pt x="648" y="34"/>
                  <a:pt x="650" y="34"/>
                  <a:pt x="646" y="34"/>
                </a:cubicBezTo>
                <a:cubicBezTo>
                  <a:pt x="638" y="35"/>
                  <a:pt x="640" y="33"/>
                  <a:pt x="639" y="32"/>
                </a:cubicBezTo>
                <a:cubicBezTo>
                  <a:pt x="643" y="32"/>
                  <a:pt x="643" y="32"/>
                  <a:pt x="643" y="32"/>
                </a:cubicBezTo>
                <a:cubicBezTo>
                  <a:pt x="640" y="32"/>
                  <a:pt x="637" y="32"/>
                  <a:pt x="633" y="32"/>
                </a:cubicBezTo>
                <a:cubicBezTo>
                  <a:pt x="635" y="30"/>
                  <a:pt x="640" y="32"/>
                  <a:pt x="643" y="32"/>
                </a:cubicBezTo>
                <a:cubicBezTo>
                  <a:pt x="642" y="30"/>
                  <a:pt x="642" y="30"/>
                  <a:pt x="642" y="30"/>
                </a:cubicBezTo>
                <a:cubicBezTo>
                  <a:pt x="636" y="29"/>
                  <a:pt x="638" y="31"/>
                  <a:pt x="632" y="30"/>
                </a:cubicBezTo>
                <a:cubicBezTo>
                  <a:pt x="634" y="30"/>
                  <a:pt x="634" y="30"/>
                  <a:pt x="634" y="30"/>
                </a:cubicBezTo>
                <a:cubicBezTo>
                  <a:pt x="629" y="29"/>
                  <a:pt x="629" y="29"/>
                  <a:pt x="629" y="29"/>
                </a:cubicBezTo>
                <a:cubicBezTo>
                  <a:pt x="628" y="30"/>
                  <a:pt x="627" y="31"/>
                  <a:pt x="631" y="31"/>
                </a:cubicBezTo>
                <a:cubicBezTo>
                  <a:pt x="626" y="32"/>
                  <a:pt x="627" y="31"/>
                  <a:pt x="621" y="30"/>
                </a:cubicBezTo>
                <a:cubicBezTo>
                  <a:pt x="618" y="31"/>
                  <a:pt x="624" y="31"/>
                  <a:pt x="622" y="31"/>
                </a:cubicBezTo>
                <a:cubicBezTo>
                  <a:pt x="621" y="32"/>
                  <a:pt x="617" y="32"/>
                  <a:pt x="614" y="31"/>
                </a:cubicBezTo>
                <a:cubicBezTo>
                  <a:pt x="609" y="31"/>
                  <a:pt x="614" y="30"/>
                  <a:pt x="613" y="30"/>
                </a:cubicBezTo>
                <a:cubicBezTo>
                  <a:pt x="614" y="30"/>
                  <a:pt x="618" y="30"/>
                  <a:pt x="616" y="30"/>
                </a:cubicBezTo>
                <a:cubicBezTo>
                  <a:pt x="624" y="30"/>
                  <a:pt x="618" y="29"/>
                  <a:pt x="623" y="29"/>
                </a:cubicBezTo>
                <a:cubicBezTo>
                  <a:pt x="619" y="27"/>
                  <a:pt x="617" y="28"/>
                  <a:pt x="615" y="28"/>
                </a:cubicBezTo>
                <a:cubicBezTo>
                  <a:pt x="616" y="29"/>
                  <a:pt x="612" y="29"/>
                  <a:pt x="613" y="29"/>
                </a:cubicBezTo>
                <a:cubicBezTo>
                  <a:pt x="600" y="30"/>
                  <a:pt x="611" y="27"/>
                  <a:pt x="603" y="27"/>
                </a:cubicBezTo>
                <a:cubicBezTo>
                  <a:pt x="602" y="28"/>
                  <a:pt x="589" y="27"/>
                  <a:pt x="591" y="29"/>
                </a:cubicBezTo>
                <a:cubicBezTo>
                  <a:pt x="589" y="29"/>
                  <a:pt x="586" y="29"/>
                  <a:pt x="585" y="29"/>
                </a:cubicBezTo>
                <a:cubicBezTo>
                  <a:pt x="589" y="28"/>
                  <a:pt x="583" y="28"/>
                  <a:pt x="588" y="27"/>
                </a:cubicBezTo>
                <a:cubicBezTo>
                  <a:pt x="586" y="27"/>
                  <a:pt x="586" y="27"/>
                  <a:pt x="586" y="27"/>
                </a:cubicBezTo>
                <a:cubicBezTo>
                  <a:pt x="592" y="27"/>
                  <a:pt x="592" y="27"/>
                  <a:pt x="592" y="27"/>
                </a:cubicBezTo>
                <a:cubicBezTo>
                  <a:pt x="590" y="26"/>
                  <a:pt x="587" y="24"/>
                  <a:pt x="586" y="24"/>
                </a:cubicBezTo>
                <a:cubicBezTo>
                  <a:pt x="581" y="24"/>
                  <a:pt x="586" y="25"/>
                  <a:pt x="580" y="24"/>
                </a:cubicBezTo>
                <a:cubicBezTo>
                  <a:pt x="583" y="24"/>
                  <a:pt x="581" y="23"/>
                  <a:pt x="579" y="23"/>
                </a:cubicBezTo>
                <a:cubicBezTo>
                  <a:pt x="582" y="24"/>
                  <a:pt x="576" y="24"/>
                  <a:pt x="573" y="24"/>
                </a:cubicBezTo>
                <a:cubicBezTo>
                  <a:pt x="569" y="24"/>
                  <a:pt x="567" y="23"/>
                  <a:pt x="568" y="23"/>
                </a:cubicBezTo>
                <a:cubicBezTo>
                  <a:pt x="574" y="22"/>
                  <a:pt x="574" y="22"/>
                  <a:pt x="574" y="22"/>
                </a:cubicBezTo>
                <a:cubicBezTo>
                  <a:pt x="570" y="23"/>
                  <a:pt x="573" y="22"/>
                  <a:pt x="570" y="22"/>
                </a:cubicBezTo>
                <a:cubicBezTo>
                  <a:pt x="568" y="22"/>
                  <a:pt x="564" y="23"/>
                  <a:pt x="562" y="23"/>
                </a:cubicBezTo>
                <a:cubicBezTo>
                  <a:pt x="558" y="23"/>
                  <a:pt x="558" y="22"/>
                  <a:pt x="556" y="22"/>
                </a:cubicBezTo>
                <a:cubicBezTo>
                  <a:pt x="562" y="22"/>
                  <a:pt x="562" y="22"/>
                  <a:pt x="562" y="22"/>
                </a:cubicBezTo>
                <a:cubicBezTo>
                  <a:pt x="556" y="22"/>
                  <a:pt x="564" y="21"/>
                  <a:pt x="556" y="21"/>
                </a:cubicBezTo>
                <a:cubicBezTo>
                  <a:pt x="553" y="21"/>
                  <a:pt x="553" y="21"/>
                  <a:pt x="553" y="21"/>
                </a:cubicBezTo>
                <a:cubicBezTo>
                  <a:pt x="552" y="21"/>
                  <a:pt x="552" y="21"/>
                  <a:pt x="554" y="20"/>
                </a:cubicBezTo>
                <a:cubicBezTo>
                  <a:pt x="552" y="21"/>
                  <a:pt x="548" y="21"/>
                  <a:pt x="546" y="21"/>
                </a:cubicBezTo>
                <a:cubicBezTo>
                  <a:pt x="546" y="20"/>
                  <a:pt x="546" y="20"/>
                  <a:pt x="546" y="20"/>
                </a:cubicBezTo>
                <a:cubicBezTo>
                  <a:pt x="543" y="20"/>
                  <a:pt x="536" y="21"/>
                  <a:pt x="532" y="21"/>
                </a:cubicBezTo>
                <a:cubicBezTo>
                  <a:pt x="534" y="22"/>
                  <a:pt x="538" y="20"/>
                  <a:pt x="543" y="21"/>
                </a:cubicBezTo>
                <a:cubicBezTo>
                  <a:pt x="545" y="22"/>
                  <a:pt x="536" y="22"/>
                  <a:pt x="534" y="22"/>
                </a:cubicBezTo>
                <a:cubicBezTo>
                  <a:pt x="537" y="21"/>
                  <a:pt x="523" y="22"/>
                  <a:pt x="513" y="25"/>
                </a:cubicBezTo>
                <a:cubicBezTo>
                  <a:pt x="507" y="26"/>
                  <a:pt x="500" y="29"/>
                  <a:pt x="500" y="29"/>
                </a:cubicBezTo>
                <a:cubicBezTo>
                  <a:pt x="501" y="30"/>
                  <a:pt x="501" y="30"/>
                  <a:pt x="501" y="30"/>
                </a:cubicBezTo>
                <a:cubicBezTo>
                  <a:pt x="493" y="32"/>
                  <a:pt x="499" y="34"/>
                  <a:pt x="498" y="36"/>
                </a:cubicBezTo>
                <a:cubicBezTo>
                  <a:pt x="496" y="35"/>
                  <a:pt x="494" y="35"/>
                  <a:pt x="494" y="37"/>
                </a:cubicBezTo>
                <a:cubicBezTo>
                  <a:pt x="497" y="35"/>
                  <a:pt x="499" y="38"/>
                  <a:pt x="501" y="37"/>
                </a:cubicBezTo>
                <a:cubicBezTo>
                  <a:pt x="501" y="39"/>
                  <a:pt x="496" y="37"/>
                  <a:pt x="494" y="38"/>
                </a:cubicBezTo>
                <a:cubicBezTo>
                  <a:pt x="497" y="39"/>
                  <a:pt x="494" y="41"/>
                  <a:pt x="498" y="41"/>
                </a:cubicBezTo>
                <a:cubicBezTo>
                  <a:pt x="498" y="40"/>
                  <a:pt x="500" y="41"/>
                  <a:pt x="502" y="41"/>
                </a:cubicBezTo>
                <a:cubicBezTo>
                  <a:pt x="503" y="43"/>
                  <a:pt x="500" y="41"/>
                  <a:pt x="500" y="43"/>
                </a:cubicBezTo>
                <a:cubicBezTo>
                  <a:pt x="501" y="43"/>
                  <a:pt x="504" y="44"/>
                  <a:pt x="504" y="42"/>
                </a:cubicBezTo>
                <a:cubicBezTo>
                  <a:pt x="504" y="43"/>
                  <a:pt x="509" y="44"/>
                  <a:pt x="507" y="45"/>
                </a:cubicBezTo>
                <a:cubicBezTo>
                  <a:pt x="506" y="46"/>
                  <a:pt x="505" y="44"/>
                  <a:pt x="504" y="45"/>
                </a:cubicBezTo>
                <a:cubicBezTo>
                  <a:pt x="505" y="47"/>
                  <a:pt x="510" y="45"/>
                  <a:pt x="513" y="47"/>
                </a:cubicBezTo>
                <a:cubicBezTo>
                  <a:pt x="513" y="45"/>
                  <a:pt x="518" y="45"/>
                  <a:pt x="520" y="46"/>
                </a:cubicBezTo>
                <a:cubicBezTo>
                  <a:pt x="521" y="49"/>
                  <a:pt x="518" y="45"/>
                  <a:pt x="516" y="47"/>
                </a:cubicBezTo>
                <a:cubicBezTo>
                  <a:pt x="517" y="48"/>
                  <a:pt x="517" y="48"/>
                  <a:pt x="517" y="48"/>
                </a:cubicBezTo>
                <a:cubicBezTo>
                  <a:pt x="515" y="50"/>
                  <a:pt x="508" y="46"/>
                  <a:pt x="506" y="48"/>
                </a:cubicBezTo>
                <a:cubicBezTo>
                  <a:pt x="509" y="49"/>
                  <a:pt x="509" y="49"/>
                  <a:pt x="509" y="49"/>
                </a:cubicBezTo>
                <a:cubicBezTo>
                  <a:pt x="507" y="49"/>
                  <a:pt x="505" y="49"/>
                  <a:pt x="504" y="50"/>
                </a:cubicBezTo>
                <a:cubicBezTo>
                  <a:pt x="507" y="50"/>
                  <a:pt x="507" y="52"/>
                  <a:pt x="508" y="52"/>
                </a:cubicBezTo>
                <a:cubicBezTo>
                  <a:pt x="511" y="52"/>
                  <a:pt x="507" y="52"/>
                  <a:pt x="509" y="51"/>
                </a:cubicBezTo>
                <a:cubicBezTo>
                  <a:pt x="510" y="52"/>
                  <a:pt x="514" y="52"/>
                  <a:pt x="515" y="54"/>
                </a:cubicBezTo>
                <a:cubicBezTo>
                  <a:pt x="512" y="53"/>
                  <a:pt x="512" y="55"/>
                  <a:pt x="510" y="55"/>
                </a:cubicBezTo>
                <a:cubicBezTo>
                  <a:pt x="510" y="56"/>
                  <a:pt x="513" y="55"/>
                  <a:pt x="513" y="56"/>
                </a:cubicBezTo>
                <a:cubicBezTo>
                  <a:pt x="512" y="56"/>
                  <a:pt x="512" y="56"/>
                  <a:pt x="512" y="56"/>
                </a:cubicBezTo>
                <a:cubicBezTo>
                  <a:pt x="516" y="61"/>
                  <a:pt x="521" y="66"/>
                  <a:pt x="530" y="69"/>
                </a:cubicBezTo>
                <a:cubicBezTo>
                  <a:pt x="528" y="70"/>
                  <a:pt x="529" y="72"/>
                  <a:pt x="529" y="74"/>
                </a:cubicBezTo>
                <a:cubicBezTo>
                  <a:pt x="529" y="73"/>
                  <a:pt x="531" y="74"/>
                  <a:pt x="532" y="74"/>
                </a:cubicBezTo>
                <a:cubicBezTo>
                  <a:pt x="530" y="76"/>
                  <a:pt x="530" y="76"/>
                  <a:pt x="530" y="76"/>
                </a:cubicBezTo>
                <a:cubicBezTo>
                  <a:pt x="530" y="78"/>
                  <a:pt x="533" y="79"/>
                  <a:pt x="535" y="80"/>
                </a:cubicBezTo>
                <a:cubicBezTo>
                  <a:pt x="535" y="80"/>
                  <a:pt x="534" y="80"/>
                  <a:pt x="534" y="80"/>
                </a:cubicBezTo>
                <a:cubicBezTo>
                  <a:pt x="533" y="82"/>
                  <a:pt x="536" y="81"/>
                  <a:pt x="537" y="82"/>
                </a:cubicBezTo>
                <a:cubicBezTo>
                  <a:pt x="535" y="83"/>
                  <a:pt x="535" y="83"/>
                  <a:pt x="535" y="83"/>
                </a:cubicBezTo>
                <a:cubicBezTo>
                  <a:pt x="537" y="83"/>
                  <a:pt x="537" y="83"/>
                  <a:pt x="537" y="83"/>
                </a:cubicBezTo>
                <a:cubicBezTo>
                  <a:pt x="538" y="84"/>
                  <a:pt x="538" y="86"/>
                  <a:pt x="535" y="86"/>
                </a:cubicBezTo>
                <a:cubicBezTo>
                  <a:pt x="536" y="86"/>
                  <a:pt x="536" y="87"/>
                  <a:pt x="537" y="86"/>
                </a:cubicBezTo>
                <a:cubicBezTo>
                  <a:pt x="536" y="87"/>
                  <a:pt x="535" y="90"/>
                  <a:pt x="535" y="91"/>
                </a:cubicBezTo>
                <a:cubicBezTo>
                  <a:pt x="530" y="91"/>
                  <a:pt x="523" y="91"/>
                  <a:pt x="518" y="91"/>
                </a:cubicBezTo>
                <a:cubicBezTo>
                  <a:pt x="516" y="91"/>
                  <a:pt x="516" y="91"/>
                  <a:pt x="515" y="91"/>
                </a:cubicBezTo>
                <a:cubicBezTo>
                  <a:pt x="510" y="89"/>
                  <a:pt x="499" y="90"/>
                  <a:pt x="493" y="88"/>
                </a:cubicBezTo>
                <a:cubicBezTo>
                  <a:pt x="494" y="89"/>
                  <a:pt x="489" y="90"/>
                  <a:pt x="485" y="90"/>
                </a:cubicBezTo>
                <a:cubicBezTo>
                  <a:pt x="479" y="90"/>
                  <a:pt x="486" y="88"/>
                  <a:pt x="483" y="87"/>
                </a:cubicBezTo>
                <a:cubicBezTo>
                  <a:pt x="480" y="87"/>
                  <a:pt x="476" y="87"/>
                  <a:pt x="475" y="87"/>
                </a:cubicBezTo>
                <a:cubicBezTo>
                  <a:pt x="475" y="87"/>
                  <a:pt x="475" y="87"/>
                  <a:pt x="475" y="87"/>
                </a:cubicBezTo>
                <a:cubicBezTo>
                  <a:pt x="472" y="87"/>
                  <a:pt x="468" y="87"/>
                  <a:pt x="466" y="86"/>
                </a:cubicBezTo>
                <a:cubicBezTo>
                  <a:pt x="466" y="86"/>
                  <a:pt x="466" y="86"/>
                  <a:pt x="466" y="86"/>
                </a:cubicBezTo>
                <a:cubicBezTo>
                  <a:pt x="464" y="86"/>
                  <a:pt x="463" y="85"/>
                  <a:pt x="460" y="85"/>
                </a:cubicBezTo>
                <a:cubicBezTo>
                  <a:pt x="457" y="85"/>
                  <a:pt x="453" y="84"/>
                  <a:pt x="450" y="85"/>
                </a:cubicBezTo>
                <a:cubicBezTo>
                  <a:pt x="450" y="84"/>
                  <a:pt x="450" y="84"/>
                  <a:pt x="450" y="84"/>
                </a:cubicBezTo>
                <a:cubicBezTo>
                  <a:pt x="448" y="85"/>
                  <a:pt x="448" y="85"/>
                  <a:pt x="448" y="85"/>
                </a:cubicBezTo>
                <a:cubicBezTo>
                  <a:pt x="444" y="84"/>
                  <a:pt x="444" y="84"/>
                  <a:pt x="444" y="84"/>
                </a:cubicBezTo>
                <a:cubicBezTo>
                  <a:pt x="446" y="84"/>
                  <a:pt x="447" y="83"/>
                  <a:pt x="448" y="83"/>
                </a:cubicBezTo>
                <a:cubicBezTo>
                  <a:pt x="444" y="82"/>
                  <a:pt x="445" y="84"/>
                  <a:pt x="442" y="84"/>
                </a:cubicBezTo>
                <a:cubicBezTo>
                  <a:pt x="437" y="84"/>
                  <a:pt x="439" y="83"/>
                  <a:pt x="438" y="83"/>
                </a:cubicBezTo>
                <a:cubicBezTo>
                  <a:pt x="440" y="83"/>
                  <a:pt x="440" y="83"/>
                  <a:pt x="441" y="83"/>
                </a:cubicBezTo>
                <a:cubicBezTo>
                  <a:pt x="445" y="83"/>
                  <a:pt x="440" y="83"/>
                  <a:pt x="440" y="82"/>
                </a:cubicBezTo>
                <a:cubicBezTo>
                  <a:pt x="440" y="82"/>
                  <a:pt x="438" y="83"/>
                  <a:pt x="435" y="82"/>
                </a:cubicBezTo>
                <a:cubicBezTo>
                  <a:pt x="433" y="82"/>
                  <a:pt x="428" y="82"/>
                  <a:pt x="430" y="81"/>
                </a:cubicBezTo>
                <a:cubicBezTo>
                  <a:pt x="427" y="81"/>
                  <a:pt x="425" y="81"/>
                  <a:pt x="423" y="81"/>
                </a:cubicBezTo>
                <a:cubicBezTo>
                  <a:pt x="424" y="81"/>
                  <a:pt x="427" y="82"/>
                  <a:pt x="427" y="82"/>
                </a:cubicBezTo>
                <a:cubicBezTo>
                  <a:pt x="425" y="82"/>
                  <a:pt x="421" y="82"/>
                  <a:pt x="421" y="82"/>
                </a:cubicBezTo>
                <a:cubicBezTo>
                  <a:pt x="423" y="82"/>
                  <a:pt x="423" y="82"/>
                  <a:pt x="423" y="82"/>
                </a:cubicBezTo>
                <a:cubicBezTo>
                  <a:pt x="421" y="82"/>
                  <a:pt x="417" y="81"/>
                  <a:pt x="418" y="82"/>
                </a:cubicBezTo>
                <a:cubicBezTo>
                  <a:pt x="417" y="80"/>
                  <a:pt x="417" y="80"/>
                  <a:pt x="417" y="80"/>
                </a:cubicBezTo>
                <a:cubicBezTo>
                  <a:pt x="414" y="81"/>
                  <a:pt x="411" y="80"/>
                  <a:pt x="408" y="80"/>
                </a:cubicBezTo>
                <a:cubicBezTo>
                  <a:pt x="409" y="79"/>
                  <a:pt x="413" y="79"/>
                  <a:pt x="408" y="78"/>
                </a:cubicBezTo>
                <a:cubicBezTo>
                  <a:pt x="402" y="78"/>
                  <a:pt x="402" y="78"/>
                  <a:pt x="402" y="78"/>
                </a:cubicBezTo>
                <a:cubicBezTo>
                  <a:pt x="400" y="78"/>
                  <a:pt x="399" y="78"/>
                  <a:pt x="401" y="77"/>
                </a:cubicBezTo>
                <a:cubicBezTo>
                  <a:pt x="393" y="76"/>
                  <a:pt x="388" y="78"/>
                  <a:pt x="383" y="77"/>
                </a:cubicBezTo>
                <a:cubicBezTo>
                  <a:pt x="387" y="76"/>
                  <a:pt x="385" y="76"/>
                  <a:pt x="383" y="75"/>
                </a:cubicBezTo>
                <a:cubicBezTo>
                  <a:pt x="383" y="75"/>
                  <a:pt x="382" y="76"/>
                  <a:pt x="380" y="76"/>
                </a:cubicBezTo>
                <a:cubicBezTo>
                  <a:pt x="380" y="76"/>
                  <a:pt x="383" y="75"/>
                  <a:pt x="384" y="76"/>
                </a:cubicBezTo>
                <a:cubicBezTo>
                  <a:pt x="384" y="77"/>
                  <a:pt x="381" y="76"/>
                  <a:pt x="379" y="76"/>
                </a:cubicBezTo>
                <a:cubicBezTo>
                  <a:pt x="378" y="73"/>
                  <a:pt x="361" y="73"/>
                  <a:pt x="354" y="71"/>
                </a:cubicBezTo>
                <a:cubicBezTo>
                  <a:pt x="352" y="72"/>
                  <a:pt x="349" y="71"/>
                  <a:pt x="346" y="71"/>
                </a:cubicBezTo>
                <a:cubicBezTo>
                  <a:pt x="349" y="70"/>
                  <a:pt x="340" y="71"/>
                  <a:pt x="339" y="70"/>
                </a:cubicBezTo>
                <a:cubicBezTo>
                  <a:pt x="338" y="71"/>
                  <a:pt x="338" y="71"/>
                  <a:pt x="338" y="71"/>
                </a:cubicBezTo>
                <a:cubicBezTo>
                  <a:pt x="333" y="70"/>
                  <a:pt x="325" y="71"/>
                  <a:pt x="324" y="70"/>
                </a:cubicBezTo>
                <a:cubicBezTo>
                  <a:pt x="321" y="69"/>
                  <a:pt x="327" y="69"/>
                  <a:pt x="329" y="69"/>
                </a:cubicBezTo>
                <a:cubicBezTo>
                  <a:pt x="327" y="67"/>
                  <a:pt x="314" y="69"/>
                  <a:pt x="313" y="67"/>
                </a:cubicBezTo>
                <a:cubicBezTo>
                  <a:pt x="312" y="67"/>
                  <a:pt x="312" y="68"/>
                  <a:pt x="307" y="68"/>
                </a:cubicBezTo>
                <a:cubicBezTo>
                  <a:pt x="305" y="68"/>
                  <a:pt x="299" y="66"/>
                  <a:pt x="300" y="66"/>
                </a:cubicBezTo>
                <a:cubicBezTo>
                  <a:pt x="297" y="66"/>
                  <a:pt x="295" y="67"/>
                  <a:pt x="293" y="66"/>
                </a:cubicBezTo>
                <a:cubicBezTo>
                  <a:pt x="294" y="66"/>
                  <a:pt x="295" y="66"/>
                  <a:pt x="297" y="66"/>
                </a:cubicBezTo>
                <a:cubicBezTo>
                  <a:pt x="292" y="65"/>
                  <a:pt x="287" y="65"/>
                  <a:pt x="282" y="65"/>
                </a:cubicBezTo>
                <a:cubicBezTo>
                  <a:pt x="281" y="64"/>
                  <a:pt x="271" y="64"/>
                  <a:pt x="263" y="64"/>
                </a:cubicBezTo>
                <a:cubicBezTo>
                  <a:pt x="259" y="65"/>
                  <a:pt x="244" y="65"/>
                  <a:pt x="240" y="69"/>
                </a:cubicBezTo>
                <a:cubicBezTo>
                  <a:pt x="240" y="68"/>
                  <a:pt x="238" y="69"/>
                  <a:pt x="237" y="70"/>
                </a:cubicBezTo>
                <a:cubicBezTo>
                  <a:pt x="235" y="72"/>
                  <a:pt x="239" y="72"/>
                  <a:pt x="239" y="73"/>
                </a:cubicBezTo>
                <a:cubicBezTo>
                  <a:pt x="236" y="73"/>
                  <a:pt x="236" y="73"/>
                  <a:pt x="236" y="73"/>
                </a:cubicBezTo>
                <a:cubicBezTo>
                  <a:pt x="233" y="74"/>
                  <a:pt x="237" y="76"/>
                  <a:pt x="236" y="77"/>
                </a:cubicBezTo>
                <a:cubicBezTo>
                  <a:pt x="238" y="76"/>
                  <a:pt x="237" y="78"/>
                  <a:pt x="239" y="77"/>
                </a:cubicBezTo>
                <a:cubicBezTo>
                  <a:pt x="241" y="78"/>
                  <a:pt x="241" y="78"/>
                  <a:pt x="241" y="78"/>
                </a:cubicBezTo>
                <a:cubicBezTo>
                  <a:pt x="243" y="80"/>
                  <a:pt x="242" y="78"/>
                  <a:pt x="245" y="80"/>
                </a:cubicBezTo>
                <a:cubicBezTo>
                  <a:pt x="246" y="81"/>
                  <a:pt x="242" y="81"/>
                  <a:pt x="242" y="81"/>
                </a:cubicBezTo>
                <a:cubicBezTo>
                  <a:pt x="241" y="82"/>
                  <a:pt x="243" y="82"/>
                  <a:pt x="245" y="83"/>
                </a:cubicBezTo>
                <a:cubicBezTo>
                  <a:pt x="245" y="83"/>
                  <a:pt x="245" y="83"/>
                  <a:pt x="246" y="83"/>
                </a:cubicBezTo>
                <a:cubicBezTo>
                  <a:pt x="245" y="83"/>
                  <a:pt x="245" y="83"/>
                  <a:pt x="245" y="83"/>
                </a:cubicBezTo>
                <a:cubicBezTo>
                  <a:pt x="246" y="84"/>
                  <a:pt x="246" y="84"/>
                  <a:pt x="247" y="84"/>
                </a:cubicBezTo>
                <a:cubicBezTo>
                  <a:pt x="247" y="84"/>
                  <a:pt x="247" y="84"/>
                  <a:pt x="247" y="84"/>
                </a:cubicBezTo>
                <a:cubicBezTo>
                  <a:pt x="246" y="84"/>
                  <a:pt x="246" y="84"/>
                  <a:pt x="245" y="83"/>
                </a:cubicBezTo>
                <a:cubicBezTo>
                  <a:pt x="245" y="84"/>
                  <a:pt x="246" y="84"/>
                  <a:pt x="246" y="84"/>
                </a:cubicBezTo>
                <a:cubicBezTo>
                  <a:pt x="246" y="85"/>
                  <a:pt x="246" y="85"/>
                  <a:pt x="246" y="85"/>
                </a:cubicBezTo>
                <a:cubicBezTo>
                  <a:pt x="247" y="85"/>
                  <a:pt x="247" y="85"/>
                  <a:pt x="247" y="85"/>
                </a:cubicBezTo>
                <a:cubicBezTo>
                  <a:pt x="245" y="86"/>
                  <a:pt x="245" y="86"/>
                  <a:pt x="245" y="86"/>
                </a:cubicBezTo>
                <a:cubicBezTo>
                  <a:pt x="245" y="86"/>
                  <a:pt x="250" y="87"/>
                  <a:pt x="251" y="87"/>
                </a:cubicBezTo>
                <a:cubicBezTo>
                  <a:pt x="252" y="90"/>
                  <a:pt x="260" y="94"/>
                  <a:pt x="263" y="95"/>
                </a:cubicBezTo>
                <a:cubicBezTo>
                  <a:pt x="262" y="95"/>
                  <a:pt x="262" y="95"/>
                  <a:pt x="263" y="95"/>
                </a:cubicBezTo>
                <a:cubicBezTo>
                  <a:pt x="265" y="96"/>
                  <a:pt x="268" y="96"/>
                  <a:pt x="267" y="96"/>
                </a:cubicBezTo>
                <a:cubicBezTo>
                  <a:pt x="269" y="97"/>
                  <a:pt x="266" y="97"/>
                  <a:pt x="268" y="99"/>
                </a:cubicBezTo>
                <a:cubicBezTo>
                  <a:pt x="268" y="99"/>
                  <a:pt x="270" y="98"/>
                  <a:pt x="269" y="98"/>
                </a:cubicBezTo>
                <a:cubicBezTo>
                  <a:pt x="270" y="101"/>
                  <a:pt x="279" y="102"/>
                  <a:pt x="281" y="105"/>
                </a:cubicBezTo>
                <a:cubicBezTo>
                  <a:pt x="280" y="105"/>
                  <a:pt x="279" y="105"/>
                  <a:pt x="278" y="105"/>
                </a:cubicBezTo>
                <a:cubicBezTo>
                  <a:pt x="282" y="106"/>
                  <a:pt x="285" y="108"/>
                  <a:pt x="291" y="109"/>
                </a:cubicBezTo>
                <a:cubicBezTo>
                  <a:pt x="289" y="109"/>
                  <a:pt x="289" y="109"/>
                  <a:pt x="287" y="109"/>
                </a:cubicBezTo>
                <a:cubicBezTo>
                  <a:pt x="289" y="110"/>
                  <a:pt x="292" y="112"/>
                  <a:pt x="295" y="112"/>
                </a:cubicBezTo>
                <a:cubicBezTo>
                  <a:pt x="295" y="111"/>
                  <a:pt x="294" y="112"/>
                  <a:pt x="293" y="111"/>
                </a:cubicBezTo>
                <a:cubicBezTo>
                  <a:pt x="293" y="110"/>
                  <a:pt x="298" y="111"/>
                  <a:pt x="299" y="112"/>
                </a:cubicBezTo>
                <a:cubicBezTo>
                  <a:pt x="299" y="112"/>
                  <a:pt x="299" y="112"/>
                  <a:pt x="299" y="112"/>
                </a:cubicBezTo>
                <a:cubicBezTo>
                  <a:pt x="301" y="113"/>
                  <a:pt x="302" y="113"/>
                  <a:pt x="304" y="114"/>
                </a:cubicBezTo>
                <a:cubicBezTo>
                  <a:pt x="304" y="115"/>
                  <a:pt x="302" y="114"/>
                  <a:pt x="302" y="115"/>
                </a:cubicBezTo>
                <a:cubicBezTo>
                  <a:pt x="299" y="116"/>
                  <a:pt x="304" y="118"/>
                  <a:pt x="304" y="118"/>
                </a:cubicBezTo>
                <a:cubicBezTo>
                  <a:pt x="306" y="118"/>
                  <a:pt x="307" y="119"/>
                  <a:pt x="308" y="118"/>
                </a:cubicBezTo>
                <a:cubicBezTo>
                  <a:pt x="310" y="119"/>
                  <a:pt x="307" y="119"/>
                  <a:pt x="308" y="120"/>
                </a:cubicBezTo>
                <a:cubicBezTo>
                  <a:pt x="318" y="121"/>
                  <a:pt x="318" y="121"/>
                  <a:pt x="318" y="121"/>
                </a:cubicBezTo>
                <a:cubicBezTo>
                  <a:pt x="317" y="121"/>
                  <a:pt x="317" y="123"/>
                  <a:pt x="314" y="122"/>
                </a:cubicBezTo>
                <a:cubicBezTo>
                  <a:pt x="318" y="124"/>
                  <a:pt x="324" y="124"/>
                  <a:pt x="328" y="125"/>
                </a:cubicBezTo>
                <a:cubicBezTo>
                  <a:pt x="329" y="126"/>
                  <a:pt x="333" y="127"/>
                  <a:pt x="334" y="128"/>
                </a:cubicBezTo>
                <a:cubicBezTo>
                  <a:pt x="333" y="129"/>
                  <a:pt x="334" y="127"/>
                  <a:pt x="332" y="128"/>
                </a:cubicBezTo>
                <a:cubicBezTo>
                  <a:pt x="332" y="129"/>
                  <a:pt x="332" y="129"/>
                  <a:pt x="332" y="129"/>
                </a:cubicBezTo>
                <a:cubicBezTo>
                  <a:pt x="329" y="128"/>
                  <a:pt x="329" y="130"/>
                  <a:pt x="326" y="130"/>
                </a:cubicBezTo>
                <a:cubicBezTo>
                  <a:pt x="329" y="131"/>
                  <a:pt x="332" y="133"/>
                  <a:pt x="335" y="135"/>
                </a:cubicBezTo>
                <a:cubicBezTo>
                  <a:pt x="336" y="133"/>
                  <a:pt x="340" y="137"/>
                  <a:pt x="343" y="136"/>
                </a:cubicBezTo>
                <a:cubicBezTo>
                  <a:pt x="347" y="138"/>
                  <a:pt x="342" y="138"/>
                  <a:pt x="342" y="139"/>
                </a:cubicBezTo>
                <a:cubicBezTo>
                  <a:pt x="347" y="140"/>
                  <a:pt x="349" y="143"/>
                  <a:pt x="352" y="144"/>
                </a:cubicBezTo>
                <a:cubicBezTo>
                  <a:pt x="352" y="144"/>
                  <a:pt x="352" y="144"/>
                  <a:pt x="351" y="144"/>
                </a:cubicBezTo>
                <a:cubicBezTo>
                  <a:pt x="355" y="146"/>
                  <a:pt x="358" y="149"/>
                  <a:pt x="363" y="150"/>
                </a:cubicBezTo>
                <a:cubicBezTo>
                  <a:pt x="363" y="150"/>
                  <a:pt x="362" y="150"/>
                  <a:pt x="361" y="150"/>
                </a:cubicBezTo>
                <a:cubicBezTo>
                  <a:pt x="362" y="152"/>
                  <a:pt x="366" y="149"/>
                  <a:pt x="367" y="152"/>
                </a:cubicBezTo>
                <a:cubicBezTo>
                  <a:pt x="364" y="152"/>
                  <a:pt x="364" y="152"/>
                  <a:pt x="364" y="152"/>
                </a:cubicBezTo>
                <a:cubicBezTo>
                  <a:pt x="368" y="153"/>
                  <a:pt x="366" y="155"/>
                  <a:pt x="371" y="156"/>
                </a:cubicBezTo>
                <a:cubicBezTo>
                  <a:pt x="370" y="156"/>
                  <a:pt x="369" y="156"/>
                  <a:pt x="368" y="156"/>
                </a:cubicBezTo>
                <a:cubicBezTo>
                  <a:pt x="371" y="157"/>
                  <a:pt x="372" y="159"/>
                  <a:pt x="376" y="160"/>
                </a:cubicBezTo>
                <a:cubicBezTo>
                  <a:pt x="375" y="160"/>
                  <a:pt x="374" y="160"/>
                  <a:pt x="372" y="160"/>
                </a:cubicBezTo>
                <a:cubicBezTo>
                  <a:pt x="372" y="161"/>
                  <a:pt x="377" y="161"/>
                  <a:pt x="376" y="162"/>
                </a:cubicBezTo>
                <a:cubicBezTo>
                  <a:pt x="376" y="163"/>
                  <a:pt x="375" y="164"/>
                  <a:pt x="375" y="164"/>
                </a:cubicBezTo>
                <a:cubicBezTo>
                  <a:pt x="378" y="164"/>
                  <a:pt x="376" y="167"/>
                  <a:pt x="370" y="167"/>
                </a:cubicBezTo>
                <a:cubicBezTo>
                  <a:pt x="370" y="167"/>
                  <a:pt x="368" y="167"/>
                  <a:pt x="365" y="167"/>
                </a:cubicBezTo>
                <a:cubicBezTo>
                  <a:pt x="339" y="166"/>
                  <a:pt x="317" y="163"/>
                  <a:pt x="293" y="161"/>
                </a:cubicBezTo>
                <a:cubicBezTo>
                  <a:pt x="292" y="159"/>
                  <a:pt x="300" y="161"/>
                  <a:pt x="299" y="160"/>
                </a:cubicBezTo>
                <a:cubicBezTo>
                  <a:pt x="297" y="161"/>
                  <a:pt x="295" y="159"/>
                  <a:pt x="288" y="159"/>
                </a:cubicBezTo>
                <a:cubicBezTo>
                  <a:pt x="288" y="159"/>
                  <a:pt x="288" y="159"/>
                  <a:pt x="288" y="159"/>
                </a:cubicBezTo>
                <a:cubicBezTo>
                  <a:pt x="285" y="158"/>
                  <a:pt x="285" y="157"/>
                  <a:pt x="281" y="157"/>
                </a:cubicBezTo>
                <a:cubicBezTo>
                  <a:pt x="280" y="158"/>
                  <a:pt x="280" y="158"/>
                  <a:pt x="280" y="158"/>
                </a:cubicBezTo>
                <a:cubicBezTo>
                  <a:pt x="276" y="158"/>
                  <a:pt x="276" y="155"/>
                  <a:pt x="272" y="156"/>
                </a:cubicBezTo>
                <a:cubicBezTo>
                  <a:pt x="271" y="155"/>
                  <a:pt x="271" y="155"/>
                  <a:pt x="271" y="155"/>
                </a:cubicBezTo>
                <a:cubicBezTo>
                  <a:pt x="265" y="156"/>
                  <a:pt x="267" y="154"/>
                  <a:pt x="261" y="154"/>
                </a:cubicBezTo>
                <a:cubicBezTo>
                  <a:pt x="262" y="154"/>
                  <a:pt x="262" y="154"/>
                  <a:pt x="262" y="154"/>
                </a:cubicBezTo>
                <a:cubicBezTo>
                  <a:pt x="258" y="153"/>
                  <a:pt x="249" y="154"/>
                  <a:pt x="249" y="152"/>
                </a:cubicBezTo>
                <a:cubicBezTo>
                  <a:pt x="244" y="152"/>
                  <a:pt x="239" y="151"/>
                  <a:pt x="236" y="152"/>
                </a:cubicBezTo>
                <a:cubicBezTo>
                  <a:pt x="236" y="151"/>
                  <a:pt x="238" y="151"/>
                  <a:pt x="239" y="151"/>
                </a:cubicBezTo>
                <a:cubicBezTo>
                  <a:pt x="222" y="149"/>
                  <a:pt x="205" y="145"/>
                  <a:pt x="188" y="144"/>
                </a:cubicBezTo>
                <a:cubicBezTo>
                  <a:pt x="188" y="143"/>
                  <a:pt x="189" y="144"/>
                  <a:pt x="190" y="143"/>
                </a:cubicBezTo>
                <a:cubicBezTo>
                  <a:pt x="179" y="143"/>
                  <a:pt x="175" y="139"/>
                  <a:pt x="164" y="140"/>
                </a:cubicBezTo>
                <a:cubicBezTo>
                  <a:pt x="160" y="140"/>
                  <a:pt x="160" y="140"/>
                  <a:pt x="160" y="140"/>
                </a:cubicBezTo>
                <a:cubicBezTo>
                  <a:pt x="159" y="139"/>
                  <a:pt x="160" y="139"/>
                  <a:pt x="159" y="138"/>
                </a:cubicBezTo>
                <a:cubicBezTo>
                  <a:pt x="156" y="139"/>
                  <a:pt x="151" y="137"/>
                  <a:pt x="148" y="138"/>
                </a:cubicBezTo>
                <a:cubicBezTo>
                  <a:pt x="148" y="137"/>
                  <a:pt x="150" y="137"/>
                  <a:pt x="150" y="137"/>
                </a:cubicBezTo>
                <a:cubicBezTo>
                  <a:pt x="147" y="136"/>
                  <a:pt x="139" y="136"/>
                  <a:pt x="136" y="135"/>
                </a:cubicBezTo>
                <a:cubicBezTo>
                  <a:pt x="138" y="135"/>
                  <a:pt x="138" y="135"/>
                  <a:pt x="138" y="135"/>
                </a:cubicBezTo>
                <a:cubicBezTo>
                  <a:pt x="122" y="130"/>
                  <a:pt x="100" y="124"/>
                  <a:pt x="79" y="123"/>
                </a:cubicBezTo>
                <a:cubicBezTo>
                  <a:pt x="74" y="122"/>
                  <a:pt x="80" y="122"/>
                  <a:pt x="78" y="121"/>
                </a:cubicBezTo>
                <a:cubicBezTo>
                  <a:pt x="58" y="120"/>
                  <a:pt x="44" y="114"/>
                  <a:pt x="23" y="113"/>
                </a:cubicBezTo>
                <a:cubicBezTo>
                  <a:pt x="10" y="111"/>
                  <a:pt x="0" y="113"/>
                  <a:pt x="0" y="113"/>
                </a:cubicBezTo>
                <a:cubicBezTo>
                  <a:pt x="31" y="117"/>
                  <a:pt x="53" y="123"/>
                  <a:pt x="78" y="130"/>
                </a:cubicBezTo>
                <a:close/>
                <a:moveTo>
                  <a:pt x="656" y="33"/>
                </a:moveTo>
                <a:cubicBezTo>
                  <a:pt x="656" y="33"/>
                  <a:pt x="656" y="33"/>
                  <a:pt x="656" y="33"/>
                </a:cubicBezTo>
                <a:moveTo>
                  <a:pt x="655" y="33"/>
                </a:moveTo>
                <a:cubicBezTo>
                  <a:pt x="655" y="33"/>
                  <a:pt x="655" y="33"/>
                  <a:pt x="655" y="33"/>
                </a:cubicBezTo>
                <a:cubicBezTo>
                  <a:pt x="656" y="33"/>
                  <a:pt x="656" y="33"/>
                  <a:pt x="655" y="33"/>
                </a:cubicBezTo>
                <a:close/>
                <a:moveTo>
                  <a:pt x="650" y="3"/>
                </a:moveTo>
                <a:cubicBezTo>
                  <a:pt x="650" y="3"/>
                  <a:pt x="650" y="4"/>
                  <a:pt x="650" y="4"/>
                </a:cubicBezTo>
                <a:cubicBezTo>
                  <a:pt x="650" y="4"/>
                  <a:pt x="649" y="4"/>
                  <a:pt x="648" y="5"/>
                </a:cubicBezTo>
                <a:cubicBezTo>
                  <a:pt x="648" y="4"/>
                  <a:pt x="648" y="3"/>
                  <a:pt x="650" y="3"/>
                </a:cubicBezTo>
                <a:close/>
                <a:moveTo>
                  <a:pt x="649" y="34"/>
                </a:moveTo>
                <a:cubicBezTo>
                  <a:pt x="650" y="34"/>
                  <a:pt x="651" y="34"/>
                  <a:pt x="653" y="34"/>
                </a:cubicBezTo>
                <a:cubicBezTo>
                  <a:pt x="653" y="33"/>
                  <a:pt x="653" y="33"/>
                  <a:pt x="653" y="33"/>
                </a:cubicBezTo>
                <a:cubicBezTo>
                  <a:pt x="653" y="34"/>
                  <a:pt x="653" y="34"/>
                  <a:pt x="653" y="34"/>
                </a:cubicBezTo>
                <a:cubicBezTo>
                  <a:pt x="654" y="34"/>
                  <a:pt x="655" y="33"/>
                  <a:pt x="655" y="33"/>
                </a:cubicBezTo>
                <a:cubicBezTo>
                  <a:pt x="654" y="34"/>
                  <a:pt x="654" y="34"/>
                  <a:pt x="653" y="34"/>
                </a:cubicBezTo>
                <a:cubicBezTo>
                  <a:pt x="653" y="34"/>
                  <a:pt x="653" y="35"/>
                  <a:pt x="652" y="35"/>
                </a:cubicBezTo>
                <a:cubicBezTo>
                  <a:pt x="652" y="35"/>
                  <a:pt x="652" y="35"/>
                  <a:pt x="652" y="35"/>
                </a:cubicBezTo>
                <a:cubicBezTo>
                  <a:pt x="652" y="35"/>
                  <a:pt x="651" y="35"/>
                  <a:pt x="650" y="35"/>
                </a:cubicBezTo>
                <a:cubicBezTo>
                  <a:pt x="649" y="35"/>
                  <a:pt x="649" y="35"/>
                  <a:pt x="649" y="35"/>
                </a:cubicBezTo>
                <a:cubicBezTo>
                  <a:pt x="647" y="36"/>
                  <a:pt x="650" y="36"/>
                  <a:pt x="648" y="37"/>
                </a:cubicBezTo>
                <a:cubicBezTo>
                  <a:pt x="646" y="37"/>
                  <a:pt x="644" y="37"/>
                  <a:pt x="643" y="37"/>
                </a:cubicBezTo>
                <a:cubicBezTo>
                  <a:pt x="643" y="36"/>
                  <a:pt x="646" y="35"/>
                  <a:pt x="640" y="34"/>
                </a:cubicBezTo>
                <a:cubicBezTo>
                  <a:pt x="644" y="33"/>
                  <a:pt x="649" y="35"/>
                  <a:pt x="649" y="34"/>
                </a:cubicBezTo>
                <a:close/>
                <a:moveTo>
                  <a:pt x="539" y="91"/>
                </a:moveTo>
                <a:cubicBezTo>
                  <a:pt x="541" y="91"/>
                  <a:pt x="537" y="92"/>
                  <a:pt x="538" y="92"/>
                </a:cubicBezTo>
                <a:cubicBezTo>
                  <a:pt x="537" y="92"/>
                  <a:pt x="535" y="93"/>
                  <a:pt x="535" y="92"/>
                </a:cubicBezTo>
                <a:cubicBezTo>
                  <a:pt x="538" y="92"/>
                  <a:pt x="539" y="91"/>
                  <a:pt x="539" y="91"/>
                </a:cubicBezTo>
                <a:close/>
              </a:path>
            </a:pathLst>
          </a:custGeom>
          <a:solidFill>
            <a:schemeClr val="bg1">
              <a:lumMod val="85000"/>
            </a:schemeClr>
          </a:solidFill>
          <a:ln>
            <a:noFill/>
          </a:ln>
          <a:extLst/>
        </p:spPr>
        <p:txBody>
          <a:bodyPr wrap="square" lIns="91440" tIns="45720" rIns="91440" bIns="45720" anchor="ctr">
            <a:normAutofit/>
          </a:bodyPr>
          <a:lstStyle/>
          <a:p>
            <a:pPr algn="ctr"/>
            <a:endParaRPr/>
          </a:p>
        </p:txBody>
      </p:sp>
    </p:spTree>
    <p:extLst>
      <p:ext uri="{BB962C8B-B14F-4D97-AF65-F5344CB8AC3E}">
        <p14:creationId xmlns:p14="http://schemas.microsoft.com/office/powerpoint/2010/main" val="3561439956"/>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对象 2" hidden="1">
            <a:extLst>
              <a:ext uri="{FF2B5EF4-FFF2-40B4-BE49-F238E27FC236}">
                <a16:creationId xmlns:a16="http://schemas.microsoft.com/office/drawing/2014/main" id="{A6A819F1-33AF-45D7-8BF6-2B0A9769CAD4}"/>
              </a:ext>
            </a:extLst>
          </p:cNvPr>
          <p:cNvGraphicFramePr>
            <a:graphicFrameLocks noChangeAspect="1"/>
          </p:cNvGraphicFramePr>
          <p:nvPr>
            <p:custDataLst>
              <p:tags r:id="rId2"/>
            </p:custDataLst>
            <p:extLst/>
          </p:nvPr>
        </p:nvGraphicFramePr>
        <p:xfrm>
          <a:off x="1525193" y="858443"/>
          <a:ext cx="1191" cy="1191"/>
        </p:xfrm>
        <a:graphic>
          <a:graphicData uri="http://schemas.openxmlformats.org/presentationml/2006/ole">
            <mc:AlternateContent xmlns:mc="http://schemas.openxmlformats.org/markup-compatibility/2006">
              <mc:Choice xmlns:v="urn:schemas-microsoft-com:vml" Requires="v">
                <p:oleObj spid="_x0000_s1049" name="think-cell Slide" r:id="rId5" imgW="347" imgH="348" progId="TCLayout.ActiveDocument.1">
                  <p:embed/>
                </p:oleObj>
              </mc:Choice>
              <mc:Fallback>
                <p:oleObj name="think-cell Slide" r:id="rId5" imgW="347" imgH="348" progId="TCLayout.ActiveDocument.1">
                  <p:embed/>
                  <p:pic>
                    <p:nvPicPr>
                      <p:cNvPr id="0" name=""/>
                      <p:cNvPicPr/>
                      <p:nvPr/>
                    </p:nvPicPr>
                    <p:blipFill>
                      <a:blip r:embed="rId6"/>
                      <a:stretch>
                        <a:fillRect/>
                      </a:stretch>
                    </p:blipFill>
                    <p:spPr>
                      <a:xfrm>
                        <a:off x="1525193" y="858443"/>
                        <a:ext cx="1191" cy="1191"/>
                      </a:xfrm>
                      <a:prstGeom prst="rect">
                        <a:avLst/>
                      </a:prstGeom>
                    </p:spPr>
                  </p:pic>
                </p:oleObj>
              </mc:Fallback>
            </mc:AlternateContent>
          </a:graphicData>
        </a:graphic>
      </p:graphicFrame>
      <p:sp>
        <p:nvSpPr>
          <p:cNvPr id="2" name="矩形 1" hidden="1">
            <a:extLst>
              <a:ext uri="{FF2B5EF4-FFF2-40B4-BE49-F238E27FC236}">
                <a16:creationId xmlns:a16="http://schemas.microsoft.com/office/drawing/2014/main" id="{FF51F16D-1BAD-46EE-A6F4-B8B94C9DF628}"/>
              </a:ext>
            </a:extLst>
          </p:cNvPr>
          <p:cNvSpPr/>
          <p:nvPr>
            <p:custDataLst>
              <p:tags r:id="rId3"/>
            </p:custDataLst>
          </p:nvPr>
        </p:nvSpPr>
        <p:spPr>
          <a:xfrm>
            <a:off x="1524001" y="857251"/>
            <a:ext cx="119063"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altLang="zh-CN" dirty="0">
              <a:latin typeface="Arial" panose="020B0604020202020204" pitchFamily="34" charset="0"/>
              <a:ea typeface="微软雅黑" panose="020B0503020204020204" pitchFamily="34" charset="-122"/>
              <a:cs typeface="+mj-cs"/>
              <a:sym typeface="Arial" panose="020B0604020202020204" pitchFamily="34" charset="0"/>
            </a:endParaRPr>
          </a:p>
        </p:txBody>
      </p:sp>
      <p:sp>
        <p:nvSpPr>
          <p:cNvPr id="5" name="标题 4"/>
          <p:cNvSpPr>
            <a:spLocks noGrp="1"/>
          </p:cNvSpPr>
          <p:nvPr>
            <p:ph type="ctrTitle"/>
          </p:nvPr>
        </p:nvSpPr>
        <p:spPr>
          <a:xfrm>
            <a:off x="3211513" y="2943225"/>
            <a:ext cx="5426076" cy="653139"/>
          </a:xfrm>
        </p:spPr>
        <p:txBody>
          <a:bodyPr>
            <a:noAutofit/>
          </a:bodyPr>
          <a:lstStyle/>
          <a:p>
            <a:r>
              <a:rPr lang="en-US" altLang="zh-CN" sz="4400" dirty="0" smtClean="0">
                <a:latin typeface="+mn-ea"/>
                <a:ea typeface="+mn-ea"/>
              </a:rPr>
              <a:t>SMT</a:t>
            </a:r>
            <a:r>
              <a:rPr lang="zh-CN" altLang="en-US" sz="4400" dirty="0" smtClean="0">
                <a:latin typeface="+mn-ea"/>
                <a:ea typeface="+mn-ea"/>
              </a:rPr>
              <a:t>防错料系统</a:t>
            </a:r>
            <a:endParaRPr lang="zh-CN" altLang="en-US" sz="4400" dirty="0">
              <a:latin typeface="+mn-ea"/>
              <a:ea typeface="+mn-ea"/>
            </a:endParaRPr>
          </a:p>
        </p:txBody>
      </p:sp>
      <p:sp>
        <p:nvSpPr>
          <p:cNvPr id="8" name="椭圆 7">
            <a:extLst/>
          </p:cNvPr>
          <p:cNvSpPr/>
          <p:nvPr/>
        </p:nvSpPr>
        <p:spPr>
          <a:xfrm>
            <a:off x="10457454" y="469969"/>
            <a:ext cx="1150294" cy="1150294"/>
          </a:xfrm>
          <a:prstGeom prst="ellipse">
            <a:avLst/>
          </a:prstGeom>
          <a:solidFill>
            <a:schemeClr val="bg1">
              <a:lumMod val="95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b"/>
          <a:lstStyle/>
          <a:p>
            <a:pPr algn="ctr"/>
            <a:r>
              <a:rPr lang="en-US" altLang="zh-CN" sz="3200" dirty="0" smtClean="0">
                <a:solidFill>
                  <a:srgbClr val="FFC000"/>
                </a:solidFill>
                <a:latin typeface="Impact" panose="020B0806030902050204" pitchFamily="34" charset="0"/>
              </a:rPr>
              <a:t>JIMI</a:t>
            </a:r>
            <a:endParaRPr lang="en-US" altLang="zh-CN" sz="3200" dirty="0">
              <a:solidFill>
                <a:srgbClr val="FFC000"/>
              </a:solidFill>
              <a:latin typeface="Impact" panose="020B0806030902050204" pitchFamily="34" charset="0"/>
            </a:endParaRPr>
          </a:p>
          <a:p>
            <a:pPr algn="ctr"/>
            <a:endParaRPr lang="zh-CN" altLang="en-US" sz="700" dirty="0">
              <a:solidFill>
                <a:schemeClr val="bg1">
                  <a:lumMod val="65000"/>
                </a:schemeClr>
              </a:solidFill>
              <a:latin typeface="Impact" panose="020B0806030902050204" pitchFamily="34" charset="0"/>
            </a:endParaRPr>
          </a:p>
        </p:txBody>
      </p:sp>
      <p:sp>
        <p:nvSpPr>
          <p:cNvPr id="7" name="椭圆 6">
            <a:extLst/>
          </p:cNvPr>
          <p:cNvSpPr/>
          <p:nvPr/>
        </p:nvSpPr>
        <p:spPr>
          <a:xfrm>
            <a:off x="661182" y="3731329"/>
            <a:ext cx="1150294" cy="1150294"/>
          </a:xfrm>
          <a:prstGeom prst="ellipse">
            <a:avLst/>
          </a:prstGeom>
          <a:solidFill>
            <a:schemeClr val="bg1">
              <a:lumMod val="95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b"/>
          <a:lstStyle/>
          <a:p>
            <a:pPr algn="ctr"/>
            <a:r>
              <a:rPr lang="en-US" altLang="zh-CN" sz="3200" dirty="0" smtClean="0">
                <a:solidFill>
                  <a:srgbClr val="FFC000"/>
                </a:solidFill>
                <a:latin typeface="Impact" panose="020B0806030902050204" pitchFamily="34" charset="0"/>
              </a:rPr>
              <a:t>SMT</a:t>
            </a:r>
            <a:endParaRPr lang="en-US" altLang="zh-CN" sz="3200" dirty="0">
              <a:solidFill>
                <a:srgbClr val="FFC000"/>
              </a:solidFill>
              <a:latin typeface="Impact" panose="020B0806030902050204" pitchFamily="34" charset="0"/>
            </a:endParaRPr>
          </a:p>
          <a:p>
            <a:pPr algn="ctr"/>
            <a:endParaRPr lang="zh-CN" altLang="en-US" sz="700" dirty="0">
              <a:solidFill>
                <a:schemeClr val="bg1">
                  <a:lumMod val="65000"/>
                </a:schemeClr>
              </a:solidFill>
              <a:latin typeface="Impact" panose="020B0806030902050204" pitchFamily="34" charset="0"/>
            </a:endParaRPr>
          </a:p>
        </p:txBody>
      </p:sp>
    </p:spTree>
    <p:extLst>
      <p:ext uri="{BB962C8B-B14F-4D97-AF65-F5344CB8AC3E}">
        <p14:creationId xmlns:p14="http://schemas.microsoft.com/office/powerpoint/2010/main" val="1823669970"/>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150F779E-A363-4A63-903C-7E36049E3AB7}"/>
              </a:ext>
            </a:extLst>
          </p:cNvPr>
          <p:cNvSpPr>
            <a:spLocks noGrp="1"/>
          </p:cNvSpPr>
          <p:nvPr>
            <p:ph type="title"/>
          </p:nvPr>
        </p:nvSpPr>
        <p:spPr/>
        <p:txBody>
          <a:bodyPr/>
          <a:lstStyle/>
          <a:p>
            <a:r>
              <a:rPr lang="en-US" altLang="zh-CN" dirty="0" smtClean="0"/>
              <a:t>SMT</a:t>
            </a:r>
            <a:r>
              <a:rPr lang="zh-CN" altLang="en-US" dirty="0" smtClean="0"/>
              <a:t>传统生产工艺</a:t>
            </a:r>
            <a:endParaRPr lang="zh-CN" altLang="en-US" dirty="0"/>
          </a:p>
        </p:txBody>
      </p:sp>
      <p:sp>
        <p:nvSpPr>
          <p:cNvPr id="21" name="išḷiḍé">
            <a:extLst>
              <a:ext uri="{FF2B5EF4-FFF2-40B4-BE49-F238E27FC236}">
                <a16:creationId xmlns:a16="http://schemas.microsoft.com/office/drawing/2014/main" id="{0286D387-E057-4FF0-A233-177FF208DB1C}"/>
              </a:ext>
            </a:extLst>
          </p:cNvPr>
          <p:cNvSpPr/>
          <p:nvPr/>
        </p:nvSpPr>
        <p:spPr bwMode="auto">
          <a:xfrm rot="5400000">
            <a:off x="4642366" y="2458987"/>
            <a:ext cx="1060605" cy="1259613"/>
          </a:xfrm>
          <a:custGeom>
            <a:avLst/>
            <a:gdLst>
              <a:gd name="T0" fmla="*/ 0 w 581"/>
              <a:gd name="T1" fmla="*/ 690 h 690"/>
              <a:gd name="T2" fmla="*/ 0 w 581"/>
              <a:gd name="T3" fmla="*/ 328 h 690"/>
              <a:gd name="T4" fmla="*/ 128 w 581"/>
              <a:gd name="T5" fmla="*/ 200 h 690"/>
              <a:gd name="T6" fmla="*/ 382 w 581"/>
              <a:gd name="T7" fmla="*/ 200 h 690"/>
              <a:gd name="T8" fmla="*/ 581 w 581"/>
              <a:gd name="T9" fmla="*/ 0 h 690"/>
            </a:gdLst>
            <a:ahLst/>
            <a:cxnLst>
              <a:cxn ang="0">
                <a:pos x="T0" y="T1"/>
              </a:cxn>
              <a:cxn ang="0">
                <a:pos x="T2" y="T3"/>
              </a:cxn>
              <a:cxn ang="0">
                <a:pos x="T4" y="T5"/>
              </a:cxn>
              <a:cxn ang="0">
                <a:pos x="T6" y="T7"/>
              </a:cxn>
              <a:cxn ang="0">
                <a:pos x="T8" y="T9"/>
              </a:cxn>
            </a:cxnLst>
            <a:rect l="0" t="0" r="r" b="b"/>
            <a:pathLst>
              <a:path w="581" h="690">
                <a:moveTo>
                  <a:pt x="0" y="690"/>
                </a:moveTo>
                <a:cubicBezTo>
                  <a:pt x="0" y="328"/>
                  <a:pt x="0" y="328"/>
                  <a:pt x="0" y="328"/>
                </a:cubicBezTo>
                <a:cubicBezTo>
                  <a:pt x="0" y="257"/>
                  <a:pt x="57" y="200"/>
                  <a:pt x="128" y="200"/>
                </a:cubicBezTo>
                <a:cubicBezTo>
                  <a:pt x="382" y="200"/>
                  <a:pt x="382" y="200"/>
                  <a:pt x="382" y="200"/>
                </a:cubicBezTo>
                <a:cubicBezTo>
                  <a:pt x="492" y="200"/>
                  <a:pt x="581" y="111"/>
                  <a:pt x="581" y="0"/>
                </a:cubicBezTo>
              </a:path>
            </a:pathLst>
          </a:custGeom>
          <a:noFill/>
          <a:ln w="180975" cap="rnd">
            <a:solidFill>
              <a:schemeClr val="tx2">
                <a:lumMod val="20000"/>
                <a:lumOff val="80000"/>
              </a:schemeClr>
            </a:solidFill>
            <a:prstDash val="solid"/>
            <a:round/>
          </a:ln>
          <a:extLst>
            <a:ext uri="{909E8E84-426E-40DD-AFC4-6F175D3DCCD1}">
              <a14:hiddenFill xmlns:a14="http://schemas.microsoft.com/office/drawing/2010/main">
                <a:solidFill>
                  <a:srgbClr val="FFFFFF"/>
                </a:solidFill>
              </a14:hiddenFill>
            </a:ext>
          </a:extLst>
        </p:spPr>
        <p:txBody>
          <a:bodyPr anchor="ctr"/>
          <a:lstStyle/>
          <a:p>
            <a:pPr algn="ctr"/>
            <a:endParaRPr/>
          </a:p>
        </p:txBody>
      </p:sp>
      <p:sp>
        <p:nvSpPr>
          <p:cNvPr id="22" name="ïSlíḋe">
            <a:extLst>
              <a:ext uri="{FF2B5EF4-FFF2-40B4-BE49-F238E27FC236}">
                <a16:creationId xmlns:a16="http://schemas.microsoft.com/office/drawing/2014/main" id="{D1D51334-E0BB-4D37-AB26-DF8F26FE71FE}"/>
              </a:ext>
            </a:extLst>
          </p:cNvPr>
          <p:cNvSpPr/>
          <p:nvPr/>
        </p:nvSpPr>
        <p:spPr bwMode="auto">
          <a:xfrm rot="5400000">
            <a:off x="4622311" y="3835075"/>
            <a:ext cx="1060605" cy="1299723"/>
          </a:xfrm>
          <a:custGeom>
            <a:avLst/>
            <a:gdLst>
              <a:gd name="T0" fmla="*/ 581 w 581"/>
              <a:gd name="T1" fmla="*/ 712 h 712"/>
              <a:gd name="T2" fmla="*/ 581 w 581"/>
              <a:gd name="T3" fmla="*/ 328 h 712"/>
              <a:gd name="T4" fmla="*/ 453 w 581"/>
              <a:gd name="T5" fmla="*/ 200 h 712"/>
              <a:gd name="T6" fmla="*/ 200 w 581"/>
              <a:gd name="T7" fmla="*/ 200 h 712"/>
              <a:gd name="T8" fmla="*/ 0 w 581"/>
              <a:gd name="T9" fmla="*/ 0 h 712"/>
            </a:gdLst>
            <a:ahLst/>
            <a:cxnLst>
              <a:cxn ang="0">
                <a:pos x="T0" y="T1"/>
              </a:cxn>
              <a:cxn ang="0">
                <a:pos x="T2" y="T3"/>
              </a:cxn>
              <a:cxn ang="0">
                <a:pos x="T4" y="T5"/>
              </a:cxn>
              <a:cxn ang="0">
                <a:pos x="T6" y="T7"/>
              </a:cxn>
              <a:cxn ang="0">
                <a:pos x="T8" y="T9"/>
              </a:cxn>
            </a:cxnLst>
            <a:rect l="0" t="0" r="r" b="b"/>
            <a:pathLst>
              <a:path w="581" h="712">
                <a:moveTo>
                  <a:pt x="581" y="712"/>
                </a:moveTo>
                <a:cubicBezTo>
                  <a:pt x="581" y="328"/>
                  <a:pt x="581" y="328"/>
                  <a:pt x="581" y="328"/>
                </a:cubicBezTo>
                <a:cubicBezTo>
                  <a:pt x="581" y="257"/>
                  <a:pt x="524" y="200"/>
                  <a:pt x="453" y="200"/>
                </a:cubicBezTo>
                <a:cubicBezTo>
                  <a:pt x="200" y="200"/>
                  <a:pt x="200" y="200"/>
                  <a:pt x="200" y="200"/>
                </a:cubicBezTo>
                <a:cubicBezTo>
                  <a:pt x="90" y="200"/>
                  <a:pt x="0" y="111"/>
                  <a:pt x="0" y="0"/>
                </a:cubicBezTo>
              </a:path>
            </a:pathLst>
          </a:custGeom>
          <a:noFill/>
          <a:ln w="180975" cap="rnd">
            <a:solidFill>
              <a:schemeClr val="tx2">
                <a:lumMod val="20000"/>
                <a:lumOff val="80000"/>
              </a:schemeClr>
            </a:solidFill>
            <a:prstDash val="solid"/>
            <a:round/>
          </a:ln>
          <a:extLst>
            <a:ext uri="{909E8E84-426E-40DD-AFC4-6F175D3DCCD1}">
              <a14:hiddenFill xmlns:a14="http://schemas.microsoft.com/office/drawing/2010/main">
                <a:solidFill>
                  <a:srgbClr val="FFFFFF"/>
                </a:solidFill>
              </a14:hiddenFill>
            </a:ext>
          </a:extLst>
        </p:spPr>
        <p:txBody>
          <a:bodyPr anchor="ctr"/>
          <a:lstStyle/>
          <a:p>
            <a:pPr algn="ctr"/>
            <a:endParaRPr/>
          </a:p>
        </p:txBody>
      </p:sp>
      <p:sp>
        <p:nvSpPr>
          <p:cNvPr id="23" name="îṣḷíḑè">
            <a:extLst>
              <a:ext uri="{FF2B5EF4-FFF2-40B4-BE49-F238E27FC236}">
                <a16:creationId xmlns:a16="http://schemas.microsoft.com/office/drawing/2014/main" id="{838B91F9-0100-4117-9131-E9EF32422B83}"/>
              </a:ext>
            </a:extLst>
          </p:cNvPr>
          <p:cNvSpPr/>
          <p:nvPr/>
        </p:nvSpPr>
        <p:spPr bwMode="auto">
          <a:xfrm rot="5400000">
            <a:off x="5870355" y="2111109"/>
            <a:ext cx="1177850" cy="3379281"/>
          </a:xfrm>
          <a:custGeom>
            <a:avLst/>
            <a:gdLst>
              <a:gd name="T0" fmla="*/ 0 w 645"/>
              <a:gd name="T1" fmla="*/ 1852 h 1852"/>
              <a:gd name="T2" fmla="*/ 0 w 645"/>
              <a:gd name="T3" fmla="*/ 1691 h 1852"/>
              <a:gd name="T4" fmla="*/ 65 w 645"/>
              <a:gd name="T5" fmla="*/ 1625 h 1852"/>
              <a:gd name="T6" fmla="*/ 208 w 645"/>
              <a:gd name="T7" fmla="*/ 1625 h 1852"/>
              <a:gd name="T8" fmla="*/ 407 w 645"/>
              <a:gd name="T9" fmla="*/ 1426 h 1852"/>
              <a:gd name="T10" fmla="*/ 407 w 645"/>
              <a:gd name="T11" fmla="*/ 1405 h 1852"/>
              <a:gd name="T12" fmla="*/ 407 w 645"/>
              <a:gd name="T13" fmla="*/ 676 h 1852"/>
              <a:gd name="T14" fmla="*/ 495 w 645"/>
              <a:gd name="T15" fmla="*/ 587 h 1852"/>
              <a:gd name="T16" fmla="*/ 556 w 645"/>
              <a:gd name="T17" fmla="*/ 587 h 1852"/>
              <a:gd name="T18" fmla="*/ 645 w 645"/>
              <a:gd name="T19" fmla="*/ 499 h 1852"/>
              <a:gd name="T20" fmla="*/ 633 w 645"/>
              <a:gd name="T21" fmla="*/ 454 h 1852"/>
              <a:gd name="T22" fmla="*/ 319 w 645"/>
              <a:gd name="T23" fmla="*/ 0 h 18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45" h="1852">
                <a:moveTo>
                  <a:pt x="0" y="1852"/>
                </a:moveTo>
                <a:cubicBezTo>
                  <a:pt x="0" y="1691"/>
                  <a:pt x="0" y="1691"/>
                  <a:pt x="0" y="1691"/>
                </a:cubicBezTo>
                <a:cubicBezTo>
                  <a:pt x="0" y="1655"/>
                  <a:pt x="29" y="1625"/>
                  <a:pt x="65" y="1625"/>
                </a:cubicBezTo>
                <a:cubicBezTo>
                  <a:pt x="208" y="1625"/>
                  <a:pt x="208" y="1625"/>
                  <a:pt x="208" y="1625"/>
                </a:cubicBezTo>
                <a:cubicBezTo>
                  <a:pt x="318" y="1625"/>
                  <a:pt x="407" y="1536"/>
                  <a:pt x="407" y="1426"/>
                </a:cubicBezTo>
                <a:cubicBezTo>
                  <a:pt x="407" y="1405"/>
                  <a:pt x="407" y="1405"/>
                  <a:pt x="407" y="1405"/>
                </a:cubicBezTo>
                <a:cubicBezTo>
                  <a:pt x="407" y="676"/>
                  <a:pt x="407" y="676"/>
                  <a:pt x="407" y="676"/>
                </a:cubicBezTo>
                <a:cubicBezTo>
                  <a:pt x="407" y="627"/>
                  <a:pt x="446" y="587"/>
                  <a:pt x="495" y="587"/>
                </a:cubicBezTo>
                <a:cubicBezTo>
                  <a:pt x="556" y="587"/>
                  <a:pt x="556" y="587"/>
                  <a:pt x="556" y="587"/>
                </a:cubicBezTo>
                <a:cubicBezTo>
                  <a:pt x="605" y="587"/>
                  <a:pt x="645" y="548"/>
                  <a:pt x="645" y="499"/>
                </a:cubicBezTo>
                <a:cubicBezTo>
                  <a:pt x="645" y="482"/>
                  <a:pt x="640" y="467"/>
                  <a:pt x="633" y="454"/>
                </a:cubicBezTo>
                <a:cubicBezTo>
                  <a:pt x="319" y="0"/>
                  <a:pt x="319" y="0"/>
                  <a:pt x="319" y="0"/>
                </a:cubicBezTo>
              </a:path>
            </a:pathLst>
          </a:custGeom>
          <a:noFill/>
          <a:ln w="180975" cap="rnd">
            <a:solidFill>
              <a:schemeClr val="tx2"/>
            </a:solidFill>
            <a:prstDash val="solid"/>
            <a:round/>
          </a:ln>
          <a:extLst>
            <a:ext uri="{909E8E84-426E-40DD-AFC4-6F175D3DCCD1}">
              <a14:hiddenFill xmlns:a14="http://schemas.microsoft.com/office/drawing/2010/main">
                <a:solidFill>
                  <a:srgbClr val="FFFFFF"/>
                </a:solidFill>
              </a14:hiddenFill>
            </a:ext>
          </a:extLst>
        </p:spPr>
        <p:txBody>
          <a:bodyPr anchor="ctr"/>
          <a:lstStyle/>
          <a:p>
            <a:pPr algn="ctr"/>
            <a:endParaRPr/>
          </a:p>
        </p:txBody>
      </p:sp>
      <p:sp>
        <p:nvSpPr>
          <p:cNvPr id="24" name="îśḷîďè">
            <a:extLst>
              <a:ext uri="{FF2B5EF4-FFF2-40B4-BE49-F238E27FC236}">
                <a16:creationId xmlns:a16="http://schemas.microsoft.com/office/drawing/2014/main" id="{2186FE10-6671-4FB6-AC91-BCA7DE7C6445}"/>
              </a:ext>
            </a:extLst>
          </p:cNvPr>
          <p:cNvSpPr/>
          <p:nvPr/>
        </p:nvSpPr>
        <p:spPr bwMode="auto">
          <a:xfrm rot="5400000">
            <a:off x="5870355" y="2085655"/>
            <a:ext cx="1177850" cy="3379281"/>
          </a:xfrm>
          <a:custGeom>
            <a:avLst/>
            <a:gdLst>
              <a:gd name="T0" fmla="*/ 645 w 645"/>
              <a:gd name="T1" fmla="*/ 1852 h 1852"/>
              <a:gd name="T2" fmla="*/ 645 w 645"/>
              <a:gd name="T3" fmla="*/ 1691 h 1852"/>
              <a:gd name="T4" fmla="*/ 579 w 645"/>
              <a:gd name="T5" fmla="*/ 1625 h 1852"/>
              <a:gd name="T6" fmla="*/ 437 w 645"/>
              <a:gd name="T7" fmla="*/ 1625 h 1852"/>
              <a:gd name="T8" fmla="*/ 237 w 645"/>
              <a:gd name="T9" fmla="*/ 1426 h 1852"/>
              <a:gd name="T10" fmla="*/ 238 w 645"/>
              <a:gd name="T11" fmla="*/ 1405 h 1852"/>
              <a:gd name="T12" fmla="*/ 238 w 645"/>
              <a:gd name="T13" fmla="*/ 676 h 1852"/>
              <a:gd name="T14" fmla="*/ 149 w 645"/>
              <a:gd name="T15" fmla="*/ 587 h 1852"/>
              <a:gd name="T16" fmla="*/ 88 w 645"/>
              <a:gd name="T17" fmla="*/ 587 h 1852"/>
              <a:gd name="T18" fmla="*/ 0 w 645"/>
              <a:gd name="T19" fmla="*/ 499 h 1852"/>
              <a:gd name="T20" fmla="*/ 12 w 645"/>
              <a:gd name="T21" fmla="*/ 454 h 1852"/>
              <a:gd name="T22" fmla="*/ 325 w 645"/>
              <a:gd name="T23" fmla="*/ 0 h 18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45" h="1852">
                <a:moveTo>
                  <a:pt x="645" y="1852"/>
                </a:moveTo>
                <a:cubicBezTo>
                  <a:pt x="645" y="1691"/>
                  <a:pt x="645" y="1691"/>
                  <a:pt x="645" y="1691"/>
                </a:cubicBezTo>
                <a:cubicBezTo>
                  <a:pt x="645" y="1655"/>
                  <a:pt x="615" y="1625"/>
                  <a:pt x="579" y="1625"/>
                </a:cubicBezTo>
                <a:cubicBezTo>
                  <a:pt x="437" y="1625"/>
                  <a:pt x="437" y="1625"/>
                  <a:pt x="437" y="1625"/>
                </a:cubicBezTo>
                <a:cubicBezTo>
                  <a:pt x="327" y="1625"/>
                  <a:pt x="237" y="1536"/>
                  <a:pt x="237" y="1426"/>
                </a:cubicBezTo>
                <a:cubicBezTo>
                  <a:pt x="238" y="1405"/>
                  <a:pt x="238" y="1405"/>
                  <a:pt x="238" y="1405"/>
                </a:cubicBezTo>
                <a:cubicBezTo>
                  <a:pt x="238" y="676"/>
                  <a:pt x="238" y="676"/>
                  <a:pt x="238" y="676"/>
                </a:cubicBezTo>
                <a:cubicBezTo>
                  <a:pt x="238" y="627"/>
                  <a:pt x="198" y="587"/>
                  <a:pt x="149" y="587"/>
                </a:cubicBezTo>
                <a:cubicBezTo>
                  <a:pt x="88" y="587"/>
                  <a:pt x="88" y="587"/>
                  <a:pt x="88" y="587"/>
                </a:cubicBezTo>
                <a:cubicBezTo>
                  <a:pt x="39" y="587"/>
                  <a:pt x="0" y="548"/>
                  <a:pt x="0" y="499"/>
                </a:cubicBezTo>
                <a:cubicBezTo>
                  <a:pt x="0" y="482"/>
                  <a:pt x="4" y="467"/>
                  <a:pt x="12" y="454"/>
                </a:cubicBezTo>
                <a:cubicBezTo>
                  <a:pt x="325" y="0"/>
                  <a:pt x="325" y="0"/>
                  <a:pt x="325" y="0"/>
                </a:cubicBezTo>
              </a:path>
            </a:pathLst>
          </a:custGeom>
          <a:noFill/>
          <a:ln w="180975" cap="rnd">
            <a:solidFill>
              <a:schemeClr val="accent1"/>
            </a:solidFill>
            <a:prstDash val="solid"/>
            <a:round/>
          </a:ln>
          <a:extLst>
            <a:ext uri="{909E8E84-426E-40DD-AFC4-6F175D3DCCD1}">
              <a14:hiddenFill xmlns:a14="http://schemas.microsoft.com/office/drawing/2010/main">
                <a:solidFill>
                  <a:srgbClr val="FFFFFF"/>
                </a:solidFill>
              </a14:hiddenFill>
            </a:ext>
          </a:extLst>
        </p:spPr>
        <p:txBody>
          <a:bodyPr anchor="ctr"/>
          <a:lstStyle/>
          <a:p>
            <a:pPr algn="ctr"/>
            <a:endParaRPr/>
          </a:p>
        </p:txBody>
      </p:sp>
      <p:sp>
        <p:nvSpPr>
          <p:cNvPr id="25" name="iśḷiḍè">
            <a:extLst>
              <a:ext uri="{FF2B5EF4-FFF2-40B4-BE49-F238E27FC236}">
                <a16:creationId xmlns:a16="http://schemas.microsoft.com/office/drawing/2014/main" id="{93F329D4-2C09-4592-A91C-1132E72174E2}"/>
              </a:ext>
            </a:extLst>
          </p:cNvPr>
          <p:cNvSpPr/>
          <p:nvPr/>
        </p:nvSpPr>
        <p:spPr bwMode="auto">
          <a:xfrm>
            <a:off x="4043085" y="4800680"/>
            <a:ext cx="460133" cy="459200"/>
          </a:xfrm>
          <a:prstGeom prst="ellipse">
            <a:avLst/>
          </a:prstGeom>
          <a:noFill/>
          <a:ln w="180975" cap="rnd">
            <a:solidFill>
              <a:schemeClr val="tx2">
                <a:lumMod val="20000"/>
                <a:lumOff val="80000"/>
              </a:schemeClr>
            </a:solidFill>
            <a:prstDash val="solid"/>
            <a:round/>
          </a:ln>
          <a:extLst>
            <a:ext uri="{909E8E84-426E-40DD-AFC4-6F175D3DCCD1}">
              <a14:hiddenFill xmlns:a14="http://schemas.microsoft.com/office/drawing/2010/main">
                <a:solidFill>
                  <a:srgbClr val="FFFFFF"/>
                </a:solidFill>
              </a14:hiddenFill>
            </a:ext>
          </a:extLst>
        </p:spPr>
        <p:txBody>
          <a:bodyPr anchor="ctr"/>
          <a:lstStyle/>
          <a:p>
            <a:pPr algn="ctr"/>
            <a:endParaRPr/>
          </a:p>
        </p:txBody>
      </p:sp>
      <p:sp>
        <p:nvSpPr>
          <p:cNvPr id="26" name="ïşļïḋe">
            <a:extLst>
              <a:ext uri="{FF2B5EF4-FFF2-40B4-BE49-F238E27FC236}">
                <a16:creationId xmlns:a16="http://schemas.microsoft.com/office/drawing/2014/main" id="{1512B009-9694-41D8-93B9-FCAB32AF5EFB}"/>
              </a:ext>
            </a:extLst>
          </p:cNvPr>
          <p:cNvSpPr/>
          <p:nvPr/>
        </p:nvSpPr>
        <p:spPr bwMode="auto">
          <a:xfrm>
            <a:off x="4072265" y="2394458"/>
            <a:ext cx="401774" cy="400958"/>
          </a:xfrm>
          <a:prstGeom prst="ellipse">
            <a:avLst/>
          </a:prstGeom>
          <a:noFill/>
          <a:ln w="180975" cap="rnd">
            <a:solidFill>
              <a:schemeClr val="tx2">
                <a:lumMod val="20000"/>
                <a:lumOff val="80000"/>
              </a:schemeClr>
            </a:solidFill>
            <a:prstDash val="solid"/>
            <a:round/>
          </a:ln>
          <a:extLst>
            <a:ext uri="{909E8E84-426E-40DD-AFC4-6F175D3DCCD1}">
              <a14:hiddenFill xmlns:a14="http://schemas.microsoft.com/office/drawing/2010/main">
                <a:solidFill>
                  <a:srgbClr val="FFFFFF"/>
                </a:solidFill>
              </a14:hiddenFill>
            </a:ext>
          </a:extLst>
        </p:spPr>
        <p:txBody>
          <a:bodyPr anchor="ctr"/>
          <a:lstStyle/>
          <a:p>
            <a:pPr algn="ctr"/>
            <a:endParaRPr/>
          </a:p>
        </p:txBody>
      </p:sp>
      <p:sp>
        <p:nvSpPr>
          <p:cNvPr id="27" name="í$liḍe">
            <a:extLst>
              <a:ext uri="{FF2B5EF4-FFF2-40B4-BE49-F238E27FC236}">
                <a16:creationId xmlns:a16="http://schemas.microsoft.com/office/drawing/2014/main" id="{3E68E220-7892-4D49-87F3-4CFBB8EE6D8E}"/>
              </a:ext>
            </a:extLst>
          </p:cNvPr>
          <p:cNvSpPr/>
          <p:nvPr/>
        </p:nvSpPr>
        <p:spPr bwMode="auto">
          <a:xfrm>
            <a:off x="4413696" y="3084206"/>
            <a:ext cx="306328" cy="305705"/>
          </a:xfrm>
          <a:prstGeom prst="ellipse">
            <a:avLst/>
          </a:prstGeom>
          <a:noFill/>
          <a:ln w="127000" cap="rnd">
            <a:solidFill>
              <a:schemeClr val="tx2"/>
            </a:solidFill>
            <a:prstDash val="solid"/>
            <a:round/>
          </a:ln>
          <a:extLst>
            <a:ext uri="{909E8E84-426E-40DD-AFC4-6F175D3DCCD1}">
              <a14:hiddenFill xmlns:a14="http://schemas.microsoft.com/office/drawing/2010/main">
                <a:solidFill>
                  <a:srgbClr val="FFFFFF"/>
                </a:solidFill>
              </a14:hiddenFill>
            </a:ext>
          </a:extLst>
        </p:spPr>
        <p:txBody>
          <a:bodyPr anchor="ctr"/>
          <a:lstStyle/>
          <a:p>
            <a:pPr algn="ctr"/>
            <a:endParaRPr/>
          </a:p>
        </p:txBody>
      </p:sp>
      <p:sp>
        <p:nvSpPr>
          <p:cNvPr id="28" name="íśļïḍè">
            <a:extLst>
              <a:ext uri="{FF2B5EF4-FFF2-40B4-BE49-F238E27FC236}">
                <a16:creationId xmlns:a16="http://schemas.microsoft.com/office/drawing/2014/main" id="{A986318A-6B6D-4D2B-8E82-AF4F038D72AC}"/>
              </a:ext>
            </a:extLst>
          </p:cNvPr>
          <p:cNvSpPr/>
          <p:nvPr/>
        </p:nvSpPr>
        <p:spPr bwMode="auto">
          <a:xfrm>
            <a:off x="4413696" y="4209052"/>
            <a:ext cx="306328" cy="305705"/>
          </a:xfrm>
          <a:prstGeom prst="ellipse">
            <a:avLst/>
          </a:prstGeom>
          <a:noFill/>
          <a:ln w="127000" cap="rnd">
            <a:solidFill>
              <a:schemeClr val="accent1"/>
            </a:solidFill>
            <a:prstDash val="solid"/>
            <a:round/>
          </a:ln>
          <a:extLst>
            <a:ext uri="{909E8E84-426E-40DD-AFC4-6F175D3DCCD1}">
              <a14:hiddenFill xmlns:a14="http://schemas.microsoft.com/office/drawing/2010/main">
                <a:solidFill>
                  <a:srgbClr val="FFFFFF"/>
                </a:solidFill>
              </a14:hiddenFill>
            </a:ext>
          </a:extLst>
        </p:spPr>
        <p:txBody>
          <a:bodyPr anchor="ctr"/>
          <a:lstStyle/>
          <a:p>
            <a:pPr algn="ctr"/>
            <a:endParaRPr/>
          </a:p>
        </p:txBody>
      </p:sp>
      <p:sp>
        <p:nvSpPr>
          <p:cNvPr id="20" name="íṣḻíde">
            <a:extLst>
              <a:ext uri="{FF2B5EF4-FFF2-40B4-BE49-F238E27FC236}">
                <a16:creationId xmlns:a16="http://schemas.microsoft.com/office/drawing/2014/main" id="{10F54B13-5252-4210-A7D5-BAFCA3C0C07A}"/>
              </a:ext>
            </a:extLst>
          </p:cNvPr>
          <p:cNvSpPr txBox="1"/>
          <p:nvPr/>
        </p:nvSpPr>
        <p:spPr bwMode="auto">
          <a:xfrm>
            <a:off x="8571000" y="3130751"/>
            <a:ext cx="1258800" cy="1384006"/>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90000" tIns="46800" rIns="90000" bIns="46800" anchor="ctr">
            <a:norm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eaLnBrk="1" hangingPunct="1">
              <a:lnSpc>
                <a:spcPct val="100000"/>
              </a:lnSpc>
              <a:spcBef>
                <a:spcPct val="0"/>
              </a:spcBef>
            </a:pPr>
            <a:r>
              <a:rPr lang="zh-CN" altLang="en-US" sz="2800" b="1" dirty="0" smtClean="0"/>
              <a:t>产量</a:t>
            </a:r>
            <a:endParaRPr lang="en-US" altLang="zh-CN" sz="2800" b="1" dirty="0" smtClean="0"/>
          </a:p>
          <a:p>
            <a:pPr eaLnBrk="1" hangingPunct="1">
              <a:lnSpc>
                <a:spcPct val="100000"/>
              </a:lnSpc>
              <a:spcBef>
                <a:spcPct val="0"/>
              </a:spcBef>
            </a:pPr>
            <a:endParaRPr lang="en-US" altLang="zh-CN" sz="2800" b="1" dirty="0"/>
          </a:p>
          <a:p>
            <a:pPr eaLnBrk="1" hangingPunct="1">
              <a:lnSpc>
                <a:spcPct val="100000"/>
              </a:lnSpc>
              <a:spcBef>
                <a:spcPct val="0"/>
              </a:spcBef>
            </a:pPr>
            <a:r>
              <a:rPr lang="zh-CN" altLang="en-US" sz="2800" b="1" dirty="0" smtClean="0"/>
              <a:t>质量</a:t>
            </a:r>
            <a:endParaRPr lang="en-US" altLang="zh-CN" sz="2800" b="1" dirty="0"/>
          </a:p>
        </p:txBody>
      </p:sp>
      <p:sp>
        <p:nvSpPr>
          <p:cNvPr id="9" name="íṣľîdè">
            <a:extLst>
              <a:ext uri="{FF2B5EF4-FFF2-40B4-BE49-F238E27FC236}">
                <a16:creationId xmlns:a16="http://schemas.microsoft.com/office/drawing/2014/main" id="{5418B78D-7FA3-4212-893D-9C528CD1C715}"/>
              </a:ext>
            </a:extLst>
          </p:cNvPr>
          <p:cNvSpPr txBox="1"/>
          <p:nvPr/>
        </p:nvSpPr>
        <p:spPr bwMode="auto">
          <a:xfrm>
            <a:off x="678079" y="1652292"/>
            <a:ext cx="3365005" cy="4128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0000" tIns="46800" rIns="90000" bIns="46800">
            <a:no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eaLnBrk="1" hangingPunct="1">
              <a:lnSpc>
                <a:spcPct val="100000"/>
              </a:lnSpc>
              <a:spcBef>
                <a:spcPct val="0"/>
              </a:spcBef>
              <a:buFontTx/>
              <a:buNone/>
            </a:pPr>
            <a:r>
              <a:rPr lang="zh-CN" altLang="en-US" sz="2400" b="1" dirty="0"/>
              <a:t>发</a:t>
            </a:r>
            <a:r>
              <a:rPr lang="zh-CN" altLang="en-US" sz="2400" b="1" dirty="0" smtClean="0"/>
              <a:t>料异常</a:t>
            </a:r>
            <a:endParaRPr lang="en-US" altLang="zh-CN" sz="2400" b="1" dirty="0"/>
          </a:p>
        </p:txBody>
      </p:sp>
      <p:sp>
        <p:nvSpPr>
          <p:cNvPr id="11" name="ïsḻíḓe">
            <a:extLst>
              <a:ext uri="{FF2B5EF4-FFF2-40B4-BE49-F238E27FC236}">
                <a16:creationId xmlns:a16="http://schemas.microsoft.com/office/drawing/2014/main" id="{3E67EE89-6570-4900-89C4-2BB7B2CD9602}"/>
              </a:ext>
            </a:extLst>
          </p:cNvPr>
          <p:cNvSpPr txBox="1"/>
          <p:nvPr/>
        </p:nvSpPr>
        <p:spPr bwMode="auto">
          <a:xfrm>
            <a:off x="678079" y="2430225"/>
            <a:ext cx="3365005" cy="4128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0000" tIns="46800" rIns="90000" bIns="46800">
            <a:no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eaLnBrk="1" hangingPunct="1">
              <a:lnSpc>
                <a:spcPct val="100000"/>
              </a:lnSpc>
              <a:spcBef>
                <a:spcPct val="0"/>
              </a:spcBef>
              <a:buFontTx/>
              <a:buNone/>
            </a:pPr>
            <a:r>
              <a:rPr lang="zh-CN" altLang="en-US" sz="2400" b="1" dirty="0"/>
              <a:t>上</a:t>
            </a:r>
            <a:r>
              <a:rPr lang="zh-CN" altLang="en-US" sz="2400" b="1" dirty="0" smtClean="0"/>
              <a:t>料异常</a:t>
            </a:r>
            <a:endParaRPr lang="en-US" altLang="zh-CN" sz="2400" b="1" dirty="0"/>
          </a:p>
        </p:txBody>
      </p:sp>
      <p:sp>
        <p:nvSpPr>
          <p:cNvPr id="13" name="iş1iḍê">
            <a:extLst>
              <a:ext uri="{FF2B5EF4-FFF2-40B4-BE49-F238E27FC236}">
                <a16:creationId xmlns:a16="http://schemas.microsoft.com/office/drawing/2014/main" id="{79B003B9-4875-4123-9113-CCF125DD1703}"/>
              </a:ext>
            </a:extLst>
          </p:cNvPr>
          <p:cNvSpPr txBox="1"/>
          <p:nvPr/>
        </p:nvSpPr>
        <p:spPr bwMode="auto">
          <a:xfrm>
            <a:off x="678079" y="3203515"/>
            <a:ext cx="3365005" cy="4128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0000" tIns="46800" rIns="90000" bIns="46800">
            <a:no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eaLnBrk="1" hangingPunct="1">
              <a:lnSpc>
                <a:spcPct val="100000"/>
              </a:lnSpc>
              <a:spcBef>
                <a:spcPct val="0"/>
              </a:spcBef>
              <a:buFontTx/>
              <a:buNone/>
            </a:pPr>
            <a:r>
              <a:rPr lang="zh-CN" altLang="en-US" sz="2400" b="1" dirty="0"/>
              <a:t>换</a:t>
            </a:r>
            <a:r>
              <a:rPr lang="zh-CN" altLang="en-US" sz="2400" b="1" dirty="0" smtClean="0"/>
              <a:t>料异常</a:t>
            </a:r>
            <a:endParaRPr lang="en-US" altLang="zh-CN" sz="2400" b="1" dirty="0"/>
          </a:p>
        </p:txBody>
      </p:sp>
      <p:sp>
        <p:nvSpPr>
          <p:cNvPr id="15" name="ïṧlïḑè">
            <a:extLst>
              <a:ext uri="{FF2B5EF4-FFF2-40B4-BE49-F238E27FC236}">
                <a16:creationId xmlns:a16="http://schemas.microsoft.com/office/drawing/2014/main" id="{D52DA379-E0A7-477E-A46B-45606917D879}"/>
              </a:ext>
            </a:extLst>
          </p:cNvPr>
          <p:cNvSpPr txBox="1"/>
          <p:nvPr/>
        </p:nvSpPr>
        <p:spPr bwMode="auto">
          <a:xfrm>
            <a:off x="678079" y="3949901"/>
            <a:ext cx="3365005" cy="4128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0000" tIns="46800" rIns="90000" bIns="46800">
            <a:no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eaLnBrk="1" hangingPunct="1">
              <a:lnSpc>
                <a:spcPct val="100000"/>
              </a:lnSpc>
              <a:spcBef>
                <a:spcPct val="0"/>
              </a:spcBef>
              <a:buFontTx/>
              <a:buNone/>
            </a:pPr>
            <a:r>
              <a:rPr lang="zh-CN" altLang="en-US" sz="2400" b="1" dirty="0" smtClean="0"/>
              <a:t>记录异常</a:t>
            </a:r>
            <a:endParaRPr lang="en-US" altLang="zh-CN" sz="2400" b="1" dirty="0"/>
          </a:p>
        </p:txBody>
      </p:sp>
      <p:cxnSp>
        <p:nvCxnSpPr>
          <p:cNvPr id="16" name="直接连接符 15">
            <a:extLst>
              <a:ext uri="{FF2B5EF4-FFF2-40B4-BE49-F238E27FC236}">
                <a16:creationId xmlns:a16="http://schemas.microsoft.com/office/drawing/2014/main" id="{936A4828-D9FA-427A-B9F6-B4516838FD8F}"/>
              </a:ext>
            </a:extLst>
          </p:cNvPr>
          <p:cNvCxnSpPr/>
          <p:nvPr/>
        </p:nvCxnSpPr>
        <p:spPr>
          <a:xfrm>
            <a:off x="678079" y="2093093"/>
            <a:ext cx="3167921" cy="0"/>
          </a:xfrm>
          <a:prstGeom prst="line">
            <a:avLst/>
          </a:prstGeom>
          <a:ln w="3175" cap="rnd">
            <a:solidFill>
              <a:schemeClr val="bg1">
                <a:lumMod val="75000"/>
              </a:schemeClr>
            </a:solidFill>
            <a:round/>
            <a:headEnd type="none"/>
            <a:tailEnd type="none" w="med" len="med"/>
          </a:ln>
        </p:spPr>
        <p:style>
          <a:lnRef idx="1">
            <a:schemeClr val="accent1"/>
          </a:lnRef>
          <a:fillRef idx="0">
            <a:schemeClr val="accent1"/>
          </a:fillRef>
          <a:effectRef idx="0">
            <a:schemeClr val="accent1"/>
          </a:effectRef>
          <a:fontRef idx="minor">
            <a:schemeClr val="tx1"/>
          </a:fontRef>
        </p:style>
      </p:cxnSp>
      <p:cxnSp>
        <p:nvCxnSpPr>
          <p:cNvPr id="17" name="直接连接符 16">
            <a:extLst>
              <a:ext uri="{FF2B5EF4-FFF2-40B4-BE49-F238E27FC236}">
                <a16:creationId xmlns:a16="http://schemas.microsoft.com/office/drawing/2014/main" id="{6A17A22C-AF39-447E-8093-9D88AEC21EB7}"/>
              </a:ext>
            </a:extLst>
          </p:cNvPr>
          <p:cNvCxnSpPr/>
          <p:nvPr/>
        </p:nvCxnSpPr>
        <p:spPr>
          <a:xfrm>
            <a:off x="678079" y="2862169"/>
            <a:ext cx="3167921" cy="0"/>
          </a:xfrm>
          <a:prstGeom prst="line">
            <a:avLst/>
          </a:prstGeom>
          <a:ln w="3175" cap="rnd">
            <a:solidFill>
              <a:schemeClr val="bg1">
                <a:lumMod val="75000"/>
              </a:schemeClr>
            </a:solidFill>
            <a:round/>
            <a:headEnd type="none"/>
            <a:tailEnd type="none" w="med" len="med"/>
          </a:ln>
        </p:spPr>
        <p:style>
          <a:lnRef idx="1">
            <a:schemeClr val="accent1"/>
          </a:lnRef>
          <a:fillRef idx="0">
            <a:schemeClr val="accent1"/>
          </a:fillRef>
          <a:effectRef idx="0">
            <a:schemeClr val="accent1"/>
          </a:effectRef>
          <a:fontRef idx="minor">
            <a:schemeClr val="tx1"/>
          </a:fontRef>
        </p:style>
      </p:cxnSp>
      <p:cxnSp>
        <p:nvCxnSpPr>
          <p:cNvPr id="18" name="直接连接符 17">
            <a:extLst>
              <a:ext uri="{FF2B5EF4-FFF2-40B4-BE49-F238E27FC236}">
                <a16:creationId xmlns:a16="http://schemas.microsoft.com/office/drawing/2014/main" id="{E2B56A8F-669B-466E-95B5-D793B2334CA2}"/>
              </a:ext>
            </a:extLst>
          </p:cNvPr>
          <p:cNvCxnSpPr/>
          <p:nvPr/>
        </p:nvCxnSpPr>
        <p:spPr>
          <a:xfrm>
            <a:off x="678079" y="3631235"/>
            <a:ext cx="3167921" cy="0"/>
          </a:xfrm>
          <a:prstGeom prst="line">
            <a:avLst/>
          </a:prstGeom>
          <a:ln w="3175" cap="rnd">
            <a:solidFill>
              <a:schemeClr val="bg1">
                <a:lumMod val="75000"/>
              </a:schemeClr>
            </a:solidFill>
            <a:round/>
            <a:headEnd type="none"/>
            <a:tailEnd type="none" w="med" len="med"/>
          </a:ln>
        </p:spPr>
        <p:style>
          <a:lnRef idx="1">
            <a:schemeClr val="accent1"/>
          </a:lnRef>
          <a:fillRef idx="0">
            <a:schemeClr val="accent1"/>
          </a:fillRef>
          <a:effectRef idx="0">
            <a:schemeClr val="accent1"/>
          </a:effectRef>
          <a:fontRef idx="minor">
            <a:schemeClr val="tx1"/>
          </a:fontRef>
        </p:style>
      </p:cxnSp>
      <p:sp>
        <p:nvSpPr>
          <p:cNvPr id="29" name="ïṧlïḑè">
            <a:extLst>
              <a:ext uri="{FF2B5EF4-FFF2-40B4-BE49-F238E27FC236}">
                <a16:creationId xmlns:a16="http://schemas.microsoft.com/office/drawing/2014/main" id="{D52DA379-E0A7-477E-A46B-45606917D879}"/>
              </a:ext>
            </a:extLst>
          </p:cNvPr>
          <p:cNvSpPr txBox="1"/>
          <p:nvPr/>
        </p:nvSpPr>
        <p:spPr bwMode="auto">
          <a:xfrm>
            <a:off x="672819" y="4676827"/>
            <a:ext cx="3365005" cy="4128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0000" tIns="46800" rIns="90000" bIns="46800">
            <a:no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eaLnBrk="1" hangingPunct="1">
              <a:lnSpc>
                <a:spcPct val="100000"/>
              </a:lnSpc>
              <a:spcBef>
                <a:spcPct val="0"/>
              </a:spcBef>
              <a:buFontTx/>
              <a:buNone/>
            </a:pPr>
            <a:r>
              <a:rPr lang="zh-CN" altLang="en-US" sz="2400" b="1" dirty="0"/>
              <a:t>客户</a:t>
            </a:r>
            <a:r>
              <a:rPr lang="zh-CN" altLang="en-US" sz="2400" b="1" dirty="0" smtClean="0"/>
              <a:t>追溯异常</a:t>
            </a:r>
            <a:endParaRPr lang="en-US" altLang="zh-CN" sz="2400" b="1" dirty="0"/>
          </a:p>
        </p:txBody>
      </p:sp>
      <p:cxnSp>
        <p:nvCxnSpPr>
          <p:cNvPr id="30" name="直接连接符 29">
            <a:extLst>
              <a:ext uri="{FF2B5EF4-FFF2-40B4-BE49-F238E27FC236}">
                <a16:creationId xmlns:a16="http://schemas.microsoft.com/office/drawing/2014/main" id="{E2B56A8F-669B-466E-95B5-D793B2334CA2}"/>
              </a:ext>
            </a:extLst>
          </p:cNvPr>
          <p:cNvCxnSpPr/>
          <p:nvPr/>
        </p:nvCxnSpPr>
        <p:spPr>
          <a:xfrm>
            <a:off x="672819" y="4382736"/>
            <a:ext cx="3167921" cy="0"/>
          </a:xfrm>
          <a:prstGeom prst="line">
            <a:avLst/>
          </a:prstGeom>
          <a:ln w="3175" cap="rnd">
            <a:solidFill>
              <a:schemeClr val="bg1">
                <a:lumMod val="75000"/>
              </a:schemeClr>
            </a:solidFill>
            <a:round/>
            <a:headEnd type="none"/>
            <a:tailEnd type="none" w="med" len="med"/>
          </a:ln>
        </p:spPr>
        <p:style>
          <a:lnRef idx="1">
            <a:schemeClr val="accent1"/>
          </a:lnRef>
          <a:fillRef idx="0">
            <a:schemeClr val="accent1"/>
          </a:fillRef>
          <a:effectRef idx="0">
            <a:schemeClr val="accent1"/>
          </a:effectRef>
          <a:fontRef idx="minor">
            <a:schemeClr val="tx1"/>
          </a:fontRef>
        </p:style>
      </p:cxnSp>
      <p:sp>
        <p:nvSpPr>
          <p:cNvPr id="31" name="ïṧlïḑè">
            <a:extLst>
              <a:ext uri="{FF2B5EF4-FFF2-40B4-BE49-F238E27FC236}">
                <a16:creationId xmlns:a16="http://schemas.microsoft.com/office/drawing/2014/main" id="{D52DA379-E0A7-477E-A46B-45606917D879}"/>
              </a:ext>
            </a:extLst>
          </p:cNvPr>
          <p:cNvSpPr txBox="1"/>
          <p:nvPr/>
        </p:nvSpPr>
        <p:spPr bwMode="auto">
          <a:xfrm>
            <a:off x="683328" y="5437126"/>
            <a:ext cx="3365005" cy="4128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0000" tIns="46800" rIns="90000" bIns="46800">
            <a:no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eaLnBrk="1" hangingPunct="1">
              <a:lnSpc>
                <a:spcPct val="100000"/>
              </a:lnSpc>
              <a:spcBef>
                <a:spcPct val="0"/>
              </a:spcBef>
              <a:buFontTx/>
              <a:buNone/>
            </a:pPr>
            <a:r>
              <a:rPr lang="zh-CN" altLang="en-US" sz="2400" b="1" dirty="0" smtClean="0"/>
              <a:t>操作流程异常</a:t>
            </a:r>
            <a:endParaRPr lang="en-US" altLang="zh-CN" sz="2400" b="1" dirty="0"/>
          </a:p>
        </p:txBody>
      </p:sp>
      <p:cxnSp>
        <p:nvCxnSpPr>
          <p:cNvPr id="32" name="直接连接符 31">
            <a:extLst>
              <a:ext uri="{FF2B5EF4-FFF2-40B4-BE49-F238E27FC236}">
                <a16:creationId xmlns:a16="http://schemas.microsoft.com/office/drawing/2014/main" id="{E2B56A8F-669B-466E-95B5-D793B2334CA2}"/>
              </a:ext>
            </a:extLst>
          </p:cNvPr>
          <p:cNvCxnSpPr/>
          <p:nvPr/>
        </p:nvCxnSpPr>
        <p:spPr>
          <a:xfrm>
            <a:off x="683328" y="5102694"/>
            <a:ext cx="3167921" cy="0"/>
          </a:xfrm>
          <a:prstGeom prst="line">
            <a:avLst/>
          </a:prstGeom>
          <a:ln w="3175" cap="rnd">
            <a:solidFill>
              <a:schemeClr val="bg1">
                <a:lumMod val="75000"/>
              </a:schemeClr>
            </a:solidFill>
            <a:round/>
            <a:headEnd type="none"/>
            <a:tailEnd type="none" w="med" len="med"/>
          </a:ln>
        </p:spPr>
        <p:style>
          <a:lnRef idx="1">
            <a:schemeClr val="accent1"/>
          </a:lnRef>
          <a:fillRef idx="0">
            <a:schemeClr val="accent1"/>
          </a:fillRef>
          <a:effectRef idx="0">
            <a:schemeClr val="accent1"/>
          </a:effectRef>
          <a:fontRef idx="minor">
            <a:schemeClr val="tx1"/>
          </a:fontRef>
        </p:style>
      </p:cxnSp>
      <p:sp>
        <p:nvSpPr>
          <p:cNvPr id="33" name="下箭头 32"/>
          <p:cNvSpPr/>
          <p:nvPr/>
        </p:nvSpPr>
        <p:spPr>
          <a:xfrm rot="10800000" flipV="1">
            <a:off x="9829800" y="2740331"/>
            <a:ext cx="873211" cy="2164846"/>
          </a:xfrm>
          <a:prstGeom prst="downArrow">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34" name="直接连接符 33">
            <a:extLst>
              <a:ext uri="{FF2B5EF4-FFF2-40B4-BE49-F238E27FC236}">
                <a16:creationId xmlns:a16="http://schemas.microsoft.com/office/drawing/2014/main" id="{E2B56A8F-669B-466E-95B5-D793B2334CA2}"/>
              </a:ext>
            </a:extLst>
          </p:cNvPr>
          <p:cNvCxnSpPr/>
          <p:nvPr/>
        </p:nvCxnSpPr>
        <p:spPr>
          <a:xfrm>
            <a:off x="677302" y="5870872"/>
            <a:ext cx="3167921" cy="0"/>
          </a:xfrm>
          <a:prstGeom prst="line">
            <a:avLst/>
          </a:prstGeom>
          <a:ln w="3175" cap="rnd">
            <a:solidFill>
              <a:schemeClr val="bg1">
                <a:lumMod val="75000"/>
              </a:schemeClr>
            </a:solidFill>
            <a:round/>
            <a:headEnd type="none"/>
            <a:tailEnd type="non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23600713"/>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a:t>SMT</a:t>
            </a:r>
            <a:r>
              <a:rPr lang="zh-CN" altLang="en-US" dirty="0"/>
              <a:t>防错料系统目的</a:t>
            </a:r>
          </a:p>
        </p:txBody>
      </p:sp>
      <p:sp>
        <p:nvSpPr>
          <p:cNvPr id="5" name="ïŝļíḋê">
            <a:extLst>
              <a:ext uri="{FF2B5EF4-FFF2-40B4-BE49-F238E27FC236}">
                <a16:creationId xmlns:a16="http://schemas.microsoft.com/office/drawing/2014/main" id="{72100ED3-6380-4F13-BF5E-7C81A09C8D85}"/>
              </a:ext>
            </a:extLst>
          </p:cNvPr>
          <p:cNvSpPr/>
          <p:nvPr/>
        </p:nvSpPr>
        <p:spPr>
          <a:xfrm flipH="1">
            <a:off x="10588111" y="2014358"/>
            <a:ext cx="717042" cy="717039"/>
          </a:xfrm>
          <a:custGeom>
            <a:avLst/>
            <a:gdLst>
              <a:gd name="connsiteX0" fmla="*/ 1124074 w 1583637"/>
              <a:gd name="connsiteY0" fmla="*/ 252493 h 1583637"/>
              <a:gd name="connsiteX1" fmla="*/ 1247256 w 1583637"/>
              <a:gd name="connsiteY1" fmla="*/ 149126 h 1583637"/>
              <a:gd name="connsiteX2" fmla="*/ 1345663 w 1583637"/>
              <a:gd name="connsiteY2" fmla="*/ 231701 h 1583637"/>
              <a:gd name="connsiteX3" fmla="*/ 1265256 w 1583637"/>
              <a:gd name="connsiteY3" fmla="*/ 370961 h 1583637"/>
              <a:gd name="connsiteX4" fmla="*/ 1393012 w 1583637"/>
              <a:gd name="connsiteY4" fmla="*/ 592241 h 1583637"/>
              <a:gd name="connsiteX5" fmla="*/ 1553818 w 1583637"/>
              <a:gd name="connsiteY5" fmla="*/ 592237 h 1583637"/>
              <a:gd name="connsiteX6" fmla="*/ 1576125 w 1583637"/>
              <a:gd name="connsiteY6" fmla="*/ 718748 h 1583637"/>
              <a:gd name="connsiteX7" fmla="*/ 1425015 w 1583637"/>
              <a:gd name="connsiteY7" fmla="*/ 773743 h 1583637"/>
              <a:gd name="connsiteX8" fmla="*/ 1380646 w 1583637"/>
              <a:gd name="connsiteY8" fmla="*/ 1025372 h 1583637"/>
              <a:gd name="connsiteX9" fmla="*/ 1503833 w 1583637"/>
              <a:gd name="connsiteY9" fmla="*/ 1128733 h 1583637"/>
              <a:gd name="connsiteX10" fmla="*/ 1439602 w 1583637"/>
              <a:gd name="connsiteY10" fmla="*/ 1239984 h 1583637"/>
              <a:gd name="connsiteX11" fmla="*/ 1288495 w 1583637"/>
              <a:gd name="connsiteY11" fmla="*/ 1184982 h 1583637"/>
              <a:gd name="connsiteX12" fmla="*/ 1092761 w 1583637"/>
              <a:gd name="connsiteY12" fmla="*/ 1349222 h 1583637"/>
              <a:gd name="connsiteX13" fmla="*/ 1120689 w 1583637"/>
              <a:gd name="connsiteY13" fmla="*/ 1507584 h 1583637"/>
              <a:gd name="connsiteX14" fmla="*/ 999974 w 1583637"/>
              <a:gd name="connsiteY14" fmla="*/ 1551521 h 1583637"/>
              <a:gd name="connsiteX15" fmla="*/ 919574 w 1583637"/>
              <a:gd name="connsiteY15" fmla="*/ 1412257 h 1583637"/>
              <a:gd name="connsiteX16" fmla="*/ 664062 w 1583637"/>
              <a:gd name="connsiteY16" fmla="*/ 1412257 h 1583637"/>
              <a:gd name="connsiteX17" fmla="*/ 583663 w 1583637"/>
              <a:gd name="connsiteY17" fmla="*/ 1551521 h 1583637"/>
              <a:gd name="connsiteX18" fmla="*/ 462948 w 1583637"/>
              <a:gd name="connsiteY18" fmla="*/ 1507584 h 1583637"/>
              <a:gd name="connsiteX19" fmla="*/ 490876 w 1583637"/>
              <a:gd name="connsiteY19" fmla="*/ 1349222 h 1583637"/>
              <a:gd name="connsiteX20" fmla="*/ 295142 w 1583637"/>
              <a:gd name="connsiteY20" fmla="*/ 1184981 h 1583637"/>
              <a:gd name="connsiteX21" fmla="*/ 144035 w 1583637"/>
              <a:gd name="connsiteY21" fmla="*/ 1239984 h 1583637"/>
              <a:gd name="connsiteX22" fmla="*/ 79804 w 1583637"/>
              <a:gd name="connsiteY22" fmla="*/ 1128733 h 1583637"/>
              <a:gd name="connsiteX23" fmla="*/ 202991 w 1583637"/>
              <a:gd name="connsiteY23" fmla="*/ 1025372 h 1583637"/>
              <a:gd name="connsiteX24" fmla="*/ 158622 w 1583637"/>
              <a:gd name="connsiteY24" fmla="*/ 773743 h 1583637"/>
              <a:gd name="connsiteX25" fmla="*/ 7512 w 1583637"/>
              <a:gd name="connsiteY25" fmla="*/ 718748 h 1583637"/>
              <a:gd name="connsiteX26" fmla="*/ 29819 w 1583637"/>
              <a:gd name="connsiteY26" fmla="*/ 592237 h 1583637"/>
              <a:gd name="connsiteX27" fmla="*/ 190625 w 1583637"/>
              <a:gd name="connsiteY27" fmla="*/ 592241 h 1583637"/>
              <a:gd name="connsiteX28" fmla="*/ 318381 w 1583637"/>
              <a:gd name="connsiteY28" fmla="*/ 370961 h 1583637"/>
              <a:gd name="connsiteX29" fmla="*/ 237974 w 1583637"/>
              <a:gd name="connsiteY29" fmla="*/ 231701 h 1583637"/>
              <a:gd name="connsiteX30" fmla="*/ 336381 w 1583637"/>
              <a:gd name="connsiteY30" fmla="*/ 149126 h 1583637"/>
              <a:gd name="connsiteX31" fmla="*/ 459563 w 1583637"/>
              <a:gd name="connsiteY31" fmla="*/ 252493 h 1583637"/>
              <a:gd name="connsiteX32" fmla="*/ 699666 w 1583637"/>
              <a:gd name="connsiteY32" fmla="*/ 165103 h 1583637"/>
              <a:gd name="connsiteX33" fmla="*/ 727586 w 1583637"/>
              <a:gd name="connsiteY33" fmla="*/ 6739 h 1583637"/>
              <a:gd name="connsiteX34" fmla="*/ 856051 w 1583637"/>
              <a:gd name="connsiteY34" fmla="*/ 6739 h 1583637"/>
              <a:gd name="connsiteX35" fmla="*/ 883970 w 1583637"/>
              <a:gd name="connsiteY35" fmla="*/ 165102 h 1583637"/>
              <a:gd name="connsiteX36" fmla="*/ 1124073 w 1583637"/>
              <a:gd name="connsiteY36" fmla="*/ 252493 h 1583637"/>
              <a:gd name="connsiteX37" fmla="*/ 1124074 w 1583637"/>
              <a:gd name="connsiteY37" fmla="*/ 252493 h 15836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583637" h="1583637">
                <a:moveTo>
                  <a:pt x="1124074" y="252493"/>
                </a:moveTo>
                <a:lnTo>
                  <a:pt x="1247256" y="149126"/>
                </a:lnTo>
                <a:lnTo>
                  <a:pt x="1345663" y="231701"/>
                </a:lnTo>
                <a:lnTo>
                  <a:pt x="1265256" y="370961"/>
                </a:lnTo>
                <a:cubicBezTo>
                  <a:pt x="1322430" y="435278"/>
                  <a:pt x="1365899" y="510569"/>
                  <a:pt x="1393012" y="592241"/>
                </a:cubicBezTo>
                <a:lnTo>
                  <a:pt x="1553818" y="592237"/>
                </a:lnTo>
                <a:lnTo>
                  <a:pt x="1576125" y="718748"/>
                </a:lnTo>
                <a:lnTo>
                  <a:pt x="1425015" y="773743"/>
                </a:lnTo>
                <a:cubicBezTo>
                  <a:pt x="1427471" y="859762"/>
                  <a:pt x="1412374" y="945380"/>
                  <a:pt x="1380646" y="1025372"/>
                </a:cubicBezTo>
                <a:lnTo>
                  <a:pt x="1503833" y="1128733"/>
                </a:lnTo>
                <a:lnTo>
                  <a:pt x="1439602" y="1239984"/>
                </a:lnTo>
                <a:lnTo>
                  <a:pt x="1288495" y="1184982"/>
                </a:lnTo>
                <a:cubicBezTo>
                  <a:pt x="1235084" y="1252456"/>
                  <a:pt x="1168484" y="1308339"/>
                  <a:pt x="1092761" y="1349222"/>
                </a:cubicBezTo>
                <a:lnTo>
                  <a:pt x="1120689" y="1507584"/>
                </a:lnTo>
                <a:lnTo>
                  <a:pt x="999974" y="1551521"/>
                </a:lnTo>
                <a:lnTo>
                  <a:pt x="919574" y="1412257"/>
                </a:lnTo>
                <a:cubicBezTo>
                  <a:pt x="835287" y="1429613"/>
                  <a:pt x="748348" y="1429613"/>
                  <a:pt x="664062" y="1412257"/>
                </a:cubicBezTo>
                <a:lnTo>
                  <a:pt x="583663" y="1551521"/>
                </a:lnTo>
                <a:lnTo>
                  <a:pt x="462948" y="1507584"/>
                </a:lnTo>
                <a:lnTo>
                  <a:pt x="490876" y="1349222"/>
                </a:lnTo>
                <a:cubicBezTo>
                  <a:pt x="415153" y="1308339"/>
                  <a:pt x="348553" y="1252455"/>
                  <a:pt x="295142" y="1184981"/>
                </a:cubicBezTo>
                <a:lnTo>
                  <a:pt x="144035" y="1239984"/>
                </a:lnTo>
                <a:lnTo>
                  <a:pt x="79804" y="1128733"/>
                </a:lnTo>
                <a:lnTo>
                  <a:pt x="202991" y="1025372"/>
                </a:lnTo>
                <a:cubicBezTo>
                  <a:pt x="171263" y="945380"/>
                  <a:pt x="156166" y="859762"/>
                  <a:pt x="158622" y="773743"/>
                </a:cubicBezTo>
                <a:lnTo>
                  <a:pt x="7512" y="718748"/>
                </a:lnTo>
                <a:lnTo>
                  <a:pt x="29819" y="592237"/>
                </a:lnTo>
                <a:lnTo>
                  <a:pt x="190625" y="592241"/>
                </a:lnTo>
                <a:cubicBezTo>
                  <a:pt x="217738" y="510569"/>
                  <a:pt x="261208" y="435277"/>
                  <a:pt x="318381" y="370961"/>
                </a:cubicBezTo>
                <a:lnTo>
                  <a:pt x="237974" y="231701"/>
                </a:lnTo>
                <a:lnTo>
                  <a:pt x="336381" y="149126"/>
                </a:lnTo>
                <a:lnTo>
                  <a:pt x="459563" y="252493"/>
                </a:lnTo>
                <a:cubicBezTo>
                  <a:pt x="532831" y="207356"/>
                  <a:pt x="614527" y="177621"/>
                  <a:pt x="699666" y="165103"/>
                </a:cubicBezTo>
                <a:lnTo>
                  <a:pt x="727586" y="6739"/>
                </a:lnTo>
                <a:lnTo>
                  <a:pt x="856051" y="6739"/>
                </a:lnTo>
                <a:lnTo>
                  <a:pt x="883970" y="165102"/>
                </a:lnTo>
                <a:cubicBezTo>
                  <a:pt x="969110" y="177621"/>
                  <a:pt x="1050806" y="207356"/>
                  <a:pt x="1124073" y="252493"/>
                </a:cubicBezTo>
                <a:lnTo>
                  <a:pt x="1124074" y="252493"/>
                </a:lnTo>
                <a:close/>
              </a:path>
            </a:pathLst>
          </a:custGeom>
          <a:solidFill>
            <a:schemeClr val="accent1"/>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nchor="ctr"/>
          <a:lstStyle/>
          <a:p>
            <a:pPr algn="ctr"/>
            <a:endParaRPr/>
          </a:p>
        </p:txBody>
      </p:sp>
      <p:sp>
        <p:nvSpPr>
          <p:cNvPr id="6" name="i$1îḑé">
            <a:extLst>
              <a:ext uri="{FF2B5EF4-FFF2-40B4-BE49-F238E27FC236}">
                <a16:creationId xmlns:a16="http://schemas.microsoft.com/office/drawing/2014/main" id="{415C40E7-C259-4E2A-8063-66011DDD61D3}"/>
              </a:ext>
            </a:extLst>
          </p:cNvPr>
          <p:cNvSpPr/>
          <p:nvPr/>
        </p:nvSpPr>
        <p:spPr>
          <a:xfrm flipH="1">
            <a:off x="10724196" y="2150442"/>
            <a:ext cx="444873" cy="444871"/>
          </a:xfrm>
          <a:prstGeom prst="ellipse">
            <a:avLst/>
          </a:prstGeom>
          <a:solidFill>
            <a:schemeClr val="accent1"/>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anchor="ctr">
            <a:noAutofit/>
          </a:bodyPr>
          <a:lstStyle/>
          <a:p>
            <a:pPr algn="ctr"/>
            <a:r>
              <a:rPr lang="en-US" sz="1600" b="1"/>
              <a:t>01</a:t>
            </a:r>
          </a:p>
        </p:txBody>
      </p:sp>
      <p:sp>
        <p:nvSpPr>
          <p:cNvPr id="7" name="ïṣ1iḍè">
            <a:extLst>
              <a:ext uri="{FF2B5EF4-FFF2-40B4-BE49-F238E27FC236}">
                <a16:creationId xmlns:a16="http://schemas.microsoft.com/office/drawing/2014/main" id="{1B83BEEE-40EF-4E0B-9230-127C93EF289D}"/>
              </a:ext>
            </a:extLst>
          </p:cNvPr>
          <p:cNvSpPr/>
          <p:nvPr/>
        </p:nvSpPr>
        <p:spPr>
          <a:xfrm flipH="1">
            <a:off x="10588111" y="3499697"/>
            <a:ext cx="717042" cy="717039"/>
          </a:xfrm>
          <a:custGeom>
            <a:avLst/>
            <a:gdLst>
              <a:gd name="connsiteX0" fmla="*/ 1124074 w 1583637"/>
              <a:gd name="connsiteY0" fmla="*/ 252493 h 1583637"/>
              <a:gd name="connsiteX1" fmla="*/ 1247256 w 1583637"/>
              <a:gd name="connsiteY1" fmla="*/ 149126 h 1583637"/>
              <a:gd name="connsiteX2" fmla="*/ 1345663 w 1583637"/>
              <a:gd name="connsiteY2" fmla="*/ 231701 h 1583637"/>
              <a:gd name="connsiteX3" fmla="*/ 1265256 w 1583637"/>
              <a:gd name="connsiteY3" fmla="*/ 370961 h 1583637"/>
              <a:gd name="connsiteX4" fmla="*/ 1393012 w 1583637"/>
              <a:gd name="connsiteY4" fmla="*/ 592241 h 1583637"/>
              <a:gd name="connsiteX5" fmla="*/ 1553818 w 1583637"/>
              <a:gd name="connsiteY5" fmla="*/ 592237 h 1583637"/>
              <a:gd name="connsiteX6" fmla="*/ 1576125 w 1583637"/>
              <a:gd name="connsiteY6" fmla="*/ 718748 h 1583637"/>
              <a:gd name="connsiteX7" fmla="*/ 1425015 w 1583637"/>
              <a:gd name="connsiteY7" fmla="*/ 773743 h 1583637"/>
              <a:gd name="connsiteX8" fmla="*/ 1380646 w 1583637"/>
              <a:gd name="connsiteY8" fmla="*/ 1025372 h 1583637"/>
              <a:gd name="connsiteX9" fmla="*/ 1503833 w 1583637"/>
              <a:gd name="connsiteY9" fmla="*/ 1128733 h 1583637"/>
              <a:gd name="connsiteX10" fmla="*/ 1439602 w 1583637"/>
              <a:gd name="connsiteY10" fmla="*/ 1239984 h 1583637"/>
              <a:gd name="connsiteX11" fmla="*/ 1288495 w 1583637"/>
              <a:gd name="connsiteY11" fmla="*/ 1184982 h 1583637"/>
              <a:gd name="connsiteX12" fmla="*/ 1092761 w 1583637"/>
              <a:gd name="connsiteY12" fmla="*/ 1349222 h 1583637"/>
              <a:gd name="connsiteX13" fmla="*/ 1120689 w 1583637"/>
              <a:gd name="connsiteY13" fmla="*/ 1507584 h 1583637"/>
              <a:gd name="connsiteX14" fmla="*/ 999974 w 1583637"/>
              <a:gd name="connsiteY14" fmla="*/ 1551521 h 1583637"/>
              <a:gd name="connsiteX15" fmla="*/ 919574 w 1583637"/>
              <a:gd name="connsiteY15" fmla="*/ 1412257 h 1583637"/>
              <a:gd name="connsiteX16" fmla="*/ 664062 w 1583637"/>
              <a:gd name="connsiteY16" fmla="*/ 1412257 h 1583637"/>
              <a:gd name="connsiteX17" fmla="*/ 583663 w 1583637"/>
              <a:gd name="connsiteY17" fmla="*/ 1551521 h 1583637"/>
              <a:gd name="connsiteX18" fmla="*/ 462948 w 1583637"/>
              <a:gd name="connsiteY18" fmla="*/ 1507584 h 1583637"/>
              <a:gd name="connsiteX19" fmla="*/ 490876 w 1583637"/>
              <a:gd name="connsiteY19" fmla="*/ 1349222 h 1583637"/>
              <a:gd name="connsiteX20" fmla="*/ 295142 w 1583637"/>
              <a:gd name="connsiteY20" fmla="*/ 1184981 h 1583637"/>
              <a:gd name="connsiteX21" fmla="*/ 144035 w 1583637"/>
              <a:gd name="connsiteY21" fmla="*/ 1239984 h 1583637"/>
              <a:gd name="connsiteX22" fmla="*/ 79804 w 1583637"/>
              <a:gd name="connsiteY22" fmla="*/ 1128733 h 1583637"/>
              <a:gd name="connsiteX23" fmla="*/ 202991 w 1583637"/>
              <a:gd name="connsiteY23" fmla="*/ 1025372 h 1583637"/>
              <a:gd name="connsiteX24" fmla="*/ 158622 w 1583637"/>
              <a:gd name="connsiteY24" fmla="*/ 773743 h 1583637"/>
              <a:gd name="connsiteX25" fmla="*/ 7512 w 1583637"/>
              <a:gd name="connsiteY25" fmla="*/ 718748 h 1583637"/>
              <a:gd name="connsiteX26" fmla="*/ 29819 w 1583637"/>
              <a:gd name="connsiteY26" fmla="*/ 592237 h 1583637"/>
              <a:gd name="connsiteX27" fmla="*/ 190625 w 1583637"/>
              <a:gd name="connsiteY27" fmla="*/ 592241 h 1583637"/>
              <a:gd name="connsiteX28" fmla="*/ 318381 w 1583637"/>
              <a:gd name="connsiteY28" fmla="*/ 370961 h 1583637"/>
              <a:gd name="connsiteX29" fmla="*/ 237974 w 1583637"/>
              <a:gd name="connsiteY29" fmla="*/ 231701 h 1583637"/>
              <a:gd name="connsiteX30" fmla="*/ 336381 w 1583637"/>
              <a:gd name="connsiteY30" fmla="*/ 149126 h 1583637"/>
              <a:gd name="connsiteX31" fmla="*/ 459563 w 1583637"/>
              <a:gd name="connsiteY31" fmla="*/ 252493 h 1583637"/>
              <a:gd name="connsiteX32" fmla="*/ 699666 w 1583637"/>
              <a:gd name="connsiteY32" fmla="*/ 165103 h 1583637"/>
              <a:gd name="connsiteX33" fmla="*/ 727586 w 1583637"/>
              <a:gd name="connsiteY33" fmla="*/ 6739 h 1583637"/>
              <a:gd name="connsiteX34" fmla="*/ 856051 w 1583637"/>
              <a:gd name="connsiteY34" fmla="*/ 6739 h 1583637"/>
              <a:gd name="connsiteX35" fmla="*/ 883970 w 1583637"/>
              <a:gd name="connsiteY35" fmla="*/ 165102 h 1583637"/>
              <a:gd name="connsiteX36" fmla="*/ 1124073 w 1583637"/>
              <a:gd name="connsiteY36" fmla="*/ 252493 h 1583637"/>
              <a:gd name="connsiteX37" fmla="*/ 1124074 w 1583637"/>
              <a:gd name="connsiteY37" fmla="*/ 252493 h 15836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583637" h="1583637">
                <a:moveTo>
                  <a:pt x="1124074" y="252493"/>
                </a:moveTo>
                <a:lnTo>
                  <a:pt x="1247256" y="149126"/>
                </a:lnTo>
                <a:lnTo>
                  <a:pt x="1345663" y="231701"/>
                </a:lnTo>
                <a:lnTo>
                  <a:pt x="1265256" y="370961"/>
                </a:lnTo>
                <a:cubicBezTo>
                  <a:pt x="1322430" y="435278"/>
                  <a:pt x="1365899" y="510569"/>
                  <a:pt x="1393012" y="592241"/>
                </a:cubicBezTo>
                <a:lnTo>
                  <a:pt x="1553818" y="592237"/>
                </a:lnTo>
                <a:lnTo>
                  <a:pt x="1576125" y="718748"/>
                </a:lnTo>
                <a:lnTo>
                  <a:pt x="1425015" y="773743"/>
                </a:lnTo>
                <a:cubicBezTo>
                  <a:pt x="1427471" y="859762"/>
                  <a:pt x="1412374" y="945380"/>
                  <a:pt x="1380646" y="1025372"/>
                </a:cubicBezTo>
                <a:lnTo>
                  <a:pt x="1503833" y="1128733"/>
                </a:lnTo>
                <a:lnTo>
                  <a:pt x="1439602" y="1239984"/>
                </a:lnTo>
                <a:lnTo>
                  <a:pt x="1288495" y="1184982"/>
                </a:lnTo>
                <a:cubicBezTo>
                  <a:pt x="1235084" y="1252456"/>
                  <a:pt x="1168484" y="1308339"/>
                  <a:pt x="1092761" y="1349222"/>
                </a:cubicBezTo>
                <a:lnTo>
                  <a:pt x="1120689" y="1507584"/>
                </a:lnTo>
                <a:lnTo>
                  <a:pt x="999974" y="1551521"/>
                </a:lnTo>
                <a:lnTo>
                  <a:pt x="919574" y="1412257"/>
                </a:lnTo>
                <a:cubicBezTo>
                  <a:pt x="835287" y="1429613"/>
                  <a:pt x="748348" y="1429613"/>
                  <a:pt x="664062" y="1412257"/>
                </a:cubicBezTo>
                <a:lnTo>
                  <a:pt x="583663" y="1551521"/>
                </a:lnTo>
                <a:lnTo>
                  <a:pt x="462948" y="1507584"/>
                </a:lnTo>
                <a:lnTo>
                  <a:pt x="490876" y="1349222"/>
                </a:lnTo>
                <a:cubicBezTo>
                  <a:pt x="415153" y="1308339"/>
                  <a:pt x="348553" y="1252455"/>
                  <a:pt x="295142" y="1184981"/>
                </a:cubicBezTo>
                <a:lnTo>
                  <a:pt x="144035" y="1239984"/>
                </a:lnTo>
                <a:lnTo>
                  <a:pt x="79804" y="1128733"/>
                </a:lnTo>
                <a:lnTo>
                  <a:pt x="202991" y="1025372"/>
                </a:lnTo>
                <a:cubicBezTo>
                  <a:pt x="171263" y="945380"/>
                  <a:pt x="156166" y="859762"/>
                  <a:pt x="158622" y="773743"/>
                </a:cubicBezTo>
                <a:lnTo>
                  <a:pt x="7512" y="718748"/>
                </a:lnTo>
                <a:lnTo>
                  <a:pt x="29819" y="592237"/>
                </a:lnTo>
                <a:lnTo>
                  <a:pt x="190625" y="592241"/>
                </a:lnTo>
                <a:cubicBezTo>
                  <a:pt x="217738" y="510569"/>
                  <a:pt x="261208" y="435277"/>
                  <a:pt x="318381" y="370961"/>
                </a:cubicBezTo>
                <a:lnTo>
                  <a:pt x="237974" y="231701"/>
                </a:lnTo>
                <a:lnTo>
                  <a:pt x="336381" y="149126"/>
                </a:lnTo>
                <a:lnTo>
                  <a:pt x="459563" y="252493"/>
                </a:lnTo>
                <a:cubicBezTo>
                  <a:pt x="532831" y="207356"/>
                  <a:pt x="614527" y="177621"/>
                  <a:pt x="699666" y="165103"/>
                </a:cubicBezTo>
                <a:lnTo>
                  <a:pt x="727586" y="6739"/>
                </a:lnTo>
                <a:lnTo>
                  <a:pt x="856051" y="6739"/>
                </a:lnTo>
                <a:lnTo>
                  <a:pt x="883970" y="165102"/>
                </a:lnTo>
                <a:cubicBezTo>
                  <a:pt x="969110" y="177621"/>
                  <a:pt x="1050806" y="207356"/>
                  <a:pt x="1124073" y="252493"/>
                </a:cubicBezTo>
                <a:lnTo>
                  <a:pt x="1124074" y="252493"/>
                </a:lnTo>
                <a:close/>
              </a:path>
            </a:pathLst>
          </a:custGeom>
          <a:solidFill>
            <a:schemeClr val="accent2"/>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nchor="ctr"/>
          <a:lstStyle/>
          <a:p>
            <a:pPr algn="ctr"/>
            <a:endParaRPr/>
          </a:p>
        </p:txBody>
      </p:sp>
      <p:sp>
        <p:nvSpPr>
          <p:cNvPr id="8" name="ïş1ïḓé">
            <a:extLst>
              <a:ext uri="{FF2B5EF4-FFF2-40B4-BE49-F238E27FC236}">
                <a16:creationId xmlns:a16="http://schemas.microsoft.com/office/drawing/2014/main" id="{A39BEC7E-9B49-40A6-B4DF-5CACE4F2EFC2}"/>
              </a:ext>
            </a:extLst>
          </p:cNvPr>
          <p:cNvSpPr/>
          <p:nvPr/>
        </p:nvSpPr>
        <p:spPr>
          <a:xfrm flipH="1">
            <a:off x="10724196" y="3635781"/>
            <a:ext cx="444873" cy="444871"/>
          </a:xfrm>
          <a:prstGeom prst="ellipse">
            <a:avLst/>
          </a:prstGeom>
          <a:solidFill>
            <a:schemeClr val="accent2"/>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anchor="ctr">
            <a:noAutofit/>
          </a:bodyPr>
          <a:lstStyle/>
          <a:p>
            <a:pPr algn="ctr"/>
            <a:r>
              <a:rPr lang="en-US" sz="1600" b="1" dirty="0"/>
              <a:t>02</a:t>
            </a:r>
          </a:p>
        </p:txBody>
      </p:sp>
      <p:sp>
        <p:nvSpPr>
          <p:cNvPr id="9" name="ïṩḻïḑé">
            <a:extLst>
              <a:ext uri="{FF2B5EF4-FFF2-40B4-BE49-F238E27FC236}">
                <a16:creationId xmlns:a16="http://schemas.microsoft.com/office/drawing/2014/main" id="{6156C651-D79F-4158-AEE3-3AD24239F7CC}"/>
              </a:ext>
            </a:extLst>
          </p:cNvPr>
          <p:cNvSpPr/>
          <p:nvPr/>
        </p:nvSpPr>
        <p:spPr>
          <a:xfrm flipH="1">
            <a:off x="10588111" y="4985036"/>
            <a:ext cx="717042" cy="717039"/>
          </a:xfrm>
          <a:custGeom>
            <a:avLst/>
            <a:gdLst>
              <a:gd name="connsiteX0" fmla="*/ 1124074 w 1583637"/>
              <a:gd name="connsiteY0" fmla="*/ 252493 h 1583637"/>
              <a:gd name="connsiteX1" fmla="*/ 1247256 w 1583637"/>
              <a:gd name="connsiteY1" fmla="*/ 149126 h 1583637"/>
              <a:gd name="connsiteX2" fmla="*/ 1345663 w 1583637"/>
              <a:gd name="connsiteY2" fmla="*/ 231701 h 1583637"/>
              <a:gd name="connsiteX3" fmla="*/ 1265256 w 1583637"/>
              <a:gd name="connsiteY3" fmla="*/ 370961 h 1583637"/>
              <a:gd name="connsiteX4" fmla="*/ 1393012 w 1583637"/>
              <a:gd name="connsiteY4" fmla="*/ 592241 h 1583637"/>
              <a:gd name="connsiteX5" fmla="*/ 1553818 w 1583637"/>
              <a:gd name="connsiteY5" fmla="*/ 592237 h 1583637"/>
              <a:gd name="connsiteX6" fmla="*/ 1576125 w 1583637"/>
              <a:gd name="connsiteY6" fmla="*/ 718748 h 1583637"/>
              <a:gd name="connsiteX7" fmla="*/ 1425015 w 1583637"/>
              <a:gd name="connsiteY7" fmla="*/ 773743 h 1583637"/>
              <a:gd name="connsiteX8" fmla="*/ 1380646 w 1583637"/>
              <a:gd name="connsiteY8" fmla="*/ 1025372 h 1583637"/>
              <a:gd name="connsiteX9" fmla="*/ 1503833 w 1583637"/>
              <a:gd name="connsiteY9" fmla="*/ 1128733 h 1583637"/>
              <a:gd name="connsiteX10" fmla="*/ 1439602 w 1583637"/>
              <a:gd name="connsiteY10" fmla="*/ 1239984 h 1583637"/>
              <a:gd name="connsiteX11" fmla="*/ 1288495 w 1583637"/>
              <a:gd name="connsiteY11" fmla="*/ 1184982 h 1583637"/>
              <a:gd name="connsiteX12" fmla="*/ 1092761 w 1583637"/>
              <a:gd name="connsiteY12" fmla="*/ 1349222 h 1583637"/>
              <a:gd name="connsiteX13" fmla="*/ 1120689 w 1583637"/>
              <a:gd name="connsiteY13" fmla="*/ 1507584 h 1583637"/>
              <a:gd name="connsiteX14" fmla="*/ 999974 w 1583637"/>
              <a:gd name="connsiteY14" fmla="*/ 1551521 h 1583637"/>
              <a:gd name="connsiteX15" fmla="*/ 919574 w 1583637"/>
              <a:gd name="connsiteY15" fmla="*/ 1412257 h 1583637"/>
              <a:gd name="connsiteX16" fmla="*/ 664062 w 1583637"/>
              <a:gd name="connsiteY16" fmla="*/ 1412257 h 1583637"/>
              <a:gd name="connsiteX17" fmla="*/ 583663 w 1583637"/>
              <a:gd name="connsiteY17" fmla="*/ 1551521 h 1583637"/>
              <a:gd name="connsiteX18" fmla="*/ 462948 w 1583637"/>
              <a:gd name="connsiteY18" fmla="*/ 1507584 h 1583637"/>
              <a:gd name="connsiteX19" fmla="*/ 490876 w 1583637"/>
              <a:gd name="connsiteY19" fmla="*/ 1349222 h 1583637"/>
              <a:gd name="connsiteX20" fmla="*/ 295142 w 1583637"/>
              <a:gd name="connsiteY20" fmla="*/ 1184981 h 1583637"/>
              <a:gd name="connsiteX21" fmla="*/ 144035 w 1583637"/>
              <a:gd name="connsiteY21" fmla="*/ 1239984 h 1583637"/>
              <a:gd name="connsiteX22" fmla="*/ 79804 w 1583637"/>
              <a:gd name="connsiteY22" fmla="*/ 1128733 h 1583637"/>
              <a:gd name="connsiteX23" fmla="*/ 202991 w 1583637"/>
              <a:gd name="connsiteY23" fmla="*/ 1025372 h 1583637"/>
              <a:gd name="connsiteX24" fmla="*/ 158622 w 1583637"/>
              <a:gd name="connsiteY24" fmla="*/ 773743 h 1583637"/>
              <a:gd name="connsiteX25" fmla="*/ 7512 w 1583637"/>
              <a:gd name="connsiteY25" fmla="*/ 718748 h 1583637"/>
              <a:gd name="connsiteX26" fmla="*/ 29819 w 1583637"/>
              <a:gd name="connsiteY26" fmla="*/ 592237 h 1583637"/>
              <a:gd name="connsiteX27" fmla="*/ 190625 w 1583637"/>
              <a:gd name="connsiteY27" fmla="*/ 592241 h 1583637"/>
              <a:gd name="connsiteX28" fmla="*/ 318381 w 1583637"/>
              <a:gd name="connsiteY28" fmla="*/ 370961 h 1583637"/>
              <a:gd name="connsiteX29" fmla="*/ 237974 w 1583637"/>
              <a:gd name="connsiteY29" fmla="*/ 231701 h 1583637"/>
              <a:gd name="connsiteX30" fmla="*/ 336381 w 1583637"/>
              <a:gd name="connsiteY30" fmla="*/ 149126 h 1583637"/>
              <a:gd name="connsiteX31" fmla="*/ 459563 w 1583637"/>
              <a:gd name="connsiteY31" fmla="*/ 252493 h 1583637"/>
              <a:gd name="connsiteX32" fmla="*/ 699666 w 1583637"/>
              <a:gd name="connsiteY32" fmla="*/ 165103 h 1583637"/>
              <a:gd name="connsiteX33" fmla="*/ 727586 w 1583637"/>
              <a:gd name="connsiteY33" fmla="*/ 6739 h 1583637"/>
              <a:gd name="connsiteX34" fmla="*/ 856051 w 1583637"/>
              <a:gd name="connsiteY34" fmla="*/ 6739 h 1583637"/>
              <a:gd name="connsiteX35" fmla="*/ 883970 w 1583637"/>
              <a:gd name="connsiteY35" fmla="*/ 165102 h 1583637"/>
              <a:gd name="connsiteX36" fmla="*/ 1124073 w 1583637"/>
              <a:gd name="connsiteY36" fmla="*/ 252493 h 1583637"/>
              <a:gd name="connsiteX37" fmla="*/ 1124074 w 1583637"/>
              <a:gd name="connsiteY37" fmla="*/ 252493 h 15836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583637" h="1583637">
                <a:moveTo>
                  <a:pt x="1124074" y="252493"/>
                </a:moveTo>
                <a:lnTo>
                  <a:pt x="1247256" y="149126"/>
                </a:lnTo>
                <a:lnTo>
                  <a:pt x="1345663" y="231701"/>
                </a:lnTo>
                <a:lnTo>
                  <a:pt x="1265256" y="370961"/>
                </a:lnTo>
                <a:cubicBezTo>
                  <a:pt x="1322430" y="435278"/>
                  <a:pt x="1365899" y="510569"/>
                  <a:pt x="1393012" y="592241"/>
                </a:cubicBezTo>
                <a:lnTo>
                  <a:pt x="1553818" y="592237"/>
                </a:lnTo>
                <a:lnTo>
                  <a:pt x="1576125" y="718748"/>
                </a:lnTo>
                <a:lnTo>
                  <a:pt x="1425015" y="773743"/>
                </a:lnTo>
                <a:cubicBezTo>
                  <a:pt x="1427471" y="859762"/>
                  <a:pt x="1412374" y="945380"/>
                  <a:pt x="1380646" y="1025372"/>
                </a:cubicBezTo>
                <a:lnTo>
                  <a:pt x="1503833" y="1128733"/>
                </a:lnTo>
                <a:lnTo>
                  <a:pt x="1439602" y="1239984"/>
                </a:lnTo>
                <a:lnTo>
                  <a:pt x="1288495" y="1184982"/>
                </a:lnTo>
                <a:cubicBezTo>
                  <a:pt x="1235084" y="1252456"/>
                  <a:pt x="1168484" y="1308339"/>
                  <a:pt x="1092761" y="1349222"/>
                </a:cubicBezTo>
                <a:lnTo>
                  <a:pt x="1120689" y="1507584"/>
                </a:lnTo>
                <a:lnTo>
                  <a:pt x="999974" y="1551521"/>
                </a:lnTo>
                <a:lnTo>
                  <a:pt x="919574" y="1412257"/>
                </a:lnTo>
                <a:cubicBezTo>
                  <a:pt x="835287" y="1429613"/>
                  <a:pt x="748348" y="1429613"/>
                  <a:pt x="664062" y="1412257"/>
                </a:cubicBezTo>
                <a:lnTo>
                  <a:pt x="583663" y="1551521"/>
                </a:lnTo>
                <a:lnTo>
                  <a:pt x="462948" y="1507584"/>
                </a:lnTo>
                <a:lnTo>
                  <a:pt x="490876" y="1349222"/>
                </a:lnTo>
                <a:cubicBezTo>
                  <a:pt x="415153" y="1308339"/>
                  <a:pt x="348553" y="1252455"/>
                  <a:pt x="295142" y="1184981"/>
                </a:cubicBezTo>
                <a:lnTo>
                  <a:pt x="144035" y="1239984"/>
                </a:lnTo>
                <a:lnTo>
                  <a:pt x="79804" y="1128733"/>
                </a:lnTo>
                <a:lnTo>
                  <a:pt x="202991" y="1025372"/>
                </a:lnTo>
                <a:cubicBezTo>
                  <a:pt x="171263" y="945380"/>
                  <a:pt x="156166" y="859762"/>
                  <a:pt x="158622" y="773743"/>
                </a:cubicBezTo>
                <a:lnTo>
                  <a:pt x="7512" y="718748"/>
                </a:lnTo>
                <a:lnTo>
                  <a:pt x="29819" y="592237"/>
                </a:lnTo>
                <a:lnTo>
                  <a:pt x="190625" y="592241"/>
                </a:lnTo>
                <a:cubicBezTo>
                  <a:pt x="217738" y="510569"/>
                  <a:pt x="261208" y="435277"/>
                  <a:pt x="318381" y="370961"/>
                </a:cubicBezTo>
                <a:lnTo>
                  <a:pt x="237974" y="231701"/>
                </a:lnTo>
                <a:lnTo>
                  <a:pt x="336381" y="149126"/>
                </a:lnTo>
                <a:lnTo>
                  <a:pt x="459563" y="252493"/>
                </a:lnTo>
                <a:cubicBezTo>
                  <a:pt x="532831" y="207356"/>
                  <a:pt x="614527" y="177621"/>
                  <a:pt x="699666" y="165103"/>
                </a:cubicBezTo>
                <a:lnTo>
                  <a:pt x="727586" y="6739"/>
                </a:lnTo>
                <a:lnTo>
                  <a:pt x="856051" y="6739"/>
                </a:lnTo>
                <a:lnTo>
                  <a:pt x="883970" y="165102"/>
                </a:lnTo>
                <a:cubicBezTo>
                  <a:pt x="969110" y="177621"/>
                  <a:pt x="1050806" y="207356"/>
                  <a:pt x="1124073" y="252493"/>
                </a:cubicBezTo>
                <a:lnTo>
                  <a:pt x="1124074" y="252493"/>
                </a:lnTo>
                <a:close/>
              </a:path>
            </a:pathLst>
          </a:custGeom>
          <a:solidFill>
            <a:schemeClr val="accent3"/>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nchor="ctr"/>
          <a:lstStyle/>
          <a:p>
            <a:pPr algn="ctr"/>
            <a:endParaRPr/>
          </a:p>
        </p:txBody>
      </p:sp>
      <p:sp>
        <p:nvSpPr>
          <p:cNvPr id="10" name="iş1îḋe">
            <a:extLst>
              <a:ext uri="{FF2B5EF4-FFF2-40B4-BE49-F238E27FC236}">
                <a16:creationId xmlns:a16="http://schemas.microsoft.com/office/drawing/2014/main" id="{1F7D7731-E335-4D5E-8C6B-F4331C02C3F9}"/>
              </a:ext>
            </a:extLst>
          </p:cNvPr>
          <p:cNvSpPr/>
          <p:nvPr/>
        </p:nvSpPr>
        <p:spPr>
          <a:xfrm flipH="1">
            <a:off x="10724196" y="5121120"/>
            <a:ext cx="444873" cy="444871"/>
          </a:xfrm>
          <a:prstGeom prst="ellipse">
            <a:avLst/>
          </a:prstGeom>
          <a:solidFill>
            <a:schemeClr val="accent3"/>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anchor="ctr">
            <a:noAutofit/>
          </a:bodyPr>
          <a:lstStyle/>
          <a:p>
            <a:pPr algn="ctr"/>
            <a:r>
              <a:rPr lang="en-US" sz="1600" b="1" dirty="0"/>
              <a:t>03</a:t>
            </a:r>
          </a:p>
        </p:txBody>
      </p:sp>
      <p:sp>
        <p:nvSpPr>
          <p:cNvPr id="11" name="îSlïḋê">
            <a:extLst>
              <a:ext uri="{FF2B5EF4-FFF2-40B4-BE49-F238E27FC236}">
                <a16:creationId xmlns:a16="http://schemas.microsoft.com/office/drawing/2014/main" id="{5C52919A-D7E1-4C5C-80C9-22887C69E56B}"/>
              </a:ext>
            </a:extLst>
          </p:cNvPr>
          <p:cNvSpPr/>
          <p:nvPr/>
        </p:nvSpPr>
        <p:spPr>
          <a:xfrm flipH="1">
            <a:off x="1102195" y="3348333"/>
            <a:ext cx="1620889" cy="1620883"/>
          </a:xfrm>
          <a:custGeom>
            <a:avLst/>
            <a:gdLst>
              <a:gd name="connsiteX0" fmla="*/ 1124074 w 1583637"/>
              <a:gd name="connsiteY0" fmla="*/ 252493 h 1583637"/>
              <a:gd name="connsiteX1" fmla="*/ 1247256 w 1583637"/>
              <a:gd name="connsiteY1" fmla="*/ 149126 h 1583637"/>
              <a:gd name="connsiteX2" fmla="*/ 1345663 w 1583637"/>
              <a:gd name="connsiteY2" fmla="*/ 231701 h 1583637"/>
              <a:gd name="connsiteX3" fmla="*/ 1265256 w 1583637"/>
              <a:gd name="connsiteY3" fmla="*/ 370961 h 1583637"/>
              <a:gd name="connsiteX4" fmla="*/ 1393012 w 1583637"/>
              <a:gd name="connsiteY4" fmla="*/ 592241 h 1583637"/>
              <a:gd name="connsiteX5" fmla="*/ 1553818 w 1583637"/>
              <a:gd name="connsiteY5" fmla="*/ 592237 h 1583637"/>
              <a:gd name="connsiteX6" fmla="*/ 1576125 w 1583637"/>
              <a:gd name="connsiteY6" fmla="*/ 718748 h 1583637"/>
              <a:gd name="connsiteX7" fmla="*/ 1425015 w 1583637"/>
              <a:gd name="connsiteY7" fmla="*/ 773743 h 1583637"/>
              <a:gd name="connsiteX8" fmla="*/ 1380646 w 1583637"/>
              <a:gd name="connsiteY8" fmla="*/ 1025372 h 1583637"/>
              <a:gd name="connsiteX9" fmla="*/ 1503833 w 1583637"/>
              <a:gd name="connsiteY9" fmla="*/ 1128733 h 1583637"/>
              <a:gd name="connsiteX10" fmla="*/ 1439602 w 1583637"/>
              <a:gd name="connsiteY10" fmla="*/ 1239984 h 1583637"/>
              <a:gd name="connsiteX11" fmla="*/ 1288495 w 1583637"/>
              <a:gd name="connsiteY11" fmla="*/ 1184982 h 1583637"/>
              <a:gd name="connsiteX12" fmla="*/ 1092761 w 1583637"/>
              <a:gd name="connsiteY12" fmla="*/ 1349222 h 1583637"/>
              <a:gd name="connsiteX13" fmla="*/ 1120689 w 1583637"/>
              <a:gd name="connsiteY13" fmla="*/ 1507584 h 1583637"/>
              <a:gd name="connsiteX14" fmla="*/ 999974 w 1583637"/>
              <a:gd name="connsiteY14" fmla="*/ 1551521 h 1583637"/>
              <a:gd name="connsiteX15" fmla="*/ 919574 w 1583637"/>
              <a:gd name="connsiteY15" fmla="*/ 1412257 h 1583637"/>
              <a:gd name="connsiteX16" fmla="*/ 664062 w 1583637"/>
              <a:gd name="connsiteY16" fmla="*/ 1412257 h 1583637"/>
              <a:gd name="connsiteX17" fmla="*/ 583663 w 1583637"/>
              <a:gd name="connsiteY17" fmla="*/ 1551521 h 1583637"/>
              <a:gd name="connsiteX18" fmla="*/ 462948 w 1583637"/>
              <a:gd name="connsiteY18" fmla="*/ 1507584 h 1583637"/>
              <a:gd name="connsiteX19" fmla="*/ 490876 w 1583637"/>
              <a:gd name="connsiteY19" fmla="*/ 1349222 h 1583637"/>
              <a:gd name="connsiteX20" fmla="*/ 295142 w 1583637"/>
              <a:gd name="connsiteY20" fmla="*/ 1184981 h 1583637"/>
              <a:gd name="connsiteX21" fmla="*/ 144035 w 1583637"/>
              <a:gd name="connsiteY21" fmla="*/ 1239984 h 1583637"/>
              <a:gd name="connsiteX22" fmla="*/ 79804 w 1583637"/>
              <a:gd name="connsiteY22" fmla="*/ 1128733 h 1583637"/>
              <a:gd name="connsiteX23" fmla="*/ 202991 w 1583637"/>
              <a:gd name="connsiteY23" fmla="*/ 1025372 h 1583637"/>
              <a:gd name="connsiteX24" fmla="*/ 158622 w 1583637"/>
              <a:gd name="connsiteY24" fmla="*/ 773743 h 1583637"/>
              <a:gd name="connsiteX25" fmla="*/ 7512 w 1583637"/>
              <a:gd name="connsiteY25" fmla="*/ 718748 h 1583637"/>
              <a:gd name="connsiteX26" fmla="*/ 29819 w 1583637"/>
              <a:gd name="connsiteY26" fmla="*/ 592237 h 1583637"/>
              <a:gd name="connsiteX27" fmla="*/ 190625 w 1583637"/>
              <a:gd name="connsiteY27" fmla="*/ 592241 h 1583637"/>
              <a:gd name="connsiteX28" fmla="*/ 318381 w 1583637"/>
              <a:gd name="connsiteY28" fmla="*/ 370961 h 1583637"/>
              <a:gd name="connsiteX29" fmla="*/ 237974 w 1583637"/>
              <a:gd name="connsiteY29" fmla="*/ 231701 h 1583637"/>
              <a:gd name="connsiteX30" fmla="*/ 336381 w 1583637"/>
              <a:gd name="connsiteY30" fmla="*/ 149126 h 1583637"/>
              <a:gd name="connsiteX31" fmla="*/ 459563 w 1583637"/>
              <a:gd name="connsiteY31" fmla="*/ 252493 h 1583637"/>
              <a:gd name="connsiteX32" fmla="*/ 699666 w 1583637"/>
              <a:gd name="connsiteY32" fmla="*/ 165103 h 1583637"/>
              <a:gd name="connsiteX33" fmla="*/ 727586 w 1583637"/>
              <a:gd name="connsiteY33" fmla="*/ 6739 h 1583637"/>
              <a:gd name="connsiteX34" fmla="*/ 856051 w 1583637"/>
              <a:gd name="connsiteY34" fmla="*/ 6739 h 1583637"/>
              <a:gd name="connsiteX35" fmla="*/ 883970 w 1583637"/>
              <a:gd name="connsiteY35" fmla="*/ 165102 h 1583637"/>
              <a:gd name="connsiteX36" fmla="*/ 1124073 w 1583637"/>
              <a:gd name="connsiteY36" fmla="*/ 252493 h 1583637"/>
              <a:gd name="connsiteX37" fmla="*/ 1124074 w 1583637"/>
              <a:gd name="connsiteY37" fmla="*/ 252493 h 15836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583637" h="1583637">
                <a:moveTo>
                  <a:pt x="1124074" y="252493"/>
                </a:moveTo>
                <a:lnTo>
                  <a:pt x="1247256" y="149126"/>
                </a:lnTo>
                <a:lnTo>
                  <a:pt x="1345663" y="231701"/>
                </a:lnTo>
                <a:lnTo>
                  <a:pt x="1265256" y="370961"/>
                </a:lnTo>
                <a:cubicBezTo>
                  <a:pt x="1322430" y="435278"/>
                  <a:pt x="1365899" y="510569"/>
                  <a:pt x="1393012" y="592241"/>
                </a:cubicBezTo>
                <a:lnTo>
                  <a:pt x="1553818" y="592237"/>
                </a:lnTo>
                <a:lnTo>
                  <a:pt x="1576125" y="718748"/>
                </a:lnTo>
                <a:lnTo>
                  <a:pt x="1425015" y="773743"/>
                </a:lnTo>
                <a:cubicBezTo>
                  <a:pt x="1427471" y="859762"/>
                  <a:pt x="1412374" y="945380"/>
                  <a:pt x="1380646" y="1025372"/>
                </a:cubicBezTo>
                <a:lnTo>
                  <a:pt x="1503833" y="1128733"/>
                </a:lnTo>
                <a:lnTo>
                  <a:pt x="1439602" y="1239984"/>
                </a:lnTo>
                <a:lnTo>
                  <a:pt x="1288495" y="1184982"/>
                </a:lnTo>
                <a:cubicBezTo>
                  <a:pt x="1235084" y="1252456"/>
                  <a:pt x="1168484" y="1308339"/>
                  <a:pt x="1092761" y="1349222"/>
                </a:cubicBezTo>
                <a:lnTo>
                  <a:pt x="1120689" y="1507584"/>
                </a:lnTo>
                <a:lnTo>
                  <a:pt x="999974" y="1551521"/>
                </a:lnTo>
                <a:lnTo>
                  <a:pt x="919574" y="1412257"/>
                </a:lnTo>
                <a:cubicBezTo>
                  <a:pt x="835287" y="1429613"/>
                  <a:pt x="748348" y="1429613"/>
                  <a:pt x="664062" y="1412257"/>
                </a:cubicBezTo>
                <a:lnTo>
                  <a:pt x="583663" y="1551521"/>
                </a:lnTo>
                <a:lnTo>
                  <a:pt x="462948" y="1507584"/>
                </a:lnTo>
                <a:lnTo>
                  <a:pt x="490876" y="1349222"/>
                </a:lnTo>
                <a:cubicBezTo>
                  <a:pt x="415153" y="1308339"/>
                  <a:pt x="348553" y="1252455"/>
                  <a:pt x="295142" y="1184981"/>
                </a:cubicBezTo>
                <a:lnTo>
                  <a:pt x="144035" y="1239984"/>
                </a:lnTo>
                <a:lnTo>
                  <a:pt x="79804" y="1128733"/>
                </a:lnTo>
                <a:lnTo>
                  <a:pt x="202991" y="1025372"/>
                </a:lnTo>
                <a:cubicBezTo>
                  <a:pt x="171263" y="945380"/>
                  <a:pt x="156166" y="859762"/>
                  <a:pt x="158622" y="773743"/>
                </a:cubicBezTo>
                <a:lnTo>
                  <a:pt x="7512" y="718748"/>
                </a:lnTo>
                <a:lnTo>
                  <a:pt x="29819" y="592237"/>
                </a:lnTo>
                <a:lnTo>
                  <a:pt x="190625" y="592241"/>
                </a:lnTo>
                <a:cubicBezTo>
                  <a:pt x="217738" y="510569"/>
                  <a:pt x="261208" y="435277"/>
                  <a:pt x="318381" y="370961"/>
                </a:cubicBezTo>
                <a:lnTo>
                  <a:pt x="237974" y="231701"/>
                </a:lnTo>
                <a:lnTo>
                  <a:pt x="336381" y="149126"/>
                </a:lnTo>
                <a:lnTo>
                  <a:pt x="459563" y="252493"/>
                </a:lnTo>
                <a:cubicBezTo>
                  <a:pt x="532831" y="207356"/>
                  <a:pt x="614527" y="177621"/>
                  <a:pt x="699666" y="165103"/>
                </a:cubicBezTo>
                <a:lnTo>
                  <a:pt x="727586" y="6739"/>
                </a:lnTo>
                <a:lnTo>
                  <a:pt x="856051" y="6739"/>
                </a:lnTo>
                <a:lnTo>
                  <a:pt x="883970" y="165102"/>
                </a:lnTo>
                <a:cubicBezTo>
                  <a:pt x="969110" y="177621"/>
                  <a:pt x="1050806" y="207356"/>
                  <a:pt x="1124073" y="252493"/>
                </a:cubicBezTo>
                <a:lnTo>
                  <a:pt x="1124074" y="252493"/>
                </a:lnTo>
                <a:close/>
              </a:path>
            </a:pathLst>
          </a:custGeom>
          <a:solidFill>
            <a:schemeClr val="accent1"/>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nchor="ctr"/>
          <a:lstStyle/>
          <a:p>
            <a:pPr algn="ctr"/>
            <a:endParaRPr/>
          </a:p>
        </p:txBody>
      </p:sp>
      <p:sp>
        <p:nvSpPr>
          <p:cNvPr id="12" name="îṩlïde">
            <a:extLst>
              <a:ext uri="{FF2B5EF4-FFF2-40B4-BE49-F238E27FC236}">
                <a16:creationId xmlns:a16="http://schemas.microsoft.com/office/drawing/2014/main" id="{0B72FC42-2D6D-4D21-BC51-A3435BF32B71}"/>
              </a:ext>
            </a:extLst>
          </p:cNvPr>
          <p:cNvSpPr/>
          <p:nvPr/>
        </p:nvSpPr>
        <p:spPr>
          <a:xfrm flipH="1">
            <a:off x="1409817" y="3655953"/>
            <a:ext cx="1005644" cy="1005642"/>
          </a:xfrm>
          <a:prstGeom prst="ellipse">
            <a:avLst/>
          </a:prstGeom>
          <a:solidFill>
            <a:schemeClr val="accent1"/>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a:p>
        </p:txBody>
      </p:sp>
      <p:sp>
        <p:nvSpPr>
          <p:cNvPr id="13" name="îŝļîḓê">
            <a:extLst>
              <a:ext uri="{FF2B5EF4-FFF2-40B4-BE49-F238E27FC236}">
                <a16:creationId xmlns:a16="http://schemas.microsoft.com/office/drawing/2014/main" id="{691CFBC1-55FE-4A05-BE81-D8E609640949}"/>
              </a:ext>
            </a:extLst>
          </p:cNvPr>
          <p:cNvSpPr/>
          <p:nvPr/>
        </p:nvSpPr>
        <p:spPr>
          <a:xfrm rot="342038" flipH="1">
            <a:off x="2603181" y="3553316"/>
            <a:ext cx="2170871" cy="2170868"/>
          </a:xfrm>
          <a:custGeom>
            <a:avLst/>
            <a:gdLst>
              <a:gd name="connsiteX0" fmla="*/ 1124074 w 1583637"/>
              <a:gd name="connsiteY0" fmla="*/ 252493 h 1583637"/>
              <a:gd name="connsiteX1" fmla="*/ 1247256 w 1583637"/>
              <a:gd name="connsiteY1" fmla="*/ 149126 h 1583637"/>
              <a:gd name="connsiteX2" fmla="*/ 1345663 w 1583637"/>
              <a:gd name="connsiteY2" fmla="*/ 231701 h 1583637"/>
              <a:gd name="connsiteX3" fmla="*/ 1265256 w 1583637"/>
              <a:gd name="connsiteY3" fmla="*/ 370961 h 1583637"/>
              <a:gd name="connsiteX4" fmla="*/ 1393012 w 1583637"/>
              <a:gd name="connsiteY4" fmla="*/ 592241 h 1583637"/>
              <a:gd name="connsiteX5" fmla="*/ 1553818 w 1583637"/>
              <a:gd name="connsiteY5" fmla="*/ 592237 h 1583637"/>
              <a:gd name="connsiteX6" fmla="*/ 1576125 w 1583637"/>
              <a:gd name="connsiteY6" fmla="*/ 718748 h 1583637"/>
              <a:gd name="connsiteX7" fmla="*/ 1425015 w 1583637"/>
              <a:gd name="connsiteY7" fmla="*/ 773743 h 1583637"/>
              <a:gd name="connsiteX8" fmla="*/ 1380646 w 1583637"/>
              <a:gd name="connsiteY8" fmla="*/ 1025372 h 1583637"/>
              <a:gd name="connsiteX9" fmla="*/ 1503833 w 1583637"/>
              <a:gd name="connsiteY9" fmla="*/ 1128733 h 1583637"/>
              <a:gd name="connsiteX10" fmla="*/ 1439602 w 1583637"/>
              <a:gd name="connsiteY10" fmla="*/ 1239984 h 1583637"/>
              <a:gd name="connsiteX11" fmla="*/ 1288495 w 1583637"/>
              <a:gd name="connsiteY11" fmla="*/ 1184982 h 1583637"/>
              <a:gd name="connsiteX12" fmla="*/ 1092761 w 1583637"/>
              <a:gd name="connsiteY12" fmla="*/ 1349222 h 1583637"/>
              <a:gd name="connsiteX13" fmla="*/ 1120689 w 1583637"/>
              <a:gd name="connsiteY13" fmla="*/ 1507584 h 1583637"/>
              <a:gd name="connsiteX14" fmla="*/ 999974 w 1583637"/>
              <a:gd name="connsiteY14" fmla="*/ 1551521 h 1583637"/>
              <a:gd name="connsiteX15" fmla="*/ 919574 w 1583637"/>
              <a:gd name="connsiteY15" fmla="*/ 1412257 h 1583637"/>
              <a:gd name="connsiteX16" fmla="*/ 664062 w 1583637"/>
              <a:gd name="connsiteY16" fmla="*/ 1412257 h 1583637"/>
              <a:gd name="connsiteX17" fmla="*/ 583663 w 1583637"/>
              <a:gd name="connsiteY17" fmla="*/ 1551521 h 1583637"/>
              <a:gd name="connsiteX18" fmla="*/ 462948 w 1583637"/>
              <a:gd name="connsiteY18" fmla="*/ 1507584 h 1583637"/>
              <a:gd name="connsiteX19" fmla="*/ 490876 w 1583637"/>
              <a:gd name="connsiteY19" fmla="*/ 1349222 h 1583637"/>
              <a:gd name="connsiteX20" fmla="*/ 295142 w 1583637"/>
              <a:gd name="connsiteY20" fmla="*/ 1184981 h 1583637"/>
              <a:gd name="connsiteX21" fmla="*/ 144035 w 1583637"/>
              <a:gd name="connsiteY21" fmla="*/ 1239984 h 1583637"/>
              <a:gd name="connsiteX22" fmla="*/ 79804 w 1583637"/>
              <a:gd name="connsiteY22" fmla="*/ 1128733 h 1583637"/>
              <a:gd name="connsiteX23" fmla="*/ 202991 w 1583637"/>
              <a:gd name="connsiteY23" fmla="*/ 1025372 h 1583637"/>
              <a:gd name="connsiteX24" fmla="*/ 158622 w 1583637"/>
              <a:gd name="connsiteY24" fmla="*/ 773743 h 1583637"/>
              <a:gd name="connsiteX25" fmla="*/ 7512 w 1583637"/>
              <a:gd name="connsiteY25" fmla="*/ 718748 h 1583637"/>
              <a:gd name="connsiteX26" fmla="*/ 29819 w 1583637"/>
              <a:gd name="connsiteY26" fmla="*/ 592237 h 1583637"/>
              <a:gd name="connsiteX27" fmla="*/ 190625 w 1583637"/>
              <a:gd name="connsiteY27" fmla="*/ 592241 h 1583637"/>
              <a:gd name="connsiteX28" fmla="*/ 318381 w 1583637"/>
              <a:gd name="connsiteY28" fmla="*/ 370961 h 1583637"/>
              <a:gd name="connsiteX29" fmla="*/ 237974 w 1583637"/>
              <a:gd name="connsiteY29" fmla="*/ 231701 h 1583637"/>
              <a:gd name="connsiteX30" fmla="*/ 336381 w 1583637"/>
              <a:gd name="connsiteY30" fmla="*/ 149126 h 1583637"/>
              <a:gd name="connsiteX31" fmla="*/ 459563 w 1583637"/>
              <a:gd name="connsiteY31" fmla="*/ 252493 h 1583637"/>
              <a:gd name="connsiteX32" fmla="*/ 699666 w 1583637"/>
              <a:gd name="connsiteY32" fmla="*/ 165103 h 1583637"/>
              <a:gd name="connsiteX33" fmla="*/ 727586 w 1583637"/>
              <a:gd name="connsiteY33" fmla="*/ 6739 h 1583637"/>
              <a:gd name="connsiteX34" fmla="*/ 856051 w 1583637"/>
              <a:gd name="connsiteY34" fmla="*/ 6739 h 1583637"/>
              <a:gd name="connsiteX35" fmla="*/ 883970 w 1583637"/>
              <a:gd name="connsiteY35" fmla="*/ 165102 h 1583637"/>
              <a:gd name="connsiteX36" fmla="*/ 1124073 w 1583637"/>
              <a:gd name="connsiteY36" fmla="*/ 252493 h 1583637"/>
              <a:gd name="connsiteX37" fmla="*/ 1124074 w 1583637"/>
              <a:gd name="connsiteY37" fmla="*/ 252493 h 15836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583637" h="1583637">
                <a:moveTo>
                  <a:pt x="1124074" y="252493"/>
                </a:moveTo>
                <a:lnTo>
                  <a:pt x="1247256" y="149126"/>
                </a:lnTo>
                <a:lnTo>
                  <a:pt x="1345663" y="231701"/>
                </a:lnTo>
                <a:lnTo>
                  <a:pt x="1265256" y="370961"/>
                </a:lnTo>
                <a:cubicBezTo>
                  <a:pt x="1322430" y="435278"/>
                  <a:pt x="1365899" y="510569"/>
                  <a:pt x="1393012" y="592241"/>
                </a:cubicBezTo>
                <a:lnTo>
                  <a:pt x="1553818" y="592237"/>
                </a:lnTo>
                <a:lnTo>
                  <a:pt x="1576125" y="718748"/>
                </a:lnTo>
                <a:lnTo>
                  <a:pt x="1425015" y="773743"/>
                </a:lnTo>
                <a:cubicBezTo>
                  <a:pt x="1427471" y="859762"/>
                  <a:pt x="1412374" y="945380"/>
                  <a:pt x="1380646" y="1025372"/>
                </a:cubicBezTo>
                <a:lnTo>
                  <a:pt x="1503833" y="1128733"/>
                </a:lnTo>
                <a:lnTo>
                  <a:pt x="1439602" y="1239984"/>
                </a:lnTo>
                <a:lnTo>
                  <a:pt x="1288495" y="1184982"/>
                </a:lnTo>
                <a:cubicBezTo>
                  <a:pt x="1235084" y="1252456"/>
                  <a:pt x="1168484" y="1308339"/>
                  <a:pt x="1092761" y="1349222"/>
                </a:cubicBezTo>
                <a:lnTo>
                  <a:pt x="1120689" y="1507584"/>
                </a:lnTo>
                <a:lnTo>
                  <a:pt x="999974" y="1551521"/>
                </a:lnTo>
                <a:lnTo>
                  <a:pt x="919574" y="1412257"/>
                </a:lnTo>
                <a:cubicBezTo>
                  <a:pt x="835287" y="1429613"/>
                  <a:pt x="748348" y="1429613"/>
                  <a:pt x="664062" y="1412257"/>
                </a:cubicBezTo>
                <a:lnTo>
                  <a:pt x="583663" y="1551521"/>
                </a:lnTo>
                <a:lnTo>
                  <a:pt x="462948" y="1507584"/>
                </a:lnTo>
                <a:lnTo>
                  <a:pt x="490876" y="1349222"/>
                </a:lnTo>
                <a:cubicBezTo>
                  <a:pt x="415153" y="1308339"/>
                  <a:pt x="348553" y="1252455"/>
                  <a:pt x="295142" y="1184981"/>
                </a:cubicBezTo>
                <a:lnTo>
                  <a:pt x="144035" y="1239984"/>
                </a:lnTo>
                <a:lnTo>
                  <a:pt x="79804" y="1128733"/>
                </a:lnTo>
                <a:lnTo>
                  <a:pt x="202991" y="1025372"/>
                </a:lnTo>
                <a:cubicBezTo>
                  <a:pt x="171263" y="945380"/>
                  <a:pt x="156166" y="859762"/>
                  <a:pt x="158622" y="773743"/>
                </a:cubicBezTo>
                <a:lnTo>
                  <a:pt x="7512" y="718748"/>
                </a:lnTo>
                <a:lnTo>
                  <a:pt x="29819" y="592237"/>
                </a:lnTo>
                <a:lnTo>
                  <a:pt x="190625" y="592241"/>
                </a:lnTo>
                <a:cubicBezTo>
                  <a:pt x="217738" y="510569"/>
                  <a:pt x="261208" y="435277"/>
                  <a:pt x="318381" y="370961"/>
                </a:cubicBezTo>
                <a:lnTo>
                  <a:pt x="237974" y="231701"/>
                </a:lnTo>
                <a:lnTo>
                  <a:pt x="336381" y="149126"/>
                </a:lnTo>
                <a:lnTo>
                  <a:pt x="459563" y="252493"/>
                </a:lnTo>
                <a:cubicBezTo>
                  <a:pt x="532831" y="207356"/>
                  <a:pt x="614527" y="177621"/>
                  <a:pt x="699666" y="165103"/>
                </a:cubicBezTo>
                <a:lnTo>
                  <a:pt x="727586" y="6739"/>
                </a:lnTo>
                <a:lnTo>
                  <a:pt x="856051" y="6739"/>
                </a:lnTo>
                <a:lnTo>
                  <a:pt x="883970" y="165102"/>
                </a:lnTo>
                <a:cubicBezTo>
                  <a:pt x="969110" y="177621"/>
                  <a:pt x="1050806" y="207356"/>
                  <a:pt x="1124073" y="252493"/>
                </a:cubicBezTo>
                <a:lnTo>
                  <a:pt x="1124074" y="252493"/>
                </a:lnTo>
                <a:close/>
              </a:path>
            </a:pathLst>
          </a:custGeom>
          <a:solidFill>
            <a:schemeClr val="accent2"/>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nchor="ctr"/>
          <a:lstStyle/>
          <a:p>
            <a:pPr algn="ctr"/>
            <a:endParaRPr/>
          </a:p>
        </p:txBody>
      </p:sp>
      <p:sp>
        <p:nvSpPr>
          <p:cNvPr id="14" name="îSḻïḍê">
            <a:extLst>
              <a:ext uri="{FF2B5EF4-FFF2-40B4-BE49-F238E27FC236}">
                <a16:creationId xmlns:a16="http://schemas.microsoft.com/office/drawing/2014/main" id="{E14EC1F8-ECB3-429B-817F-C89C398ED655}"/>
              </a:ext>
            </a:extLst>
          </p:cNvPr>
          <p:cNvSpPr/>
          <p:nvPr/>
        </p:nvSpPr>
        <p:spPr>
          <a:xfrm rot="342038" flipH="1">
            <a:off x="3015183" y="3965316"/>
            <a:ext cx="1346868" cy="1346869"/>
          </a:xfrm>
          <a:prstGeom prst="ellipse">
            <a:avLst/>
          </a:prstGeom>
          <a:solidFill>
            <a:schemeClr val="accent2"/>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a:p>
        </p:txBody>
      </p:sp>
      <p:sp>
        <p:nvSpPr>
          <p:cNvPr id="15" name="ïsļîḍé">
            <a:extLst>
              <a:ext uri="{FF2B5EF4-FFF2-40B4-BE49-F238E27FC236}">
                <a16:creationId xmlns:a16="http://schemas.microsoft.com/office/drawing/2014/main" id="{AD14A547-8E06-4472-9B25-F10547A8FB3F}"/>
              </a:ext>
            </a:extLst>
          </p:cNvPr>
          <p:cNvSpPr/>
          <p:nvPr/>
        </p:nvSpPr>
        <p:spPr>
          <a:xfrm rot="342038" flipH="1">
            <a:off x="3994406" y="1973792"/>
            <a:ext cx="2486426" cy="2486423"/>
          </a:xfrm>
          <a:custGeom>
            <a:avLst/>
            <a:gdLst>
              <a:gd name="connsiteX0" fmla="*/ 1124074 w 1583637"/>
              <a:gd name="connsiteY0" fmla="*/ 252493 h 1583637"/>
              <a:gd name="connsiteX1" fmla="*/ 1247256 w 1583637"/>
              <a:gd name="connsiteY1" fmla="*/ 149126 h 1583637"/>
              <a:gd name="connsiteX2" fmla="*/ 1345663 w 1583637"/>
              <a:gd name="connsiteY2" fmla="*/ 231701 h 1583637"/>
              <a:gd name="connsiteX3" fmla="*/ 1265256 w 1583637"/>
              <a:gd name="connsiteY3" fmla="*/ 370961 h 1583637"/>
              <a:gd name="connsiteX4" fmla="*/ 1393012 w 1583637"/>
              <a:gd name="connsiteY4" fmla="*/ 592241 h 1583637"/>
              <a:gd name="connsiteX5" fmla="*/ 1553818 w 1583637"/>
              <a:gd name="connsiteY5" fmla="*/ 592237 h 1583637"/>
              <a:gd name="connsiteX6" fmla="*/ 1576125 w 1583637"/>
              <a:gd name="connsiteY6" fmla="*/ 718748 h 1583637"/>
              <a:gd name="connsiteX7" fmla="*/ 1425015 w 1583637"/>
              <a:gd name="connsiteY7" fmla="*/ 773743 h 1583637"/>
              <a:gd name="connsiteX8" fmla="*/ 1380646 w 1583637"/>
              <a:gd name="connsiteY8" fmla="*/ 1025372 h 1583637"/>
              <a:gd name="connsiteX9" fmla="*/ 1503833 w 1583637"/>
              <a:gd name="connsiteY9" fmla="*/ 1128733 h 1583637"/>
              <a:gd name="connsiteX10" fmla="*/ 1439602 w 1583637"/>
              <a:gd name="connsiteY10" fmla="*/ 1239984 h 1583637"/>
              <a:gd name="connsiteX11" fmla="*/ 1288495 w 1583637"/>
              <a:gd name="connsiteY11" fmla="*/ 1184982 h 1583637"/>
              <a:gd name="connsiteX12" fmla="*/ 1092761 w 1583637"/>
              <a:gd name="connsiteY12" fmla="*/ 1349222 h 1583637"/>
              <a:gd name="connsiteX13" fmla="*/ 1120689 w 1583637"/>
              <a:gd name="connsiteY13" fmla="*/ 1507584 h 1583637"/>
              <a:gd name="connsiteX14" fmla="*/ 999974 w 1583637"/>
              <a:gd name="connsiteY14" fmla="*/ 1551521 h 1583637"/>
              <a:gd name="connsiteX15" fmla="*/ 919574 w 1583637"/>
              <a:gd name="connsiteY15" fmla="*/ 1412257 h 1583637"/>
              <a:gd name="connsiteX16" fmla="*/ 664062 w 1583637"/>
              <a:gd name="connsiteY16" fmla="*/ 1412257 h 1583637"/>
              <a:gd name="connsiteX17" fmla="*/ 583663 w 1583637"/>
              <a:gd name="connsiteY17" fmla="*/ 1551521 h 1583637"/>
              <a:gd name="connsiteX18" fmla="*/ 462948 w 1583637"/>
              <a:gd name="connsiteY18" fmla="*/ 1507584 h 1583637"/>
              <a:gd name="connsiteX19" fmla="*/ 490876 w 1583637"/>
              <a:gd name="connsiteY19" fmla="*/ 1349222 h 1583637"/>
              <a:gd name="connsiteX20" fmla="*/ 295142 w 1583637"/>
              <a:gd name="connsiteY20" fmla="*/ 1184981 h 1583637"/>
              <a:gd name="connsiteX21" fmla="*/ 144035 w 1583637"/>
              <a:gd name="connsiteY21" fmla="*/ 1239984 h 1583637"/>
              <a:gd name="connsiteX22" fmla="*/ 79804 w 1583637"/>
              <a:gd name="connsiteY22" fmla="*/ 1128733 h 1583637"/>
              <a:gd name="connsiteX23" fmla="*/ 202991 w 1583637"/>
              <a:gd name="connsiteY23" fmla="*/ 1025372 h 1583637"/>
              <a:gd name="connsiteX24" fmla="*/ 158622 w 1583637"/>
              <a:gd name="connsiteY24" fmla="*/ 773743 h 1583637"/>
              <a:gd name="connsiteX25" fmla="*/ 7512 w 1583637"/>
              <a:gd name="connsiteY25" fmla="*/ 718748 h 1583637"/>
              <a:gd name="connsiteX26" fmla="*/ 29819 w 1583637"/>
              <a:gd name="connsiteY26" fmla="*/ 592237 h 1583637"/>
              <a:gd name="connsiteX27" fmla="*/ 190625 w 1583637"/>
              <a:gd name="connsiteY27" fmla="*/ 592241 h 1583637"/>
              <a:gd name="connsiteX28" fmla="*/ 318381 w 1583637"/>
              <a:gd name="connsiteY28" fmla="*/ 370961 h 1583637"/>
              <a:gd name="connsiteX29" fmla="*/ 237974 w 1583637"/>
              <a:gd name="connsiteY29" fmla="*/ 231701 h 1583637"/>
              <a:gd name="connsiteX30" fmla="*/ 336381 w 1583637"/>
              <a:gd name="connsiteY30" fmla="*/ 149126 h 1583637"/>
              <a:gd name="connsiteX31" fmla="*/ 459563 w 1583637"/>
              <a:gd name="connsiteY31" fmla="*/ 252493 h 1583637"/>
              <a:gd name="connsiteX32" fmla="*/ 699666 w 1583637"/>
              <a:gd name="connsiteY32" fmla="*/ 165103 h 1583637"/>
              <a:gd name="connsiteX33" fmla="*/ 727586 w 1583637"/>
              <a:gd name="connsiteY33" fmla="*/ 6739 h 1583637"/>
              <a:gd name="connsiteX34" fmla="*/ 856051 w 1583637"/>
              <a:gd name="connsiteY34" fmla="*/ 6739 h 1583637"/>
              <a:gd name="connsiteX35" fmla="*/ 883970 w 1583637"/>
              <a:gd name="connsiteY35" fmla="*/ 165102 h 1583637"/>
              <a:gd name="connsiteX36" fmla="*/ 1124073 w 1583637"/>
              <a:gd name="connsiteY36" fmla="*/ 252493 h 1583637"/>
              <a:gd name="connsiteX37" fmla="*/ 1124074 w 1583637"/>
              <a:gd name="connsiteY37" fmla="*/ 252493 h 15836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583637" h="1583637">
                <a:moveTo>
                  <a:pt x="1124074" y="252493"/>
                </a:moveTo>
                <a:lnTo>
                  <a:pt x="1247256" y="149126"/>
                </a:lnTo>
                <a:lnTo>
                  <a:pt x="1345663" y="231701"/>
                </a:lnTo>
                <a:lnTo>
                  <a:pt x="1265256" y="370961"/>
                </a:lnTo>
                <a:cubicBezTo>
                  <a:pt x="1322430" y="435278"/>
                  <a:pt x="1365899" y="510569"/>
                  <a:pt x="1393012" y="592241"/>
                </a:cubicBezTo>
                <a:lnTo>
                  <a:pt x="1553818" y="592237"/>
                </a:lnTo>
                <a:lnTo>
                  <a:pt x="1576125" y="718748"/>
                </a:lnTo>
                <a:lnTo>
                  <a:pt x="1425015" y="773743"/>
                </a:lnTo>
                <a:cubicBezTo>
                  <a:pt x="1427471" y="859762"/>
                  <a:pt x="1412374" y="945380"/>
                  <a:pt x="1380646" y="1025372"/>
                </a:cubicBezTo>
                <a:lnTo>
                  <a:pt x="1503833" y="1128733"/>
                </a:lnTo>
                <a:lnTo>
                  <a:pt x="1439602" y="1239984"/>
                </a:lnTo>
                <a:lnTo>
                  <a:pt x="1288495" y="1184982"/>
                </a:lnTo>
                <a:cubicBezTo>
                  <a:pt x="1235084" y="1252456"/>
                  <a:pt x="1168484" y="1308339"/>
                  <a:pt x="1092761" y="1349222"/>
                </a:cubicBezTo>
                <a:lnTo>
                  <a:pt x="1120689" y="1507584"/>
                </a:lnTo>
                <a:lnTo>
                  <a:pt x="999974" y="1551521"/>
                </a:lnTo>
                <a:lnTo>
                  <a:pt x="919574" y="1412257"/>
                </a:lnTo>
                <a:cubicBezTo>
                  <a:pt x="835287" y="1429613"/>
                  <a:pt x="748348" y="1429613"/>
                  <a:pt x="664062" y="1412257"/>
                </a:cubicBezTo>
                <a:lnTo>
                  <a:pt x="583663" y="1551521"/>
                </a:lnTo>
                <a:lnTo>
                  <a:pt x="462948" y="1507584"/>
                </a:lnTo>
                <a:lnTo>
                  <a:pt x="490876" y="1349222"/>
                </a:lnTo>
                <a:cubicBezTo>
                  <a:pt x="415153" y="1308339"/>
                  <a:pt x="348553" y="1252455"/>
                  <a:pt x="295142" y="1184981"/>
                </a:cubicBezTo>
                <a:lnTo>
                  <a:pt x="144035" y="1239984"/>
                </a:lnTo>
                <a:lnTo>
                  <a:pt x="79804" y="1128733"/>
                </a:lnTo>
                <a:lnTo>
                  <a:pt x="202991" y="1025372"/>
                </a:lnTo>
                <a:cubicBezTo>
                  <a:pt x="171263" y="945380"/>
                  <a:pt x="156166" y="859762"/>
                  <a:pt x="158622" y="773743"/>
                </a:cubicBezTo>
                <a:lnTo>
                  <a:pt x="7512" y="718748"/>
                </a:lnTo>
                <a:lnTo>
                  <a:pt x="29819" y="592237"/>
                </a:lnTo>
                <a:lnTo>
                  <a:pt x="190625" y="592241"/>
                </a:lnTo>
                <a:cubicBezTo>
                  <a:pt x="217738" y="510569"/>
                  <a:pt x="261208" y="435277"/>
                  <a:pt x="318381" y="370961"/>
                </a:cubicBezTo>
                <a:lnTo>
                  <a:pt x="237974" y="231701"/>
                </a:lnTo>
                <a:lnTo>
                  <a:pt x="336381" y="149126"/>
                </a:lnTo>
                <a:lnTo>
                  <a:pt x="459563" y="252493"/>
                </a:lnTo>
                <a:cubicBezTo>
                  <a:pt x="532831" y="207356"/>
                  <a:pt x="614527" y="177621"/>
                  <a:pt x="699666" y="165103"/>
                </a:cubicBezTo>
                <a:lnTo>
                  <a:pt x="727586" y="6739"/>
                </a:lnTo>
                <a:lnTo>
                  <a:pt x="856051" y="6739"/>
                </a:lnTo>
                <a:lnTo>
                  <a:pt x="883970" y="165102"/>
                </a:lnTo>
                <a:cubicBezTo>
                  <a:pt x="969110" y="177621"/>
                  <a:pt x="1050806" y="207356"/>
                  <a:pt x="1124073" y="252493"/>
                </a:cubicBezTo>
                <a:lnTo>
                  <a:pt x="1124074" y="252493"/>
                </a:lnTo>
                <a:close/>
              </a:path>
            </a:pathLst>
          </a:custGeom>
          <a:solidFill>
            <a:schemeClr val="accent3"/>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nchor="ctr"/>
          <a:lstStyle/>
          <a:p>
            <a:pPr algn="ctr"/>
            <a:endParaRPr/>
          </a:p>
        </p:txBody>
      </p:sp>
      <p:sp>
        <p:nvSpPr>
          <p:cNvPr id="16" name="ísľiḍè">
            <a:extLst>
              <a:ext uri="{FF2B5EF4-FFF2-40B4-BE49-F238E27FC236}">
                <a16:creationId xmlns:a16="http://schemas.microsoft.com/office/drawing/2014/main" id="{94D3B5F6-7267-4147-9261-0912E3D4E09E}"/>
              </a:ext>
            </a:extLst>
          </p:cNvPr>
          <p:cNvSpPr/>
          <p:nvPr/>
        </p:nvSpPr>
        <p:spPr>
          <a:xfrm rot="342038" flipH="1">
            <a:off x="4466296" y="2445680"/>
            <a:ext cx="1542647" cy="1542648"/>
          </a:xfrm>
          <a:prstGeom prst="ellipse">
            <a:avLst/>
          </a:prstGeom>
          <a:solidFill>
            <a:schemeClr val="accent3"/>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a:p>
        </p:txBody>
      </p:sp>
      <p:sp>
        <p:nvSpPr>
          <p:cNvPr id="17" name="isļídè">
            <a:extLst>
              <a:ext uri="{FF2B5EF4-FFF2-40B4-BE49-F238E27FC236}">
                <a16:creationId xmlns:a16="http://schemas.microsoft.com/office/drawing/2014/main" id="{25958011-97A8-4809-84F6-01F1FCA6BA0B}"/>
              </a:ext>
            </a:extLst>
          </p:cNvPr>
          <p:cNvSpPr/>
          <p:nvPr/>
        </p:nvSpPr>
        <p:spPr>
          <a:xfrm>
            <a:off x="867611" y="3075285"/>
            <a:ext cx="1897756" cy="1897756"/>
          </a:xfrm>
          <a:prstGeom prst="arc">
            <a:avLst>
              <a:gd name="adj1" fmla="val 11101589"/>
              <a:gd name="adj2" fmla="val 18700949"/>
            </a:avLst>
          </a:prstGeom>
          <a:ln w="28575" cap="rnd">
            <a:prstDash val="sysDot"/>
            <a:headEnd type="none" w="med" len="med"/>
            <a:tailEnd type="triangle" w="lg" len="med"/>
          </a:ln>
        </p:spPr>
        <p:style>
          <a:lnRef idx="1">
            <a:schemeClr val="accent1"/>
          </a:lnRef>
          <a:fillRef idx="0">
            <a:schemeClr val="accent1"/>
          </a:fillRef>
          <a:effectRef idx="0">
            <a:schemeClr val="accent1"/>
          </a:effectRef>
          <a:fontRef idx="minor">
            <a:schemeClr val="tx1"/>
          </a:fontRef>
        </p:style>
        <p:txBody>
          <a:bodyPr anchor="ctr"/>
          <a:lstStyle/>
          <a:p>
            <a:pPr algn="ctr"/>
            <a:endParaRPr/>
          </a:p>
        </p:txBody>
      </p:sp>
      <p:sp>
        <p:nvSpPr>
          <p:cNvPr id="18" name="ísľîḋê">
            <a:extLst>
              <a:ext uri="{FF2B5EF4-FFF2-40B4-BE49-F238E27FC236}">
                <a16:creationId xmlns:a16="http://schemas.microsoft.com/office/drawing/2014/main" id="{07EABA58-7A82-42AA-B5DF-3908B4167210}"/>
              </a:ext>
            </a:extLst>
          </p:cNvPr>
          <p:cNvSpPr/>
          <p:nvPr/>
        </p:nvSpPr>
        <p:spPr>
          <a:xfrm flipV="1">
            <a:off x="2595027" y="3680149"/>
            <a:ext cx="2292159" cy="2292159"/>
          </a:xfrm>
          <a:prstGeom prst="arc">
            <a:avLst>
              <a:gd name="adj1" fmla="val 13730012"/>
              <a:gd name="adj2" fmla="val 256323"/>
            </a:avLst>
          </a:prstGeom>
          <a:ln w="28575" cap="rnd">
            <a:solidFill>
              <a:schemeClr val="accent2"/>
            </a:solidFill>
            <a:prstDash val="sysDot"/>
            <a:headEnd type="none" w="med" len="med"/>
            <a:tailEnd type="triangle" w="lg" len="med"/>
          </a:ln>
        </p:spPr>
        <p:style>
          <a:lnRef idx="1">
            <a:schemeClr val="accent1"/>
          </a:lnRef>
          <a:fillRef idx="0">
            <a:schemeClr val="accent1"/>
          </a:fillRef>
          <a:effectRef idx="0">
            <a:schemeClr val="accent1"/>
          </a:effectRef>
          <a:fontRef idx="minor">
            <a:schemeClr val="tx1"/>
          </a:fontRef>
        </p:style>
        <p:txBody>
          <a:bodyPr anchor="ctr"/>
          <a:lstStyle/>
          <a:p>
            <a:pPr algn="ctr"/>
            <a:endParaRPr/>
          </a:p>
        </p:txBody>
      </p:sp>
      <p:sp>
        <p:nvSpPr>
          <p:cNvPr id="19" name="ïṩlíde">
            <a:extLst>
              <a:ext uri="{FF2B5EF4-FFF2-40B4-BE49-F238E27FC236}">
                <a16:creationId xmlns:a16="http://schemas.microsoft.com/office/drawing/2014/main" id="{2D2B8D25-14F0-4D13-87F8-6A36A8664477}"/>
              </a:ext>
            </a:extLst>
          </p:cNvPr>
          <p:cNvSpPr/>
          <p:nvPr/>
        </p:nvSpPr>
        <p:spPr>
          <a:xfrm>
            <a:off x="3914762" y="1675283"/>
            <a:ext cx="2292159" cy="2292159"/>
          </a:xfrm>
          <a:prstGeom prst="arc">
            <a:avLst>
              <a:gd name="adj1" fmla="val 11093161"/>
              <a:gd name="adj2" fmla="val 18823990"/>
            </a:avLst>
          </a:prstGeom>
          <a:ln w="28575" cap="rnd">
            <a:solidFill>
              <a:schemeClr val="accent3"/>
            </a:solidFill>
            <a:prstDash val="sysDot"/>
            <a:headEnd type="none" w="med" len="med"/>
            <a:tailEnd type="triangle" w="lg" len="med"/>
          </a:ln>
        </p:spPr>
        <p:style>
          <a:lnRef idx="1">
            <a:schemeClr val="accent1"/>
          </a:lnRef>
          <a:fillRef idx="0">
            <a:schemeClr val="accent1"/>
          </a:fillRef>
          <a:effectRef idx="0">
            <a:schemeClr val="accent1"/>
          </a:effectRef>
          <a:fontRef idx="minor">
            <a:schemeClr val="tx1"/>
          </a:fontRef>
        </p:style>
        <p:txBody>
          <a:bodyPr anchor="ctr"/>
          <a:lstStyle/>
          <a:p>
            <a:pPr algn="ctr"/>
            <a:endParaRPr/>
          </a:p>
        </p:txBody>
      </p:sp>
      <p:sp>
        <p:nvSpPr>
          <p:cNvPr id="20" name="iŝļíďe">
            <a:extLst>
              <a:ext uri="{FF2B5EF4-FFF2-40B4-BE49-F238E27FC236}">
                <a16:creationId xmlns:a16="http://schemas.microsoft.com/office/drawing/2014/main" id="{E09E8AD1-2E25-484C-9D80-52CAB9A32D68}"/>
              </a:ext>
            </a:extLst>
          </p:cNvPr>
          <p:cNvSpPr/>
          <p:nvPr/>
        </p:nvSpPr>
        <p:spPr bwMode="auto">
          <a:xfrm>
            <a:off x="4894692" y="2857045"/>
            <a:ext cx="647012" cy="719916"/>
          </a:xfrm>
          <a:custGeom>
            <a:avLst/>
            <a:gdLst/>
            <a:ahLst/>
            <a:cxnLst>
              <a:cxn ang="0">
                <a:pos x="45" y="81"/>
              </a:cxn>
              <a:cxn ang="0">
                <a:pos x="52" y="71"/>
              </a:cxn>
              <a:cxn ang="0">
                <a:pos x="51" y="66"/>
              </a:cxn>
              <a:cxn ang="0">
                <a:pos x="40" y="55"/>
              </a:cxn>
              <a:cxn ang="0">
                <a:pos x="35" y="54"/>
              </a:cxn>
              <a:cxn ang="0">
                <a:pos x="28" y="59"/>
              </a:cxn>
              <a:cxn ang="0">
                <a:pos x="16" y="31"/>
              </a:cxn>
              <a:cxn ang="0">
                <a:pos x="24" y="27"/>
              </a:cxn>
              <a:cxn ang="0">
                <a:pos x="25" y="22"/>
              </a:cxn>
              <a:cxn ang="0">
                <a:pos x="21" y="6"/>
              </a:cxn>
              <a:cxn ang="0">
                <a:pos x="17" y="3"/>
              </a:cxn>
              <a:cxn ang="0">
                <a:pos x="5" y="4"/>
              </a:cxn>
              <a:cxn ang="0">
                <a:pos x="0" y="9"/>
              </a:cxn>
              <a:cxn ang="0">
                <a:pos x="39" y="83"/>
              </a:cxn>
              <a:cxn ang="0">
                <a:pos x="45" y="81"/>
              </a:cxn>
              <a:cxn ang="0">
                <a:pos x="41" y="47"/>
              </a:cxn>
              <a:cxn ang="0">
                <a:pos x="29" y="47"/>
              </a:cxn>
              <a:cxn ang="0">
                <a:pos x="30" y="44"/>
              </a:cxn>
              <a:cxn ang="0">
                <a:pos x="37" y="33"/>
              </a:cxn>
              <a:cxn ang="0">
                <a:pos x="38" y="28"/>
              </a:cxn>
              <a:cxn ang="0">
                <a:pos x="37" y="26"/>
              </a:cxn>
              <a:cxn ang="0">
                <a:pos x="36" y="27"/>
              </a:cxn>
              <a:cxn ang="0">
                <a:pos x="36" y="31"/>
              </a:cxn>
              <a:cxn ang="0">
                <a:pos x="31" y="31"/>
              </a:cxn>
              <a:cxn ang="0">
                <a:pos x="31" y="27"/>
              </a:cxn>
              <a:cxn ang="0">
                <a:pos x="38" y="23"/>
              </a:cxn>
              <a:cxn ang="0">
                <a:pos x="43" y="24"/>
              </a:cxn>
              <a:cxn ang="0">
                <a:pos x="43" y="30"/>
              </a:cxn>
              <a:cxn ang="0">
                <a:pos x="42" y="32"/>
              </a:cxn>
              <a:cxn ang="0">
                <a:pos x="35" y="44"/>
              </a:cxn>
              <a:cxn ang="0">
                <a:pos x="42" y="44"/>
              </a:cxn>
              <a:cxn ang="0">
                <a:pos x="41" y="47"/>
              </a:cxn>
              <a:cxn ang="0">
                <a:pos x="57" y="44"/>
              </a:cxn>
              <a:cxn ang="0">
                <a:pos x="54" y="44"/>
              </a:cxn>
              <a:cxn ang="0">
                <a:pos x="54" y="47"/>
              </a:cxn>
              <a:cxn ang="0">
                <a:pos x="49" y="47"/>
              </a:cxn>
              <a:cxn ang="0">
                <a:pos x="49" y="44"/>
              </a:cxn>
              <a:cxn ang="0">
                <a:pos x="42" y="44"/>
              </a:cxn>
              <a:cxn ang="0">
                <a:pos x="43" y="40"/>
              </a:cxn>
              <a:cxn ang="0">
                <a:pos x="50" y="23"/>
              </a:cxn>
              <a:cxn ang="0">
                <a:pos x="57" y="23"/>
              </a:cxn>
              <a:cxn ang="0">
                <a:pos x="55" y="40"/>
              </a:cxn>
              <a:cxn ang="0">
                <a:pos x="57" y="40"/>
              </a:cxn>
              <a:cxn ang="0">
                <a:pos x="57" y="44"/>
              </a:cxn>
              <a:cxn ang="0">
                <a:pos x="50" y="40"/>
              </a:cxn>
              <a:cxn ang="0">
                <a:pos x="47" y="40"/>
              </a:cxn>
              <a:cxn ang="0">
                <a:pos x="51" y="31"/>
              </a:cxn>
              <a:cxn ang="0">
                <a:pos x="50" y="40"/>
              </a:cxn>
              <a:cxn ang="0">
                <a:pos x="39" y="0"/>
              </a:cxn>
              <a:cxn ang="0">
                <a:pos x="65" y="10"/>
              </a:cxn>
              <a:cxn ang="0">
                <a:pos x="76" y="36"/>
              </a:cxn>
              <a:cxn ang="0">
                <a:pos x="65" y="62"/>
              </a:cxn>
              <a:cxn ang="0">
                <a:pos x="59" y="67"/>
              </a:cxn>
              <a:cxn ang="0">
                <a:pos x="57" y="65"/>
              </a:cxn>
              <a:cxn ang="0">
                <a:pos x="53" y="61"/>
              </a:cxn>
              <a:cxn ang="0">
                <a:pos x="59" y="56"/>
              </a:cxn>
              <a:cxn ang="0">
                <a:pos x="68" y="36"/>
              </a:cxn>
              <a:cxn ang="0">
                <a:pos x="59" y="16"/>
              </a:cxn>
              <a:cxn ang="0">
                <a:pos x="39" y="8"/>
              </a:cxn>
              <a:cxn ang="0">
                <a:pos x="29" y="10"/>
              </a:cxn>
              <a:cxn ang="0">
                <a:pos x="27" y="5"/>
              </a:cxn>
              <a:cxn ang="0">
                <a:pos x="26" y="2"/>
              </a:cxn>
              <a:cxn ang="0">
                <a:pos x="39" y="0"/>
              </a:cxn>
            </a:cxnLst>
            <a:rect l="0" t="0" r="r" b="b"/>
            <a:pathLst>
              <a:path w="76" h="85">
                <a:moveTo>
                  <a:pt x="45" y="81"/>
                </a:moveTo>
                <a:cubicBezTo>
                  <a:pt x="47" y="78"/>
                  <a:pt x="50" y="75"/>
                  <a:pt x="52" y="71"/>
                </a:cubicBezTo>
                <a:cubicBezTo>
                  <a:pt x="53" y="70"/>
                  <a:pt x="53" y="68"/>
                  <a:pt x="51" y="66"/>
                </a:cubicBezTo>
                <a:cubicBezTo>
                  <a:pt x="47" y="63"/>
                  <a:pt x="43" y="59"/>
                  <a:pt x="40" y="55"/>
                </a:cubicBezTo>
                <a:cubicBezTo>
                  <a:pt x="38" y="54"/>
                  <a:pt x="36" y="53"/>
                  <a:pt x="35" y="54"/>
                </a:cubicBezTo>
                <a:cubicBezTo>
                  <a:pt x="32" y="56"/>
                  <a:pt x="30" y="57"/>
                  <a:pt x="28" y="59"/>
                </a:cubicBezTo>
                <a:cubicBezTo>
                  <a:pt x="20" y="46"/>
                  <a:pt x="18" y="40"/>
                  <a:pt x="16" y="31"/>
                </a:cubicBezTo>
                <a:cubicBezTo>
                  <a:pt x="19" y="29"/>
                  <a:pt x="21" y="28"/>
                  <a:pt x="24" y="27"/>
                </a:cubicBezTo>
                <a:cubicBezTo>
                  <a:pt x="25" y="26"/>
                  <a:pt x="26" y="24"/>
                  <a:pt x="25" y="22"/>
                </a:cubicBezTo>
                <a:cubicBezTo>
                  <a:pt x="24" y="17"/>
                  <a:pt x="22" y="12"/>
                  <a:pt x="21" y="6"/>
                </a:cubicBezTo>
                <a:cubicBezTo>
                  <a:pt x="20" y="4"/>
                  <a:pt x="19" y="3"/>
                  <a:pt x="17" y="3"/>
                </a:cubicBezTo>
                <a:cubicBezTo>
                  <a:pt x="13" y="4"/>
                  <a:pt x="9" y="4"/>
                  <a:pt x="5" y="4"/>
                </a:cubicBezTo>
                <a:cubicBezTo>
                  <a:pt x="1" y="5"/>
                  <a:pt x="0" y="6"/>
                  <a:pt x="0" y="9"/>
                </a:cubicBezTo>
                <a:cubicBezTo>
                  <a:pt x="2" y="40"/>
                  <a:pt x="14" y="69"/>
                  <a:pt x="39" y="83"/>
                </a:cubicBezTo>
                <a:cubicBezTo>
                  <a:pt x="42" y="85"/>
                  <a:pt x="43" y="85"/>
                  <a:pt x="45" y="81"/>
                </a:cubicBezTo>
                <a:close/>
                <a:moveTo>
                  <a:pt x="41" y="47"/>
                </a:moveTo>
                <a:cubicBezTo>
                  <a:pt x="29" y="47"/>
                  <a:pt x="29" y="47"/>
                  <a:pt x="29" y="47"/>
                </a:cubicBezTo>
                <a:cubicBezTo>
                  <a:pt x="30" y="44"/>
                  <a:pt x="30" y="44"/>
                  <a:pt x="30" y="44"/>
                </a:cubicBezTo>
                <a:cubicBezTo>
                  <a:pt x="37" y="33"/>
                  <a:pt x="37" y="33"/>
                  <a:pt x="37" y="33"/>
                </a:cubicBezTo>
                <a:cubicBezTo>
                  <a:pt x="38" y="32"/>
                  <a:pt x="38" y="30"/>
                  <a:pt x="38" y="28"/>
                </a:cubicBezTo>
                <a:cubicBezTo>
                  <a:pt x="38" y="27"/>
                  <a:pt x="38" y="26"/>
                  <a:pt x="37" y="26"/>
                </a:cubicBezTo>
                <a:cubicBezTo>
                  <a:pt x="37" y="26"/>
                  <a:pt x="36" y="27"/>
                  <a:pt x="36" y="27"/>
                </a:cubicBezTo>
                <a:cubicBezTo>
                  <a:pt x="36" y="31"/>
                  <a:pt x="36" y="31"/>
                  <a:pt x="36" y="31"/>
                </a:cubicBezTo>
                <a:cubicBezTo>
                  <a:pt x="31" y="31"/>
                  <a:pt x="31" y="31"/>
                  <a:pt x="31" y="31"/>
                </a:cubicBezTo>
                <a:cubicBezTo>
                  <a:pt x="31" y="27"/>
                  <a:pt x="31" y="27"/>
                  <a:pt x="31" y="27"/>
                </a:cubicBezTo>
                <a:cubicBezTo>
                  <a:pt x="32" y="24"/>
                  <a:pt x="34" y="23"/>
                  <a:pt x="38" y="23"/>
                </a:cubicBezTo>
                <a:cubicBezTo>
                  <a:pt x="40" y="23"/>
                  <a:pt x="42" y="23"/>
                  <a:pt x="43" y="24"/>
                </a:cubicBezTo>
                <a:cubicBezTo>
                  <a:pt x="43" y="26"/>
                  <a:pt x="43" y="27"/>
                  <a:pt x="43" y="30"/>
                </a:cubicBezTo>
                <a:cubicBezTo>
                  <a:pt x="43" y="31"/>
                  <a:pt x="43" y="32"/>
                  <a:pt x="42" y="32"/>
                </a:cubicBezTo>
                <a:cubicBezTo>
                  <a:pt x="35" y="44"/>
                  <a:pt x="35" y="44"/>
                  <a:pt x="35" y="44"/>
                </a:cubicBezTo>
                <a:cubicBezTo>
                  <a:pt x="42" y="44"/>
                  <a:pt x="42" y="44"/>
                  <a:pt x="42" y="44"/>
                </a:cubicBezTo>
                <a:cubicBezTo>
                  <a:pt x="41" y="47"/>
                  <a:pt x="41" y="47"/>
                  <a:pt x="41" y="47"/>
                </a:cubicBezTo>
                <a:close/>
                <a:moveTo>
                  <a:pt x="57" y="44"/>
                </a:moveTo>
                <a:cubicBezTo>
                  <a:pt x="54" y="44"/>
                  <a:pt x="54" y="44"/>
                  <a:pt x="54" y="44"/>
                </a:cubicBezTo>
                <a:cubicBezTo>
                  <a:pt x="54" y="47"/>
                  <a:pt x="54" y="47"/>
                  <a:pt x="54" y="47"/>
                </a:cubicBezTo>
                <a:cubicBezTo>
                  <a:pt x="49" y="47"/>
                  <a:pt x="49" y="47"/>
                  <a:pt x="49" y="47"/>
                </a:cubicBezTo>
                <a:cubicBezTo>
                  <a:pt x="49" y="44"/>
                  <a:pt x="49" y="44"/>
                  <a:pt x="49" y="44"/>
                </a:cubicBezTo>
                <a:cubicBezTo>
                  <a:pt x="42" y="44"/>
                  <a:pt x="42" y="44"/>
                  <a:pt x="42" y="44"/>
                </a:cubicBezTo>
                <a:cubicBezTo>
                  <a:pt x="43" y="40"/>
                  <a:pt x="43" y="40"/>
                  <a:pt x="43" y="40"/>
                </a:cubicBezTo>
                <a:cubicBezTo>
                  <a:pt x="50" y="23"/>
                  <a:pt x="50" y="23"/>
                  <a:pt x="50" y="23"/>
                </a:cubicBezTo>
                <a:cubicBezTo>
                  <a:pt x="57" y="23"/>
                  <a:pt x="57" y="23"/>
                  <a:pt x="57" y="23"/>
                </a:cubicBezTo>
                <a:cubicBezTo>
                  <a:pt x="55" y="40"/>
                  <a:pt x="55" y="40"/>
                  <a:pt x="55" y="40"/>
                </a:cubicBezTo>
                <a:cubicBezTo>
                  <a:pt x="57" y="40"/>
                  <a:pt x="57" y="40"/>
                  <a:pt x="57" y="40"/>
                </a:cubicBezTo>
                <a:cubicBezTo>
                  <a:pt x="57" y="44"/>
                  <a:pt x="57" y="44"/>
                  <a:pt x="57" y="44"/>
                </a:cubicBezTo>
                <a:close/>
                <a:moveTo>
                  <a:pt x="50" y="40"/>
                </a:moveTo>
                <a:cubicBezTo>
                  <a:pt x="47" y="40"/>
                  <a:pt x="47" y="40"/>
                  <a:pt x="47" y="40"/>
                </a:cubicBezTo>
                <a:cubicBezTo>
                  <a:pt x="51" y="31"/>
                  <a:pt x="51" y="31"/>
                  <a:pt x="51" y="31"/>
                </a:cubicBezTo>
                <a:cubicBezTo>
                  <a:pt x="50" y="40"/>
                  <a:pt x="50" y="40"/>
                  <a:pt x="50" y="40"/>
                </a:cubicBezTo>
                <a:close/>
                <a:moveTo>
                  <a:pt x="39" y="0"/>
                </a:moveTo>
                <a:cubicBezTo>
                  <a:pt x="49" y="0"/>
                  <a:pt x="59" y="4"/>
                  <a:pt x="65" y="10"/>
                </a:cubicBezTo>
                <a:cubicBezTo>
                  <a:pt x="72" y="17"/>
                  <a:pt x="76" y="26"/>
                  <a:pt x="76" y="36"/>
                </a:cubicBezTo>
                <a:cubicBezTo>
                  <a:pt x="76" y="46"/>
                  <a:pt x="72" y="56"/>
                  <a:pt x="65" y="62"/>
                </a:cubicBezTo>
                <a:cubicBezTo>
                  <a:pt x="63" y="64"/>
                  <a:pt x="61" y="66"/>
                  <a:pt x="59" y="67"/>
                </a:cubicBezTo>
                <a:cubicBezTo>
                  <a:pt x="59" y="66"/>
                  <a:pt x="58" y="66"/>
                  <a:pt x="57" y="65"/>
                </a:cubicBezTo>
                <a:cubicBezTo>
                  <a:pt x="53" y="61"/>
                  <a:pt x="53" y="61"/>
                  <a:pt x="53" y="61"/>
                </a:cubicBezTo>
                <a:cubicBezTo>
                  <a:pt x="56" y="60"/>
                  <a:pt x="58" y="58"/>
                  <a:pt x="59" y="56"/>
                </a:cubicBezTo>
                <a:cubicBezTo>
                  <a:pt x="64" y="51"/>
                  <a:pt x="68" y="44"/>
                  <a:pt x="68" y="36"/>
                </a:cubicBezTo>
                <a:cubicBezTo>
                  <a:pt x="68" y="28"/>
                  <a:pt x="64" y="21"/>
                  <a:pt x="59" y="16"/>
                </a:cubicBezTo>
                <a:cubicBezTo>
                  <a:pt x="54" y="11"/>
                  <a:pt x="47" y="8"/>
                  <a:pt x="39" y="8"/>
                </a:cubicBezTo>
                <a:cubicBezTo>
                  <a:pt x="36" y="8"/>
                  <a:pt x="32" y="9"/>
                  <a:pt x="29" y="10"/>
                </a:cubicBezTo>
                <a:cubicBezTo>
                  <a:pt x="27" y="5"/>
                  <a:pt x="27" y="5"/>
                  <a:pt x="27" y="5"/>
                </a:cubicBezTo>
                <a:cubicBezTo>
                  <a:pt x="27" y="4"/>
                  <a:pt x="26" y="3"/>
                  <a:pt x="26" y="2"/>
                </a:cubicBezTo>
                <a:cubicBezTo>
                  <a:pt x="30" y="1"/>
                  <a:pt x="34" y="0"/>
                  <a:pt x="39" y="0"/>
                </a:cubicBezTo>
                <a:close/>
              </a:path>
            </a:pathLst>
          </a:custGeom>
          <a:solidFill>
            <a:schemeClr val="bg1"/>
          </a:solidFill>
          <a:ln w="9525">
            <a:noFill/>
            <a:round/>
            <a:headEnd/>
            <a:tailEnd/>
          </a:ln>
        </p:spPr>
        <p:txBody>
          <a:bodyPr anchor="ctr"/>
          <a:lstStyle/>
          <a:p>
            <a:pPr algn="ctr"/>
            <a:endParaRPr/>
          </a:p>
        </p:txBody>
      </p:sp>
      <p:sp>
        <p:nvSpPr>
          <p:cNvPr id="21" name="iS1îḍê">
            <a:extLst>
              <a:ext uri="{FF2B5EF4-FFF2-40B4-BE49-F238E27FC236}">
                <a16:creationId xmlns:a16="http://schemas.microsoft.com/office/drawing/2014/main" id="{82F4826F-08C7-43A0-95F0-A5B5E7EC82CB}"/>
              </a:ext>
            </a:extLst>
          </p:cNvPr>
          <p:cNvSpPr/>
          <p:nvPr/>
        </p:nvSpPr>
        <p:spPr bwMode="auto">
          <a:xfrm>
            <a:off x="3363473" y="4287530"/>
            <a:ext cx="750886" cy="702440"/>
          </a:xfrm>
          <a:custGeom>
            <a:avLst/>
            <a:gdLst/>
            <a:ahLst/>
            <a:cxnLst>
              <a:cxn ang="0">
                <a:pos x="53" y="33"/>
              </a:cxn>
              <a:cxn ang="0">
                <a:pos x="56" y="16"/>
              </a:cxn>
              <a:cxn ang="0">
                <a:pos x="83" y="16"/>
              </a:cxn>
              <a:cxn ang="0">
                <a:pos x="62" y="23"/>
              </a:cxn>
              <a:cxn ang="0">
                <a:pos x="59" y="60"/>
              </a:cxn>
              <a:cxn ang="0">
                <a:pos x="59" y="75"/>
              </a:cxn>
              <a:cxn ang="0">
                <a:pos x="44" y="75"/>
              </a:cxn>
              <a:cxn ang="0">
                <a:pos x="21" y="69"/>
              </a:cxn>
              <a:cxn ang="0">
                <a:pos x="11" y="78"/>
              </a:cxn>
              <a:cxn ang="0">
                <a:pos x="0" y="67"/>
              </a:cxn>
              <a:cxn ang="0">
                <a:pos x="7" y="57"/>
              </a:cxn>
              <a:cxn ang="0">
                <a:pos x="52" y="11"/>
              </a:cxn>
              <a:cxn ang="0">
                <a:pos x="26" y="0"/>
              </a:cxn>
              <a:cxn ang="0">
                <a:pos x="25" y="0"/>
              </a:cxn>
              <a:cxn ang="0">
                <a:pos x="21" y="3"/>
              </a:cxn>
              <a:cxn ang="0">
                <a:pos x="12" y="30"/>
              </a:cxn>
              <a:cxn ang="0">
                <a:pos x="50" y="18"/>
              </a:cxn>
              <a:cxn ang="0">
                <a:pos x="51" y="16"/>
              </a:cxn>
              <a:cxn ang="0">
                <a:pos x="32" y="12"/>
              </a:cxn>
              <a:cxn ang="0">
                <a:pos x="24" y="20"/>
              </a:cxn>
              <a:cxn ang="0">
                <a:pos x="23" y="9"/>
              </a:cxn>
              <a:cxn ang="0">
                <a:pos x="24" y="7"/>
              </a:cxn>
              <a:cxn ang="0">
                <a:pos x="23" y="4"/>
              </a:cxn>
              <a:cxn ang="0">
                <a:pos x="25" y="2"/>
              </a:cxn>
              <a:cxn ang="0">
                <a:pos x="25" y="6"/>
              </a:cxn>
              <a:cxn ang="0">
                <a:pos x="49" y="13"/>
              </a:cxn>
              <a:cxn ang="0">
                <a:pos x="25" y="6"/>
              </a:cxn>
              <a:cxn ang="0">
                <a:pos x="49" y="12"/>
              </a:cxn>
              <a:cxn ang="0">
                <a:pos x="25" y="5"/>
              </a:cxn>
              <a:cxn ang="0">
                <a:pos x="26" y="4"/>
              </a:cxn>
              <a:cxn ang="0">
                <a:pos x="49" y="12"/>
              </a:cxn>
              <a:cxn ang="0">
                <a:pos x="26" y="4"/>
              </a:cxn>
              <a:cxn ang="0">
                <a:pos x="16" y="52"/>
              </a:cxn>
              <a:cxn ang="0">
                <a:pos x="46" y="49"/>
              </a:cxn>
              <a:cxn ang="0">
                <a:pos x="14" y="40"/>
              </a:cxn>
              <a:cxn ang="0">
                <a:pos x="47" y="43"/>
              </a:cxn>
              <a:cxn ang="0">
                <a:pos x="14" y="40"/>
              </a:cxn>
              <a:cxn ang="0">
                <a:pos x="11" y="62"/>
              </a:cxn>
              <a:cxn ang="0">
                <a:pos x="6" y="67"/>
              </a:cxn>
              <a:cxn ang="0">
                <a:pos x="11" y="72"/>
              </a:cxn>
              <a:cxn ang="0">
                <a:pos x="16" y="67"/>
              </a:cxn>
              <a:cxn ang="0">
                <a:pos x="55" y="64"/>
              </a:cxn>
              <a:cxn ang="0">
                <a:pos x="48" y="64"/>
              </a:cxn>
              <a:cxn ang="0">
                <a:pos x="48" y="71"/>
              </a:cxn>
              <a:cxn ang="0">
                <a:pos x="55" y="71"/>
              </a:cxn>
              <a:cxn ang="0">
                <a:pos x="55" y="64"/>
              </a:cxn>
            </a:cxnLst>
            <a:rect l="0" t="0" r="r" b="b"/>
            <a:pathLst>
              <a:path w="83" h="78">
                <a:moveTo>
                  <a:pt x="2" y="33"/>
                </a:moveTo>
                <a:cubicBezTo>
                  <a:pt x="53" y="33"/>
                  <a:pt x="53" y="33"/>
                  <a:pt x="53" y="33"/>
                </a:cubicBezTo>
                <a:cubicBezTo>
                  <a:pt x="55" y="19"/>
                  <a:pt x="55" y="19"/>
                  <a:pt x="55" y="19"/>
                </a:cubicBezTo>
                <a:cubicBezTo>
                  <a:pt x="56" y="16"/>
                  <a:pt x="56" y="16"/>
                  <a:pt x="56" y="16"/>
                </a:cubicBezTo>
                <a:cubicBezTo>
                  <a:pt x="59" y="16"/>
                  <a:pt x="59" y="16"/>
                  <a:pt x="59" y="16"/>
                </a:cubicBezTo>
                <a:cubicBezTo>
                  <a:pt x="83" y="16"/>
                  <a:pt x="83" y="16"/>
                  <a:pt x="83" y="16"/>
                </a:cubicBezTo>
                <a:cubicBezTo>
                  <a:pt x="83" y="23"/>
                  <a:pt x="83" y="23"/>
                  <a:pt x="83" y="23"/>
                </a:cubicBezTo>
                <a:cubicBezTo>
                  <a:pt x="62" y="23"/>
                  <a:pt x="62" y="23"/>
                  <a:pt x="62" y="23"/>
                </a:cubicBezTo>
                <a:cubicBezTo>
                  <a:pt x="56" y="58"/>
                  <a:pt x="56" y="58"/>
                  <a:pt x="56" y="58"/>
                </a:cubicBezTo>
                <a:cubicBezTo>
                  <a:pt x="57" y="58"/>
                  <a:pt x="58" y="59"/>
                  <a:pt x="59" y="60"/>
                </a:cubicBezTo>
                <a:cubicBezTo>
                  <a:pt x="61" y="62"/>
                  <a:pt x="62" y="64"/>
                  <a:pt x="62" y="67"/>
                </a:cubicBezTo>
                <a:cubicBezTo>
                  <a:pt x="62" y="70"/>
                  <a:pt x="61" y="73"/>
                  <a:pt x="59" y="75"/>
                </a:cubicBezTo>
                <a:cubicBezTo>
                  <a:pt x="57" y="77"/>
                  <a:pt x="55" y="78"/>
                  <a:pt x="52" y="78"/>
                </a:cubicBezTo>
                <a:cubicBezTo>
                  <a:pt x="49" y="78"/>
                  <a:pt x="46" y="77"/>
                  <a:pt x="44" y="75"/>
                </a:cubicBezTo>
                <a:cubicBezTo>
                  <a:pt x="43" y="73"/>
                  <a:pt x="42" y="71"/>
                  <a:pt x="41" y="69"/>
                </a:cubicBezTo>
                <a:cubicBezTo>
                  <a:pt x="21" y="69"/>
                  <a:pt x="21" y="69"/>
                  <a:pt x="21" y="69"/>
                </a:cubicBezTo>
                <a:cubicBezTo>
                  <a:pt x="21" y="71"/>
                  <a:pt x="20" y="73"/>
                  <a:pt x="18" y="75"/>
                </a:cubicBezTo>
                <a:cubicBezTo>
                  <a:pt x="17" y="77"/>
                  <a:pt x="14" y="78"/>
                  <a:pt x="11" y="78"/>
                </a:cubicBezTo>
                <a:cubicBezTo>
                  <a:pt x="8" y="78"/>
                  <a:pt x="5" y="77"/>
                  <a:pt x="4" y="75"/>
                </a:cubicBezTo>
                <a:cubicBezTo>
                  <a:pt x="2" y="73"/>
                  <a:pt x="0" y="70"/>
                  <a:pt x="0" y="67"/>
                </a:cubicBezTo>
                <a:cubicBezTo>
                  <a:pt x="0" y="64"/>
                  <a:pt x="2" y="62"/>
                  <a:pt x="4" y="60"/>
                </a:cubicBezTo>
                <a:cubicBezTo>
                  <a:pt x="4" y="59"/>
                  <a:pt x="6" y="58"/>
                  <a:pt x="7" y="57"/>
                </a:cubicBezTo>
                <a:cubicBezTo>
                  <a:pt x="2" y="33"/>
                  <a:pt x="2" y="33"/>
                  <a:pt x="2" y="33"/>
                </a:cubicBezTo>
                <a:close/>
                <a:moveTo>
                  <a:pt x="52" y="11"/>
                </a:moveTo>
                <a:cubicBezTo>
                  <a:pt x="53" y="8"/>
                  <a:pt x="53" y="8"/>
                  <a:pt x="53" y="8"/>
                </a:cubicBezTo>
                <a:cubicBezTo>
                  <a:pt x="26" y="0"/>
                  <a:pt x="26" y="0"/>
                  <a:pt x="26" y="0"/>
                </a:cubicBezTo>
                <a:cubicBezTo>
                  <a:pt x="25" y="0"/>
                  <a:pt x="25" y="0"/>
                  <a:pt x="25" y="0"/>
                </a:cubicBezTo>
                <a:cubicBezTo>
                  <a:pt x="25" y="0"/>
                  <a:pt x="25" y="0"/>
                  <a:pt x="25" y="0"/>
                </a:cubicBezTo>
                <a:cubicBezTo>
                  <a:pt x="24" y="0"/>
                  <a:pt x="23" y="1"/>
                  <a:pt x="22" y="1"/>
                </a:cubicBezTo>
                <a:cubicBezTo>
                  <a:pt x="21" y="2"/>
                  <a:pt x="21" y="3"/>
                  <a:pt x="21" y="3"/>
                </a:cubicBezTo>
                <a:cubicBezTo>
                  <a:pt x="20" y="4"/>
                  <a:pt x="20" y="4"/>
                  <a:pt x="20" y="4"/>
                </a:cubicBezTo>
                <a:cubicBezTo>
                  <a:pt x="12" y="30"/>
                  <a:pt x="12" y="30"/>
                  <a:pt x="12" y="30"/>
                </a:cubicBezTo>
                <a:cubicBezTo>
                  <a:pt x="46" y="30"/>
                  <a:pt x="46" y="30"/>
                  <a:pt x="46" y="30"/>
                </a:cubicBezTo>
                <a:cubicBezTo>
                  <a:pt x="50" y="18"/>
                  <a:pt x="50" y="18"/>
                  <a:pt x="50" y="18"/>
                </a:cubicBezTo>
                <a:cubicBezTo>
                  <a:pt x="50" y="17"/>
                  <a:pt x="50" y="17"/>
                  <a:pt x="50" y="17"/>
                </a:cubicBezTo>
                <a:cubicBezTo>
                  <a:pt x="51" y="16"/>
                  <a:pt x="51" y="16"/>
                  <a:pt x="51" y="16"/>
                </a:cubicBezTo>
                <a:cubicBezTo>
                  <a:pt x="34" y="10"/>
                  <a:pt x="34" y="10"/>
                  <a:pt x="34" y="10"/>
                </a:cubicBezTo>
                <a:cubicBezTo>
                  <a:pt x="32" y="12"/>
                  <a:pt x="32" y="12"/>
                  <a:pt x="32" y="12"/>
                </a:cubicBezTo>
                <a:cubicBezTo>
                  <a:pt x="28" y="24"/>
                  <a:pt x="28" y="24"/>
                  <a:pt x="28" y="24"/>
                </a:cubicBezTo>
                <a:cubicBezTo>
                  <a:pt x="24" y="20"/>
                  <a:pt x="24" y="20"/>
                  <a:pt x="24" y="20"/>
                </a:cubicBezTo>
                <a:cubicBezTo>
                  <a:pt x="19" y="22"/>
                  <a:pt x="19" y="22"/>
                  <a:pt x="19" y="22"/>
                </a:cubicBezTo>
                <a:cubicBezTo>
                  <a:pt x="23" y="9"/>
                  <a:pt x="23" y="9"/>
                  <a:pt x="23" y="9"/>
                </a:cubicBezTo>
                <a:cubicBezTo>
                  <a:pt x="23" y="9"/>
                  <a:pt x="25" y="8"/>
                  <a:pt x="25" y="8"/>
                </a:cubicBezTo>
                <a:cubicBezTo>
                  <a:pt x="24" y="7"/>
                  <a:pt x="24" y="7"/>
                  <a:pt x="24" y="7"/>
                </a:cubicBezTo>
                <a:cubicBezTo>
                  <a:pt x="23" y="7"/>
                  <a:pt x="23" y="6"/>
                  <a:pt x="23" y="6"/>
                </a:cubicBezTo>
                <a:cubicBezTo>
                  <a:pt x="23" y="5"/>
                  <a:pt x="23" y="5"/>
                  <a:pt x="23" y="4"/>
                </a:cubicBezTo>
                <a:cubicBezTo>
                  <a:pt x="23" y="4"/>
                  <a:pt x="23" y="3"/>
                  <a:pt x="24" y="3"/>
                </a:cubicBezTo>
                <a:cubicBezTo>
                  <a:pt x="24" y="3"/>
                  <a:pt x="25" y="3"/>
                  <a:pt x="25" y="2"/>
                </a:cubicBezTo>
                <a:cubicBezTo>
                  <a:pt x="52" y="11"/>
                  <a:pt x="52" y="11"/>
                  <a:pt x="52" y="11"/>
                </a:cubicBezTo>
                <a:close/>
                <a:moveTo>
                  <a:pt x="25" y="6"/>
                </a:moveTo>
                <a:cubicBezTo>
                  <a:pt x="25" y="6"/>
                  <a:pt x="25" y="6"/>
                  <a:pt x="25" y="6"/>
                </a:cubicBezTo>
                <a:cubicBezTo>
                  <a:pt x="49" y="13"/>
                  <a:pt x="49" y="13"/>
                  <a:pt x="49" y="13"/>
                </a:cubicBezTo>
                <a:cubicBezTo>
                  <a:pt x="49" y="14"/>
                  <a:pt x="49" y="14"/>
                  <a:pt x="49" y="14"/>
                </a:cubicBezTo>
                <a:cubicBezTo>
                  <a:pt x="25" y="6"/>
                  <a:pt x="25" y="6"/>
                  <a:pt x="25" y="6"/>
                </a:cubicBezTo>
                <a:close/>
                <a:moveTo>
                  <a:pt x="25" y="5"/>
                </a:moveTo>
                <a:cubicBezTo>
                  <a:pt x="49" y="12"/>
                  <a:pt x="49" y="12"/>
                  <a:pt x="49" y="12"/>
                </a:cubicBezTo>
                <a:cubicBezTo>
                  <a:pt x="49" y="13"/>
                  <a:pt x="49" y="13"/>
                  <a:pt x="49" y="13"/>
                </a:cubicBezTo>
                <a:cubicBezTo>
                  <a:pt x="25" y="5"/>
                  <a:pt x="25" y="5"/>
                  <a:pt x="25" y="5"/>
                </a:cubicBezTo>
                <a:cubicBezTo>
                  <a:pt x="25" y="5"/>
                  <a:pt x="25" y="5"/>
                  <a:pt x="25" y="5"/>
                </a:cubicBezTo>
                <a:close/>
                <a:moveTo>
                  <a:pt x="26" y="4"/>
                </a:moveTo>
                <a:cubicBezTo>
                  <a:pt x="50" y="11"/>
                  <a:pt x="50" y="11"/>
                  <a:pt x="50" y="11"/>
                </a:cubicBezTo>
                <a:cubicBezTo>
                  <a:pt x="49" y="12"/>
                  <a:pt x="49" y="12"/>
                  <a:pt x="49" y="12"/>
                </a:cubicBezTo>
                <a:cubicBezTo>
                  <a:pt x="25" y="4"/>
                  <a:pt x="25" y="4"/>
                  <a:pt x="25" y="4"/>
                </a:cubicBezTo>
                <a:cubicBezTo>
                  <a:pt x="26" y="4"/>
                  <a:pt x="26" y="4"/>
                  <a:pt x="26" y="4"/>
                </a:cubicBezTo>
                <a:close/>
                <a:moveTo>
                  <a:pt x="15" y="49"/>
                </a:moveTo>
                <a:cubicBezTo>
                  <a:pt x="16" y="52"/>
                  <a:pt x="16" y="52"/>
                  <a:pt x="16" y="52"/>
                </a:cubicBezTo>
                <a:cubicBezTo>
                  <a:pt x="46" y="52"/>
                  <a:pt x="46" y="52"/>
                  <a:pt x="46" y="52"/>
                </a:cubicBezTo>
                <a:cubicBezTo>
                  <a:pt x="46" y="49"/>
                  <a:pt x="46" y="49"/>
                  <a:pt x="46" y="49"/>
                </a:cubicBezTo>
                <a:cubicBezTo>
                  <a:pt x="15" y="49"/>
                  <a:pt x="15" y="49"/>
                  <a:pt x="15" y="49"/>
                </a:cubicBezTo>
                <a:close/>
                <a:moveTo>
                  <a:pt x="14" y="40"/>
                </a:moveTo>
                <a:cubicBezTo>
                  <a:pt x="15" y="43"/>
                  <a:pt x="15" y="43"/>
                  <a:pt x="15" y="43"/>
                </a:cubicBezTo>
                <a:cubicBezTo>
                  <a:pt x="47" y="43"/>
                  <a:pt x="47" y="43"/>
                  <a:pt x="47" y="43"/>
                </a:cubicBezTo>
                <a:cubicBezTo>
                  <a:pt x="47" y="40"/>
                  <a:pt x="47" y="40"/>
                  <a:pt x="47" y="40"/>
                </a:cubicBezTo>
                <a:cubicBezTo>
                  <a:pt x="14" y="40"/>
                  <a:pt x="14" y="40"/>
                  <a:pt x="14" y="40"/>
                </a:cubicBezTo>
                <a:close/>
                <a:moveTo>
                  <a:pt x="14" y="64"/>
                </a:moveTo>
                <a:cubicBezTo>
                  <a:pt x="14" y="63"/>
                  <a:pt x="12" y="62"/>
                  <a:pt x="11" y="62"/>
                </a:cubicBezTo>
                <a:cubicBezTo>
                  <a:pt x="10" y="62"/>
                  <a:pt x="8" y="63"/>
                  <a:pt x="8" y="64"/>
                </a:cubicBezTo>
                <a:cubicBezTo>
                  <a:pt x="7" y="65"/>
                  <a:pt x="6" y="66"/>
                  <a:pt x="6" y="67"/>
                </a:cubicBezTo>
                <a:cubicBezTo>
                  <a:pt x="6" y="69"/>
                  <a:pt x="7" y="70"/>
                  <a:pt x="8" y="71"/>
                </a:cubicBezTo>
                <a:cubicBezTo>
                  <a:pt x="8" y="71"/>
                  <a:pt x="10" y="72"/>
                  <a:pt x="11" y="72"/>
                </a:cubicBezTo>
                <a:cubicBezTo>
                  <a:pt x="12" y="72"/>
                  <a:pt x="14" y="71"/>
                  <a:pt x="14" y="71"/>
                </a:cubicBezTo>
                <a:cubicBezTo>
                  <a:pt x="15" y="70"/>
                  <a:pt x="16" y="69"/>
                  <a:pt x="16" y="67"/>
                </a:cubicBezTo>
                <a:cubicBezTo>
                  <a:pt x="16" y="66"/>
                  <a:pt x="15" y="65"/>
                  <a:pt x="14" y="64"/>
                </a:cubicBezTo>
                <a:close/>
                <a:moveTo>
                  <a:pt x="55" y="64"/>
                </a:moveTo>
                <a:cubicBezTo>
                  <a:pt x="54" y="63"/>
                  <a:pt x="53" y="62"/>
                  <a:pt x="52" y="62"/>
                </a:cubicBezTo>
                <a:cubicBezTo>
                  <a:pt x="50" y="62"/>
                  <a:pt x="49" y="63"/>
                  <a:pt x="48" y="64"/>
                </a:cubicBezTo>
                <a:cubicBezTo>
                  <a:pt x="47" y="65"/>
                  <a:pt x="47" y="66"/>
                  <a:pt x="47" y="67"/>
                </a:cubicBezTo>
                <a:cubicBezTo>
                  <a:pt x="47" y="69"/>
                  <a:pt x="47" y="70"/>
                  <a:pt x="48" y="71"/>
                </a:cubicBezTo>
                <a:cubicBezTo>
                  <a:pt x="49" y="71"/>
                  <a:pt x="50" y="72"/>
                  <a:pt x="52" y="72"/>
                </a:cubicBezTo>
                <a:cubicBezTo>
                  <a:pt x="53" y="72"/>
                  <a:pt x="54" y="71"/>
                  <a:pt x="55" y="71"/>
                </a:cubicBezTo>
                <a:cubicBezTo>
                  <a:pt x="56" y="70"/>
                  <a:pt x="56" y="69"/>
                  <a:pt x="56" y="67"/>
                </a:cubicBezTo>
                <a:cubicBezTo>
                  <a:pt x="56" y="66"/>
                  <a:pt x="56" y="65"/>
                  <a:pt x="55" y="64"/>
                </a:cubicBezTo>
                <a:close/>
              </a:path>
            </a:pathLst>
          </a:custGeom>
          <a:solidFill>
            <a:schemeClr val="bg1"/>
          </a:solidFill>
          <a:ln w="9525">
            <a:noFill/>
            <a:round/>
            <a:headEnd/>
            <a:tailEnd/>
          </a:ln>
        </p:spPr>
        <p:txBody>
          <a:bodyPr anchor="ctr"/>
          <a:lstStyle/>
          <a:p>
            <a:pPr algn="ctr"/>
            <a:endParaRPr/>
          </a:p>
        </p:txBody>
      </p:sp>
      <p:sp>
        <p:nvSpPr>
          <p:cNvPr id="22" name="ïṣlíḑé">
            <a:extLst>
              <a:ext uri="{FF2B5EF4-FFF2-40B4-BE49-F238E27FC236}">
                <a16:creationId xmlns:a16="http://schemas.microsoft.com/office/drawing/2014/main" id="{CE0FD087-1B61-4501-882E-180592182228}"/>
              </a:ext>
            </a:extLst>
          </p:cNvPr>
          <p:cNvSpPr/>
          <p:nvPr/>
        </p:nvSpPr>
        <p:spPr bwMode="auto">
          <a:xfrm>
            <a:off x="1647014" y="3907804"/>
            <a:ext cx="531251" cy="501940"/>
          </a:xfrm>
          <a:custGeom>
            <a:avLst/>
            <a:gdLst/>
            <a:ahLst/>
            <a:cxnLst>
              <a:cxn ang="0">
                <a:pos x="59" y="0"/>
              </a:cxn>
              <a:cxn ang="0">
                <a:pos x="53" y="6"/>
              </a:cxn>
              <a:cxn ang="0">
                <a:pos x="15" y="27"/>
              </a:cxn>
              <a:cxn ang="0">
                <a:pos x="13" y="28"/>
              </a:cxn>
              <a:cxn ang="0">
                <a:pos x="5" y="68"/>
              </a:cxn>
              <a:cxn ang="0">
                <a:pos x="56" y="50"/>
              </a:cxn>
              <a:cxn ang="0">
                <a:pos x="62" y="71"/>
              </a:cxn>
              <a:cxn ang="0">
                <a:pos x="59" y="74"/>
              </a:cxn>
              <a:cxn ang="0">
                <a:pos x="0" y="74"/>
              </a:cxn>
              <a:cxn ang="0">
                <a:pos x="0" y="25"/>
              </a:cxn>
              <a:cxn ang="0">
                <a:pos x="0" y="24"/>
              </a:cxn>
              <a:cxn ang="0">
                <a:pos x="13" y="0"/>
              </a:cxn>
              <a:cxn ang="0">
                <a:pos x="9" y="50"/>
              </a:cxn>
              <a:cxn ang="0">
                <a:pos x="16" y="45"/>
              </a:cxn>
              <a:cxn ang="0">
                <a:pos x="18" y="56"/>
              </a:cxn>
              <a:cxn ang="0">
                <a:pos x="18" y="60"/>
              </a:cxn>
              <a:cxn ang="0">
                <a:pos x="28" y="61"/>
              </a:cxn>
              <a:cxn ang="0">
                <a:pos x="39" y="63"/>
              </a:cxn>
              <a:cxn ang="0">
                <a:pos x="32" y="58"/>
              </a:cxn>
              <a:cxn ang="0">
                <a:pos x="26" y="58"/>
              </a:cxn>
              <a:cxn ang="0">
                <a:pos x="26" y="56"/>
              </a:cxn>
              <a:cxn ang="0">
                <a:pos x="29" y="47"/>
              </a:cxn>
              <a:cxn ang="0">
                <a:pos x="19" y="51"/>
              </a:cxn>
              <a:cxn ang="0">
                <a:pos x="20" y="42"/>
              </a:cxn>
              <a:cxn ang="0">
                <a:pos x="15" y="8"/>
              </a:cxn>
              <a:cxn ang="0">
                <a:pos x="12" y="25"/>
              </a:cxn>
              <a:cxn ang="0">
                <a:pos x="41" y="40"/>
              </a:cxn>
              <a:cxn ang="0">
                <a:pos x="40" y="52"/>
              </a:cxn>
              <a:cxn ang="0">
                <a:pos x="41" y="57"/>
              </a:cxn>
              <a:cxn ang="0">
                <a:pos x="44" y="55"/>
              </a:cxn>
              <a:cxn ang="0">
                <a:pos x="41" y="40"/>
              </a:cxn>
              <a:cxn ang="0">
                <a:pos x="70" y="9"/>
              </a:cxn>
              <a:cxn ang="0">
                <a:pos x="60" y="9"/>
              </a:cxn>
              <a:cxn ang="0">
                <a:pos x="71" y="16"/>
              </a:cxn>
              <a:cxn ang="0">
                <a:pos x="64" y="34"/>
              </a:cxn>
              <a:cxn ang="0">
                <a:pos x="77" y="16"/>
              </a:cxn>
              <a:cxn ang="0">
                <a:pos x="76" y="14"/>
              </a:cxn>
              <a:cxn ang="0">
                <a:pos x="58" y="11"/>
              </a:cxn>
              <a:cxn ang="0">
                <a:pos x="54" y="44"/>
              </a:cxn>
              <a:cxn ang="0">
                <a:pos x="58" y="11"/>
              </a:cxn>
            </a:cxnLst>
            <a:rect l="0" t="0" r="r" b="b"/>
            <a:pathLst>
              <a:path w="78" h="74">
                <a:moveTo>
                  <a:pt x="15" y="0"/>
                </a:moveTo>
                <a:cubicBezTo>
                  <a:pt x="59" y="0"/>
                  <a:pt x="59" y="0"/>
                  <a:pt x="59" y="0"/>
                </a:cubicBezTo>
                <a:cubicBezTo>
                  <a:pt x="62" y="0"/>
                  <a:pt x="62" y="0"/>
                  <a:pt x="62" y="0"/>
                </a:cubicBezTo>
                <a:cubicBezTo>
                  <a:pt x="53" y="6"/>
                  <a:pt x="53" y="6"/>
                  <a:pt x="53" y="6"/>
                </a:cubicBezTo>
                <a:cubicBezTo>
                  <a:pt x="18" y="6"/>
                  <a:pt x="18" y="6"/>
                  <a:pt x="18" y="6"/>
                </a:cubicBezTo>
                <a:cubicBezTo>
                  <a:pt x="15" y="27"/>
                  <a:pt x="15" y="27"/>
                  <a:pt x="15" y="27"/>
                </a:cubicBezTo>
                <a:cubicBezTo>
                  <a:pt x="14" y="28"/>
                  <a:pt x="14" y="28"/>
                  <a:pt x="14" y="28"/>
                </a:cubicBezTo>
                <a:cubicBezTo>
                  <a:pt x="13" y="28"/>
                  <a:pt x="13" y="28"/>
                  <a:pt x="13" y="28"/>
                </a:cubicBezTo>
                <a:cubicBezTo>
                  <a:pt x="5" y="27"/>
                  <a:pt x="5" y="27"/>
                  <a:pt x="5" y="27"/>
                </a:cubicBezTo>
                <a:cubicBezTo>
                  <a:pt x="5" y="68"/>
                  <a:pt x="5" y="68"/>
                  <a:pt x="5" y="68"/>
                </a:cubicBezTo>
                <a:cubicBezTo>
                  <a:pt x="56" y="68"/>
                  <a:pt x="56" y="68"/>
                  <a:pt x="56" y="68"/>
                </a:cubicBezTo>
                <a:cubicBezTo>
                  <a:pt x="56" y="50"/>
                  <a:pt x="56" y="50"/>
                  <a:pt x="56" y="50"/>
                </a:cubicBezTo>
                <a:cubicBezTo>
                  <a:pt x="62" y="43"/>
                  <a:pt x="62" y="43"/>
                  <a:pt x="62" y="43"/>
                </a:cubicBezTo>
                <a:cubicBezTo>
                  <a:pt x="62" y="71"/>
                  <a:pt x="62" y="71"/>
                  <a:pt x="62" y="71"/>
                </a:cubicBezTo>
                <a:cubicBezTo>
                  <a:pt x="62" y="74"/>
                  <a:pt x="62" y="74"/>
                  <a:pt x="62" y="74"/>
                </a:cubicBezTo>
                <a:cubicBezTo>
                  <a:pt x="59" y="74"/>
                  <a:pt x="59" y="74"/>
                  <a:pt x="59" y="74"/>
                </a:cubicBezTo>
                <a:cubicBezTo>
                  <a:pt x="3" y="74"/>
                  <a:pt x="3" y="74"/>
                  <a:pt x="3" y="74"/>
                </a:cubicBezTo>
                <a:cubicBezTo>
                  <a:pt x="0" y="74"/>
                  <a:pt x="0" y="74"/>
                  <a:pt x="0" y="74"/>
                </a:cubicBezTo>
                <a:cubicBezTo>
                  <a:pt x="0" y="71"/>
                  <a:pt x="0" y="71"/>
                  <a:pt x="0" y="71"/>
                </a:cubicBezTo>
                <a:cubicBezTo>
                  <a:pt x="0" y="25"/>
                  <a:pt x="0" y="25"/>
                  <a:pt x="0" y="25"/>
                </a:cubicBezTo>
                <a:cubicBezTo>
                  <a:pt x="0" y="24"/>
                  <a:pt x="0" y="24"/>
                  <a:pt x="0" y="24"/>
                </a:cubicBezTo>
                <a:cubicBezTo>
                  <a:pt x="0" y="24"/>
                  <a:pt x="0" y="24"/>
                  <a:pt x="0" y="24"/>
                </a:cubicBezTo>
                <a:cubicBezTo>
                  <a:pt x="12" y="2"/>
                  <a:pt x="12" y="2"/>
                  <a:pt x="12" y="2"/>
                </a:cubicBezTo>
                <a:cubicBezTo>
                  <a:pt x="13" y="0"/>
                  <a:pt x="13" y="0"/>
                  <a:pt x="13" y="0"/>
                </a:cubicBezTo>
                <a:cubicBezTo>
                  <a:pt x="15" y="0"/>
                  <a:pt x="15" y="0"/>
                  <a:pt x="15" y="0"/>
                </a:cubicBezTo>
                <a:close/>
                <a:moveTo>
                  <a:pt x="9" y="50"/>
                </a:moveTo>
                <a:cubicBezTo>
                  <a:pt x="13" y="52"/>
                  <a:pt x="13" y="52"/>
                  <a:pt x="13" y="52"/>
                </a:cubicBezTo>
                <a:cubicBezTo>
                  <a:pt x="13" y="51"/>
                  <a:pt x="16" y="42"/>
                  <a:pt x="16" y="45"/>
                </a:cubicBezTo>
                <a:cubicBezTo>
                  <a:pt x="16" y="48"/>
                  <a:pt x="14" y="52"/>
                  <a:pt x="15" y="54"/>
                </a:cubicBezTo>
                <a:cubicBezTo>
                  <a:pt x="15" y="56"/>
                  <a:pt x="16" y="57"/>
                  <a:pt x="18" y="56"/>
                </a:cubicBezTo>
                <a:cubicBezTo>
                  <a:pt x="19" y="56"/>
                  <a:pt x="20" y="55"/>
                  <a:pt x="21" y="55"/>
                </a:cubicBezTo>
                <a:cubicBezTo>
                  <a:pt x="20" y="57"/>
                  <a:pt x="18" y="58"/>
                  <a:pt x="18" y="60"/>
                </a:cubicBezTo>
                <a:cubicBezTo>
                  <a:pt x="17" y="62"/>
                  <a:pt x="18" y="63"/>
                  <a:pt x="20" y="64"/>
                </a:cubicBezTo>
                <a:cubicBezTo>
                  <a:pt x="23" y="65"/>
                  <a:pt x="26" y="63"/>
                  <a:pt x="28" y="61"/>
                </a:cubicBezTo>
                <a:cubicBezTo>
                  <a:pt x="28" y="61"/>
                  <a:pt x="28" y="61"/>
                  <a:pt x="29" y="61"/>
                </a:cubicBezTo>
                <a:cubicBezTo>
                  <a:pt x="31" y="64"/>
                  <a:pt x="39" y="63"/>
                  <a:pt x="39" y="63"/>
                </a:cubicBezTo>
                <a:cubicBezTo>
                  <a:pt x="39" y="59"/>
                  <a:pt x="39" y="59"/>
                  <a:pt x="39" y="59"/>
                </a:cubicBezTo>
                <a:cubicBezTo>
                  <a:pt x="39" y="59"/>
                  <a:pt x="32" y="60"/>
                  <a:pt x="32" y="58"/>
                </a:cubicBezTo>
                <a:cubicBezTo>
                  <a:pt x="32" y="56"/>
                  <a:pt x="30" y="56"/>
                  <a:pt x="29" y="56"/>
                </a:cubicBezTo>
                <a:cubicBezTo>
                  <a:pt x="28" y="56"/>
                  <a:pt x="27" y="57"/>
                  <a:pt x="26" y="58"/>
                </a:cubicBezTo>
                <a:cubicBezTo>
                  <a:pt x="25" y="58"/>
                  <a:pt x="23" y="59"/>
                  <a:pt x="22" y="60"/>
                </a:cubicBezTo>
                <a:cubicBezTo>
                  <a:pt x="23" y="59"/>
                  <a:pt x="25" y="57"/>
                  <a:pt x="26" y="56"/>
                </a:cubicBezTo>
                <a:cubicBezTo>
                  <a:pt x="28" y="53"/>
                  <a:pt x="30" y="51"/>
                  <a:pt x="30" y="50"/>
                </a:cubicBezTo>
                <a:cubicBezTo>
                  <a:pt x="31" y="48"/>
                  <a:pt x="30" y="47"/>
                  <a:pt x="29" y="47"/>
                </a:cubicBezTo>
                <a:cubicBezTo>
                  <a:pt x="27" y="46"/>
                  <a:pt x="25" y="48"/>
                  <a:pt x="22" y="49"/>
                </a:cubicBezTo>
                <a:cubicBezTo>
                  <a:pt x="21" y="50"/>
                  <a:pt x="20" y="51"/>
                  <a:pt x="19" y="51"/>
                </a:cubicBezTo>
                <a:cubicBezTo>
                  <a:pt x="19" y="50"/>
                  <a:pt x="19" y="47"/>
                  <a:pt x="20" y="45"/>
                </a:cubicBezTo>
                <a:cubicBezTo>
                  <a:pt x="20" y="44"/>
                  <a:pt x="20" y="42"/>
                  <a:pt x="20" y="42"/>
                </a:cubicBezTo>
                <a:cubicBezTo>
                  <a:pt x="23" y="25"/>
                  <a:pt x="9" y="50"/>
                  <a:pt x="9" y="50"/>
                </a:cubicBezTo>
                <a:close/>
                <a:moveTo>
                  <a:pt x="15" y="8"/>
                </a:moveTo>
                <a:cubicBezTo>
                  <a:pt x="6" y="24"/>
                  <a:pt x="6" y="24"/>
                  <a:pt x="6" y="24"/>
                </a:cubicBezTo>
                <a:cubicBezTo>
                  <a:pt x="12" y="25"/>
                  <a:pt x="12" y="25"/>
                  <a:pt x="12" y="25"/>
                </a:cubicBezTo>
                <a:cubicBezTo>
                  <a:pt x="15" y="8"/>
                  <a:pt x="15" y="8"/>
                  <a:pt x="15" y="8"/>
                </a:cubicBezTo>
                <a:close/>
                <a:moveTo>
                  <a:pt x="41" y="40"/>
                </a:moveTo>
                <a:cubicBezTo>
                  <a:pt x="39" y="52"/>
                  <a:pt x="39" y="52"/>
                  <a:pt x="39" y="52"/>
                </a:cubicBezTo>
                <a:cubicBezTo>
                  <a:pt x="40" y="52"/>
                  <a:pt x="40" y="52"/>
                  <a:pt x="40" y="52"/>
                </a:cubicBezTo>
                <a:cubicBezTo>
                  <a:pt x="39" y="56"/>
                  <a:pt x="39" y="56"/>
                  <a:pt x="39" y="56"/>
                </a:cubicBezTo>
                <a:cubicBezTo>
                  <a:pt x="41" y="57"/>
                  <a:pt x="41" y="57"/>
                  <a:pt x="41" y="57"/>
                </a:cubicBezTo>
                <a:cubicBezTo>
                  <a:pt x="43" y="54"/>
                  <a:pt x="43" y="54"/>
                  <a:pt x="43" y="54"/>
                </a:cubicBezTo>
                <a:cubicBezTo>
                  <a:pt x="44" y="55"/>
                  <a:pt x="44" y="55"/>
                  <a:pt x="44" y="55"/>
                </a:cubicBezTo>
                <a:cubicBezTo>
                  <a:pt x="53" y="47"/>
                  <a:pt x="53" y="47"/>
                  <a:pt x="53" y="47"/>
                </a:cubicBezTo>
                <a:cubicBezTo>
                  <a:pt x="41" y="40"/>
                  <a:pt x="41" y="40"/>
                  <a:pt x="41" y="40"/>
                </a:cubicBezTo>
                <a:close/>
                <a:moveTo>
                  <a:pt x="71" y="10"/>
                </a:moveTo>
                <a:cubicBezTo>
                  <a:pt x="70" y="9"/>
                  <a:pt x="70" y="9"/>
                  <a:pt x="70" y="9"/>
                </a:cubicBezTo>
                <a:cubicBezTo>
                  <a:pt x="66" y="6"/>
                  <a:pt x="66" y="6"/>
                  <a:pt x="66" y="6"/>
                </a:cubicBezTo>
                <a:cubicBezTo>
                  <a:pt x="60" y="9"/>
                  <a:pt x="60" y="9"/>
                  <a:pt x="60" y="9"/>
                </a:cubicBezTo>
                <a:cubicBezTo>
                  <a:pt x="65" y="12"/>
                  <a:pt x="65" y="12"/>
                  <a:pt x="65" y="12"/>
                </a:cubicBezTo>
                <a:cubicBezTo>
                  <a:pt x="71" y="16"/>
                  <a:pt x="71" y="16"/>
                  <a:pt x="71" y="16"/>
                </a:cubicBezTo>
                <a:cubicBezTo>
                  <a:pt x="73" y="17"/>
                  <a:pt x="73" y="17"/>
                  <a:pt x="73" y="17"/>
                </a:cubicBezTo>
                <a:cubicBezTo>
                  <a:pt x="71" y="23"/>
                  <a:pt x="68" y="29"/>
                  <a:pt x="64" y="34"/>
                </a:cubicBezTo>
                <a:cubicBezTo>
                  <a:pt x="67" y="37"/>
                  <a:pt x="67" y="37"/>
                  <a:pt x="67" y="37"/>
                </a:cubicBezTo>
                <a:cubicBezTo>
                  <a:pt x="72" y="31"/>
                  <a:pt x="76" y="24"/>
                  <a:pt x="77" y="16"/>
                </a:cubicBezTo>
                <a:cubicBezTo>
                  <a:pt x="78" y="15"/>
                  <a:pt x="78" y="15"/>
                  <a:pt x="78" y="15"/>
                </a:cubicBezTo>
                <a:cubicBezTo>
                  <a:pt x="76" y="14"/>
                  <a:pt x="76" y="14"/>
                  <a:pt x="76" y="14"/>
                </a:cubicBezTo>
                <a:cubicBezTo>
                  <a:pt x="71" y="10"/>
                  <a:pt x="71" y="10"/>
                  <a:pt x="71" y="10"/>
                </a:cubicBezTo>
                <a:close/>
                <a:moveTo>
                  <a:pt x="58" y="11"/>
                </a:moveTo>
                <a:cubicBezTo>
                  <a:pt x="51" y="19"/>
                  <a:pt x="46" y="28"/>
                  <a:pt x="43" y="38"/>
                </a:cubicBezTo>
                <a:cubicBezTo>
                  <a:pt x="47" y="40"/>
                  <a:pt x="50" y="42"/>
                  <a:pt x="54" y="44"/>
                </a:cubicBezTo>
                <a:cubicBezTo>
                  <a:pt x="61" y="36"/>
                  <a:pt x="66" y="27"/>
                  <a:pt x="70" y="18"/>
                </a:cubicBezTo>
                <a:cubicBezTo>
                  <a:pt x="66" y="16"/>
                  <a:pt x="62" y="13"/>
                  <a:pt x="58" y="11"/>
                </a:cubicBezTo>
                <a:close/>
              </a:path>
            </a:pathLst>
          </a:custGeom>
          <a:solidFill>
            <a:schemeClr val="bg1"/>
          </a:solidFill>
          <a:ln w="9525">
            <a:noFill/>
            <a:round/>
            <a:headEnd/>
            <a:tailEnd/>
          </a:ln>
        </p:spPr>
        <p:txBody>
          <a:bodyPr anchor="ctr"/>
          <a:lstStyle/>
          <a:p>
            <a:pPr algn="ctr"/>
            <a:endParaRPr/>
          </a:p>
        </p:txBody>
      </p:sp>
      <p:sp>
        <p:nvSpPr>
          <p:cNvPr id="23" name="iśḻîḍè">
            <a:extLst>
              <a:ext uri="{FF2B5EF4-FFF2-40B4-BE49-F238E27FC236}">
                <a16:creationId xmlns:a16="http://schemas.microsoft.com/office/drawing/2014/main" id="{BEE72C6A-690E-4CA6-B7A2-F22A12609031}"/>
              </a:ext>
            </a:extLst>
          </p:cNvPr>
          <p:cNvSpPr txBox="1"/>
          <p:nvPr/>
        </p:nvSpPr>
        <p:spPr bwMode="auto">
          <a:xfrm>
            <a:off x="6660871" y="2250591"/>
            <a:ext cx="3596167" cy="393315"/>
          </a:xfrm>
          <a:prstGeom prst="rect">
            <a:avLst/>
          </a:prstGeom>
          <a:noFill/>
          <a:extLst/>
        </p:spPr>
        <p:txBody>
          <a:bodyPr wrap="none" lIns="90000" tIns="46800" rIns="90000" bIns="46800" anchor="ctr" anchorCtr="0">
            <a:noAutofit/>
          </a:bodyPr>
          <a:lstStyle/>
          <a:p>
            <a:pPr algn="r" latinLnBrk="0"/>
            <a:r>
              <a:rPr lang="zh-CN" altLang="en-US" sz="2400" b="1" dirty="0" smtClean="0">
                <a:effectLst/>
              </a:rPr>
              <a:t>软件检验代替人工目检</a:t>
            </a:r>
            <a:endParaRPr lang="zh-CN" altLang="en-US" sz="2400" b="1" dirty="0">
              <a:effectLst/>
            </a:endParaRPr>
          </a:p>
        </p:txBody>
      </p:sp>
      <p:sp>
        <p:nvSpPr>
          <p:cNvPr id="24" name="íSḻiďé">
            <a:extLst>
              <a:ext uri="{FF2B5EF4-FFF2-40B4-BE49-F238E27FC236}">
                <a16:creationId xmlns:a16="http://schemas.microsoft.com/office/drawing/2014/main" id="{6AC1F7A9-0869-42A7-9B06-C3B43242C83C}"/>
              </a:ext>
            </a:extLst>
          </p:cNvPr>
          <p:cNvSpPr txBox="1"/>
          <p:nvPr/>
        </p:nvSpPr>
        <p:spPr bwMode="auto">
          <a:xfrm>
            <a:off x="6692397" y="3704236"/>
            <a:ext cx="3596167" cy="393315"/>
          </a:xfrm>
          <a:prstGeom prst="rect">
            <a:avLst/>
          </a:prstGeom>
          <a:noFill/>
          <a:extLst/>
        </p:spPr>
        <p:txBody>
          <a:bodyPr wrap="none" lIns="90000" tIns="46800" rIns="90000" bIns="46800" anchor="ctr" anchorCtr="0">
            <a:noAutofit/>
          </a:bodyPr>
          <a:lstStyle/>
          <a:p>
            <a:pPr algn="r" latinLnBrk="0"/>
            <a:r>
              <a:rPr lang="zh-CN" altLang="en-US" sz="2400" b="1" dirty="0" smtClean="0">
                <a:effectLst/>
              </a:rPr>
              <a:t>杜绝现场作业物料出错</a:t>
            </a:r>
            <a:endParaRPr lang="zh-CN" altLang="en-US" sz="2400" b="1" dirty="0">
              <a:effectLst/>
            </a:endParaRPr>
          </a:p>
        </p:txBody>
      </p:sp>
      <p:sp>
        <p:nvSpPr>
          <p:cNvPr id="25" name="íŝḷíďé">
            <a:extLst>
              <a:ext uri="{FF2B5EF4-FFF2-40B4-BE49-F238E27FC236}">
                <a16:creationId xmlns:a16="http://schemas.microsoft.com/office/drawing/2014/main" id="{68BFBD13-C76B-45A4-B7F8-2CB6C41B0FDE}"/>
              </a:ext>
            </a:extLst>
          </p:cNvPr>
          <p:cNvSpPr txBox="1"/>
          <p:nvPr/>
        </p:nvSpPr>
        <p:spPr bwMode="auto">
          <a:xfrm>
            <a:off x="6834285" y="5142444"/>
            <a:ext cx="3596167" cy="393315"/>
          </a:xfrm>
          <a:prstGeom prst="rect">
            <a:avLst/>
          </a:prstGeom>
          <a:noFill/>
          <a:extLst/>
        </p:spPr>
        <p:txBody>
          <a:bodyPr wrap="none" lIns="90000" tIns="46800" rIns="90000" bIns="46800" anchor="ctr" anchorCtr="0">
            <a:noAutofit/>
          </a:bodyPr>
          <a:lstStyle/>
          <a:p>
            <a:pPr algn="r" latinLnBrk="0"/>
            <a:r>
              <a:rPr lang="zh-CN" altLang="en-US" sz="2400" b="1" dirty="0" smtClean="0">
                <a:effectLst/>
              </a:rPr>
              <a:t>预防生产质量重大事故产生</a:t>
            </a:r>
            <a:endParaRPr lang="zh-CN" altLang="en-US" sz="2400" b="1" dirty="0">
              <a:effectLst/>
            </a:endParaRPr>
          </a:p>
        </p:txBody>
      </p:sp>
      <p:sp>
        <p:nvSpPr>
          <p:cNvPr id="26" name="矩形 25"/>
          <p:cNvSpPr/>
          <p:nvPr/>
        </p:nvSpPr>
        <p:spPr>
          <a:xfrm>
            <a:off x="3330064" y="5972308"/>
            <a:ext cx="2241952" cy="646331"/>
          </a:xfrm>
          <a:prstGeom prst="rect">
            <a:avLst/>
          </a:prstGeom>
        </p:spPr>
        <p:txBody>
          <a:bodyPr wrap="square">
            <a:spAutoFit/>
          </a:bodyPr>
          <a:lstStyle/>
          <a:p>
            <a:pPr algn="r">
              <a:lnSpc>
                <a:spcPct val="150000"/>
              </a:lnSpc>
            </a:pPr>
            <a:r>
              <a:rPr lang="zh-CN" altLang="en-US" sz="2400" dirty="0"/>
              <a:t>保障作业质量</a:t>
            </a:r>
            <a:endParaRPr lang="en-US" altLang="zh-CN" sz="2400" dirty="0"/>
          </a:p>
        </p:txBody>
      </p:sp>
      <p:sp>
        <p:nvSpPr>
          <p:cNvPr id="27" name="矩形 26"/>
          <p:cNvSpPr/>
          <p:nvPr/>
        </p:nvSpPr>
        <p:spPr>
          <a:xfrm>
            <a:off x="2536368" y="1423372"/>
            <a:ext cx="6096000" cy="461665"/>
          </a:xfrm>
          <a:prstGeom prst="rect">
            <a:avLst/>
          </a:prstGeom>
        </p:spPr>
        <p:txBody>
          <a:bodyPr>
            <a:spAutoFit/>
          </a:bodyPr>
          <a:lstStyle/>
          <a:p>
            <a:r>
              <a:rPr lang="zh-CN" altLang="en-US" sz="2400" dirty="0"/>
              <a:t>提高生产效率</a:t>
            </a:r>
          </a:p>
        </p:txBody>
      </p:sp>
      <p:sp>
        <p:nvSpPr>
          <p:cNvPr id="28" name="íśḻîḓe">
            <a:extLst>
              <a:ext uri="{FF2B5EF4-FFF2-40B4-BE49-F238E27FC236}">
                <a16:creationId xmlns:a16="http://schemas.microsoft.com/office/drawing/2014/main" id="{07AD0EA0-BBF6-49C5-B99A-85A332C27036}"/>
              </a:ext>
            </a:extLst>
          </p:cNvPr>
          <p:cNvSpPr txBox="1"/>
          <p:nvPr/>
        </p:nvSpPr>
        <p:spPr bwMode="auto">
          <a:xfrm>
            <a:off x="534993" y="2447248"/>
            <a:ext cx="1781149" cy="556179"/>
          </a:xfrm>
          <a:prstGeom prst="rect">
            <a:avLst/>
          </a:prstGeom>
          <a:noFill/>
          <a:extLst/>
        </p:spPr>
        <p:txBody>
          <a:bodyPr wrap="square" lIns="90000" tIns="46800" rIns="90000" bIns="46800" anchor="ctr" anchorCtr="0">
            <a:normAutofit fontScale="25000" lnSpcReduction="20000"/>
          </a:bodyPr>
          <a:lstStyle/>
          <a:p>
            <a:pPr algn="r">
              <a:lnSpc>
                <a:spcPct val="150000"/>
              </a:lnSpc>
            </a:pPr>
            <a:r>
              <a:rPr lang="zh-CN" altLang="en-US" sz="9600" dirty="0" smtClean="0"/>
              <a:t>简化流程</a:t>
            </a:r>
            <a:endParaRPr lang="en-US" altLang="zh-CN" sz="9600" dirty="0" smtClean="0"/>
          </a:p>
          <a:p>
            <a:pPr algn="r">
              <a:lnSpc>
                <a:spcPct val="150000"/>
              </a:lnSpc>
            </a:pPr>
            <a:r>
              <a:rPr lang="en-US" altLang="zh-CN" sz="1100" dirty="0" smtClean="0"/>
              <a:t>.</a:t>
            </a:r>
            <a:endParaRPr lang="en-US" altLang="zh-CN" sz="1100" dirty="0"/>
          </a:p>
        </p:txBody>
      </p:sp>
    </p:spTree>
    <p:extLst>
      <p:ext uri="{BB962C8B-B14F-4D97-AF65-F5344CB8AC3E}">
        <p14:creationId xmlns:p14="http://schemas.microsoft.com/office/powerpoint/2010/main" val="3627362104"/>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150F779E-A363-4A63-903C-7E36049E3AB7}"/>
              </a:ext>
            </a:extLst>
          </p:cNvPr>
          <p:cNvSpPr>
            <a:spLocks noGrp="1"/>
          </p:cNvSpPr>
          <p:nvPr>
            <p:ph type="title"/>
          </p:nvPr>
        </p:nvSpPr>
        <p:spPr/>
        <p:txBody>
          <a:bodyPr/>
          <a:lstStyle/>
          <a:p>
            <a:r>
              <a:rPr lang="en-US" altLang="zh-CN" dirty="0" smtClean="0"/>
              <a:t>SMT</a:t>
            </a:r>
            <a:r>
              <a:rPr lang="zh-CN" altLang="en-US" dirty="0"/>
              <a:t>防错</a:t>
            </a:r>
            <a:r>
              <a:rPr lang="zh-CN" altLang="en-US" dirty="0" smtClean="0"/>
              <a:t>料系统优势</a:t>
            </a:r>
            <a:endParaRPr lang="zh-CN" altLang="en-US" dirty="0"/>
          </a:p>
        </p:txBody>
      </p:sp>
      <p:grpSp>
        <p:nvGrpSpPr>
          <p:cNvPr id="3" name="组合 2"/>
          <p:cNvGrpSpPr/>
          <p:nvPr/>
        </p:nvGrpSpPr>
        <p:grpSpPr>
          <a:xfrm>
            <a:off x="669924" y="2568754"/>
            <a:ext cx="5738901" cy="2346146"/>
            <a:chOff x="1277361" y="1838991"/>
            <a:chExt cx="10026798" cy="3725987"/>
          </a:xfrm>
        </p:grpSpPr>
        <p:sp>
          <p:nvSpPr>
            <p:cNvPr id="21" name="išḷiḍé">
              <a:extLst>
                <a:ext uri="{FF2B5EF4-FFF2-40B4-BE49-F238E27FC236}">
                  <a16:creationId xmlns:a16="http://schemas.microsoft.com/office/drawing/2014/main" id="{0286D387-E057-4FF0-A233-177FF208DB1C}"/>
                </a:ext>
              </a:extLst>
            </p:cNvPr>
            <p:cNvSpPr/>
            <p:nvPr/>
          </p:nvSpPr>
          <p:spPr bwMode="auto">
            <a:xfrm rot="5400000">
              <a:off x="5276680" y="2447997"/>
              <a:ext cx="1060605" cy="1259613"/>
            </a:xfrm>
            <a:custGeom>
              <a:avLst/>
              <a:gdLst>
                <a:gd name="T0" fmla="*/ 0 w 581"/>
                <a:gd name="T1" fmla="*/ 690 h 690"/>
                <a:gd name="T2" fmla="*/ 0 w 581"/>
                <a:gd name="T3" fmla="*/ 328 h 690"/>
                <a:gd name="T4" fmla="*/ 128 w 581"/>
                <a:gd name="T5" fmla="*/ 200 h 690"/>
                <a:gd name="T6" fmla="*/ 382 w 581"/>
                <a:gd name="T7" fmla="*/ 200 h 690"/>
                <a:gd name="T8" fmla="*/ 581 w 581"/>
                <a:gd name="T9" fmla="*/ 0 h 690"/>
              </a:gdLst>
              <a:ahLst/>
              <a:cxnLst>
                <a:cxn ang="0">
                  <a:pos x="T0" y="T1"/>
                </a:cxn>
                <a:cxn ang="0">
                  <a:pos x="T2" y="T3"/>
                </a:cxn>
                <a:cxn ang="0">
                  <a:pos x="T4" y="T5"/>
                </a:cxn>
                <a:cxn ang="0">
                  <a:pos x="T6" y="T7"/>
                </a:cxn>
                <a:cxn ang="0">
                  <a:pos x="T8" y="T9"/>
                </a:cxn>
              </a:cxnLst>
              <a:rect l="0" t="0" r="r" b="b"/>
              <a:pathLst>
                <a:path w="581" h="690">
                  <a:moveTo>
                    <a:pt x="0" y="690"/>
                  </a:moveTo>
                  <a:cubicBezTo>
                    <a:pt x="0" y="328"/>
                    <a:pt x="0" y="328"/>
                    <a:pt x="0" y="328"/>
                  </a:cubicBezTo>
                  <a:cubicBezTo>
                    <a:pt x="0" y="257"/>
                    <a:pt x="57" y="200"/>
                    <a:pt x="128" y="200"/>
                  </a:cubicBezTo>
                  <a:cubicBezTo>
                    <a:pt x="382" y="200"/>
                    <a:pt x="382" y="200"/>
                    <a:pt x="382" y="200"/>
                  </a:cubicBezTo>
                  <a:cubicBezTo>
                    <a:pt x="492" y="200"/>
                    <a:pt x="581" y="111"/>
                    <a:pt x="581" y="0"/>
                  </a:cubicBezTo>
                </a:path>
              </a:pathLst>
            </a:custGeom>
            <a:noFill/>
            <a:ln w="180975" cap="rnd">
              <a:solidFill>
                <a:schemeClr val="tx2">
                  <a:lumMod val="20000"/>
                  <a:lumOff val="80000"/>
                </a:schemeClr>
              </a:solidFill>
              <a:prstDash val="solid"/>
              <a:round/>
            </a:ln>
            <a:extLst>
              <a:ext uri="{909E8E84-426E-40DD-AFC4-6F175D3DCCD1}">
                <a14:hiddenFill xmlns:a14="http://schemas.microsoft.com/office/drawing/2010/main">
                  <a:solidFill>
                    <a:srgbClr val="FFFFFF"/>
                  </a:solidFill>
                </a14:hiddenFill>
              </a:ext>
            </a:extLst>
          </p:spPr>
          <p:txBody>
            <a:bodyPr anchor="ctr"/>
            <a:lstStyle/>
            <a:p>
              <a:pPr algn="ctr"/>
              <a:endParaRPr/>
            </a:p>
          </p:txBody>
        </p:sp>
        <p:sp>
          <p:nvSpPr>
            <p:cNvPr id="22" name="ïSlíḋe">
              <a:extLst>
                <a:ext uri="{FF2B5EF4-FFF2-40B4-BE49-F238E27FC236}">
                  <a16:creationId xmlns:a16="http://schemas.microsoft.com/office/drawing/2014/main" id="{D1D51334-E0BB-4D37-AB26-DF8F26FE71FE}"/>
                </a:ext>
              </a:extLst>
            </p:cNvPr>
            <p:cNvSpPr/>
            <p:nvPr/>
          </p:nvSpPr>
          <p:spPr bwMode="auto">
            <a:xfrm rot="5400000">
              <a:off x="5256625" y="3824085"/>
              <a:ext cx="1060605" cy="1299723"/>
            </a:xfrm>
            <a:custGeom>
              <a:avLst/>
              <a:gdLst>
                <a:gd name="T0" fmla="*/ 581 w 581"/>
                <a:gd name="T1" fmla="*/ 712 h 712"/>
                <a:gd name="T2" fmla="*/ 581 w 581"/>
                <a:gd name="T3" fmla="*/ 328 h 712"/>
                <a:gd name="T4" fmla="*/ 453 w 581"/>
                <a:gd name="T5" fmla="*/ 200 h 712"/>
                <a:gd name="T6" fmla="*/ 200 w 581"/>
                <a:gd name="T7" fmla="*/ 200 h 712"/>
                <a:gd name="T8" fmla="*/ 0 w 581"/>
                <a:gd name="T9" fmla="*/ 0 h 712"/>
              </a:gdLst>
              <a:ahLst/>
              <a:cxnLst>
                <a:cxn ang="0">
                  <a:pos x="T0" y="T1"/>
                </a:cxn>
                <a:cxn ang="0">
                  <a:pos x="T2" y="T3"/>
                </a:cxn>
                <a:cxn ang="0">
                  <a:pos x="T4" y="T5"/>
                </a:cxn>
                <a:cxn ang="0">
                  <a:pos x="T6" y="T7"/>
                </a:cxn>
                <a:cxn ang="0">
                  <a:pos x="T8" y="T9"/>
                </a:cxn>
              </a:cxnLst>
              <a:rect l="0" t="0" r="r" b="b"/>
              <a:pathLst>
                <a:path w="581" h="712">
                  <a:moveTo>
                    <a:pt x="581" y="712"/>
                  </a:moveTo>
                  <a:cubicBezTo>
                    <a:pt x="581" y="328"/>
                    <a:pt x="581" y="328"/>
                    <a:pt x="581" y="328"/>
                  </a:cubicBezTo>
                  <a:cubicBezTo>
                    <a:pt x="581" y="257"/>
                    <a:pt x="524" y="200"/>
                    <a:pt x="453" y="200"/>
                  </a:cubicBezTo>
                  <a:cubicBezTo>
                    <a:pt x="200" y="200"/>
                    <a:pt x="200" y="200"/>
                    <a:pt x="200" y="200"/>
                  </a:cubicBezTo>
                  <a:cubicBezTo>
                    <a:pt x="90" y="200"/>
                    <a:pt x="0" y="111"/>
                    <a:pt x="0" y="0"/>
                  </a:cubicBezTo>
                </a:path>
              </a:pathLst>
            </a:custGeom>
            <a:noFill/>
            <a:ln w="180975" cap="rnd">
              <a:solidFill>
                <a:schemeClr val="tx2">
                  <a:lumMod val="20000"/>
                  <a:lumOff val="80000"/>
                </a:schemeClr>
              </a:solidFill>
              <a:prstDash val="solid"/>
              <a:round/>
            </a:ln>
            <a:extLst>
              <a:ext uri="{909E8E84-426E-40DD-AFC4-6F175D3DCCD1}">
                <a14:hiddenFill xmlns:a14="http://schemas.microsoft.com/office/drawing/2010/main">
                  <a:solidFill>
                    <a:srgbClr val="FFFFFF"/>
                  </a:solidFill>
                </a14:hiddenFill>
              </a:ext>
            </a:extLst>
          </p:spPr>
          <p:txBody>
            <a:bodyPr anchor="ctr"/>
            <a:lstStyle/>
            <a:p>
              <a:pPr algn="ctr"/>
              <a:endParaRPr/>
            </a:p>
          </p:txBody>
        </p:sp>
        <p:sp>
          <p:nvSpPr>
            <p:cNvPr id="23" name="îṣḷíḑè">
              <a:extLst>
                <a:ext uri="{FF2B5EF4-FFF2-40B4-BE49-F238E27FC236}">
                  <a16:creationId xmlns:a16="http://schemas.microsoft.com/office/drawing/2014/main" id="{838B91F9-0100-4117-9131-E9EF32422B83}"/>
                </a:ext>
              </a:extLst>
            </p:cNvPr>
            <p:cNvSpPr/>
            <p:nvPr/>
          </p:nvSpPr>
          <p:spPr bwMode="auto">
            <a:xfrm rot="5400000">
              <a:off x="6504669" y="2100119"/>
              <a:ext cx="1177850" cy="3379281"/>
            </a:xfrm>
            <a:custGeom>
              <a:avLst/>
              <a:gdLst>
                <a:gd name="T0" fmla="*/ 0 w 645"/>
                <a:gd name="T1" fmla="*/ 1852 h 1852"/>
                <a:gd name="T2" fmla="*/ 0 w 645"/>
                <a:gd name="T3" fmla="*/ 1691 h 1852"/>
                <a:gd name="T4" fmla="*/ 65 w 645"/>
                <a:gd name="T5" fmla="*/ 1625 h 1852"/>
                <a:gd name="T6" fmla="*/ 208 w 645"/>
                <a:gd name="T7" fmla="*/ 1625 h 1852"/>
                <a:gd name="T8" fmla="*/ 407 w 645"/>
                <a:gd name="T9" fmla="*/ 1426 h 1852"/>
                <a:gd name="T10" fmla="*/ 407 w 645"/>
                <a:gd name="T11" fmla="*/ 1405 h 1852"/>
                <a:gd name="T12" fmla="*/ 407 w 645"/>
                <a:gd name="T13" fmla="*/ 676 h 1852"/>
                <a:gd name="T14" fmla="*/ 495 w 645"/>
                <a:gd name="T15" fmla="*/ 587 h 1852"/>
                <a:gd name="T16" fmla="*/ 556 w 645"/>
                <a:gd name="T17" fmla="*/ 587 h 1852"/>
                <a:gd name="T18" fmla="*/ 645 w 645"/>
                <a:gd name="T19" fmla="*/ 499 h 1852"/>
                <a:gd name="T20" fmla="*/ 633 w 645"/>
                <a:gd name="T21" fmla="*/ 454 h 1852"/>
                <a:gd name="T22" fmla="*/ 319 w 645"/>
                <a:gd name="T23" fmla="*/ 0 h 18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45" h="1852">
                  <a:moveTo>
                    <a:pt x="0" y="1852"/>
                  </a:moveTo>
                  <a:cubicBezTo>
                    <a:pt x="0" y="1691"/>
                    <a:pt x="0" y="1691"/>
                    <a:pt x="0" y="1691"/>
                  </a:cubicBezTo>
                  <a:cubicBezTo>
                    <a:pt x="0" y="1655"/>
                    <a:pt x="29" y="1625"/>
                    <a:pt x="65" y="1625"/>
                  </a:cubicBezTo>
                  <a:cubicBezTo>
                    <a:pt x="208" y="1625"/>
                    <a:pt x="208" y="1625"/>
                    <a:pt x="208" y="1625"/>
                  </a:cubicBezTo>
                  <a:cubicBezTo>
                    <a:pt x="318" y="1625"/>
                    <a:pt x="407" y="1536"/>
                    <a:pt x="407" y="1426"/>
                  </a:cubicBezTo>
                  <a:cubicBezTo>
                    <a:pt x="407" y="1405"/>
                    <a:pt x="407" y="1405"/>
                    <a:pt x="407" y="1405"/>
                  </a:cubicBezTo>
                  <a:cubicBezTo>
                    <a:pt x="407" y="676"/>
                    <a:pt x="407" y="676"/>
                    <a:pt x="407" y="676"/>
                  </a:cubicBezTo>
                  <a:cubicBezTo>
                    <a:pt x="407" y="627"/>
                    <a:pt x="446" y="587"/>
                    <a:pt x="495" y="587"/>
                  </a:cubicBezTo>
                  <a:cubicBezTo>
                    <a:pt x="556" y="587"/>
                    <a:pt x="556" y="587"/>
                    <a:pt x="556" y="587"/>
                  </a:cubicBezTo>
                  <a:cubicBezTo>
                    <a:pt x="605" y="587"/>
                    <a:pt x="645" y="548"/>
                    <a:pt x="645" y="499"/>
                  </a:cubicBezTo>
                  <a:cubicBezTo>
                    <a:pt x="645" y="482"/>
                    <a:pt x="640" y="467"/>
                    <a:pt x="633" y="454"/>
                  </a:cubicBezTo>
                  <a:cubicBezTo>
                    <a:pt x="319" y="0"/>
                    <a:pt x="319" y="0"/>
                    <a:pt x="319" y="0"/>
                  </a:cubicBezTo>
                </a:path>
              </a:pathLst>
            </a:custGeom>
            <a:noFill/>
            <a:ln w="180975" cap="rnd">
              <a:solidFill>
                <a:schemeClr val="tx2"/>
              </a:solidFill>
              <a:prstDash val="solid"/>
              <a:round/>
            </a:ln>
            <a:extLst>
              <a:ext uri="{909E8E84-426E-40DD-AFC4-6F175D3DCCD1}">
                <a14:hiddenFill xmlns:a14="http://schemas.microsoft.com/office/drawing/2010/main">
                  <a:solidFill>
                    <a:srgbClr val="FFFFFF"/>
                  </a:solidFill>
                </a14:hiddenFill>
              </a:ext>
            </a:extLst>
          </p:spPr>
          <p:txBody>
            <a:bodyPr anchor="ctr"/>
            <a:lstStyle/>
            <a:p>
              <a:pPr algn="ctr"/>
              <a:endParaRPr/>
            </a:p>
          </p:txBody>
        </p:sp>
        <p:sp>
          <p:nvSpPr>
            <p:cNvPr id="24" name="îśḷîďè">
              <a:extLst>
                <a:ext uri="{FF2B5EF4-FFF2-40B4-BE49-F238E27FC236}">
                  <a16:creationId xmlns:a16="http://schemas.microsoft.com/office/drawing/2014/main" id="{2186FE10-6671-4FB6-AC91-BCA7DE7C6445}"/>
                </a:ext>
              </a:extLst>
            </p:cNvPr>
            <p:cNvSpPr/>
            <p:nvPr/>
          </p:nvSpPr>
          <p:spPr bwMode="auto">
            <a:xfrm rot="5400000">
              <a:off x="6504669" y="2074665"/>
              <a:ext cx="1177850" cy="3379281"/>
            </a:xfrm>
            <a:custGeom>
              <a:avLst/>
              <a:gdLst>
                <a:gd name="T0" fmla="*/ 645 w 645"/>
                <a:gd name="T1" fmla="*/ 1852 h 1852"/>
                <a:gd name="T2" fmla="*/ 645 w 645"/>
                <a:gd name="T3" fmla="*/ 1691 h 1852"/>
                <a:gd name="T4" fmla="*/ 579 w 645"/>
                <a:gd name="T5" fmla="*/ 1625 h 1852"/>
                <a:gd name="T6" fmla="*/ 437 w 645"/>
                <a:gd name="T7" fmla="*/ 1625 h 1852"/>
                <a:gd name="T8" fmla="*/ 237 w 645"/>
                <a:gd name="T9" fmla="*/ 1426 h 1852"/>
                <a:gd name="T10" fmla="*/ 238 w 645"/>
                <a:gd name="T11" fmla="*/ 1405 h 1852"/>
                <a:gd name="T12" fmla="*/ 238 w 645"/>
                <a:gd name="T13" fmla="*/ 676 h 1852"/>
                <a:gd name="T14" fmla="*/ 149 w 645"/>
                <a:gd name="T15" fmla="*/ 587 h 1852"/>
                <a:gd name="T16" fmla="*/ 88 w 645"/>
                <a:gd name="T17" fmla="*/ 587 h 1852"/>
                <a:gd name="T18" fmla="*/ 0 w 645"/>
                <a:gd name="T19" fmla="*/ 499 h 1852"/>
                <a:gd name="T20" fmla="*/ 12 w 645"/>
                <a:gd name="T21" fmla="*/ 454 h 1852"/>
                <a:gd name="T22" fmla="*/ 325 w 645"/>
                <a:gd name="T23" fmla="*/ 0 h 18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45" h="1852">
                  <a:moveTo>
                    <a:pt x="645" y="1852"/>
                  </a:moveTo>
                  <a:cubicBezTo>
                    <a:pt x="645" y="1691"/>
                    <a:pt x="645" y="1691"/>
                    <a:pt x="645" y="1691"/>
                  </a:cubicBezTo>
                  <a:cubicBezTo>
                    <a:pt x="645" y="1655"/>
                    <a:pt x="615" y="1625"/>
                    <a:pt x="579" y="1625"/>
                  </a:cubicBezTo>
                  <a:cubicBezTo>
                    <a:pt x="437" y="1625"/>
                    <a:pt x="437" y="1625"/>
                    <a:pt x="437" y="1625"/>
                  </a:cubicBezTo>
                  <a:cubicBezTo>
                    <a:pt x="327" y="1625"/>
                    <a:pt x="237" y="1536"/>
                    <a:pt x="237" y="1426"/>
                  </a:cubicBezTo>
                  <a:cubicBezTo>
                    <a:pt x="238" y="1405"/>
                    <a:pt x="238" y="1405"/>
                    <a:pt x="238" y="1405"/>
                  </a:cubicBezTo>
                  <a:cubicBezTo>
                    <a:pt x="238" y="676"/>
                    <a:pt x="238" y="676"/>
                    <a:pt x="238" y="676"/>
                  </a:cubicBezTo>
                  <a:cubicBezTo>
                    <a:pt x="238" y="627"/>
                    <a:pt x="198" y="587"/>
                    <a:pt x="149" y="587"/>
                  </a:cubicBezTo>
                  <a:cubicBezTo>
                    <a:pt x="88" y="587"/>
                    <a:pt x="88" y="587"/>
                    <a:pt x="88" y="587"/>
                  </a:cubicBezTo>
                  <a:cubicBezTo>
                    <a:pt x="39" y="587"/>
                    <a:pt x="0" y="548"/>
                    <a:pt x="0" y="499"/>
                  </a:cubicBezTo>
                  <a:cubicBezTo>
                    <a:pt x="0" y="482"/>
                    <a:pt x="4" y="467"/>
                    <a:pt x="12" y="454"/>
                  </a:cubicBezTo>
                  <a:cubicBezTo>
                    <a:pt x="325" y="0"/>
                    <a:pt x="325" y="0"/>
                    <a:pt x="325" y="0"/>
                  </a:cubicBezTo>
                </a:path>
              </a:pathLst>
            </a:custGeom>
            <a:noFill/>
            <a:ln w="180975" cap="rnd">
              <a:solidFill>
                <a:schemeClr val="accent1"/>
              </a:solidFill>
              <a:prstDash val="solid"/>
              <a:round/>
            </a:ln>
            <a:extLst>
              <a:ext uri="{909E8E84-426E-40DD-AFC4-6F175D3DCCD1}">
                <a14:hiddenFill xmlns:a14="http://schemas.microsoft.com/office/drawing/2010/main">
                  <a:solidFill>
                    <a:srgbClr val="FFFFFF"/>
                  </a:solidFill>
                </a14:hiddenFill>
              </a:ext>
            </a:extLst>
          </p:spPr>
          <p:txBody>
            <a:bodyPr anchor="ctr"/>
            <a:lstStyle/>
            <a:p>
              <a:pPr algn="ctr"/>
              <a:endParaRPr/>
            </a:p>
          </p:txBody>
        </p:sp>
        <p:sp>
          <p:nvSpPr>
            <p:cNvPr id="25" name="iśḷiḍè">
              <a:extLst>
                <a:ext uri="{FF2B5EF4-FFF2-40B4-BE49-F238E27FC236}">
                  <a16:creationId xmlns:a16="http://schemas.microsoft.com/office/drawing/2014/main" id="{93F329D4-2C09-4592-A91C-1132E72174E2}"/>
                </a:ext>
              </a:extLst>
            </p:cNvPr>
            <p:cNvSpPr/>
            <p:nvPr/>
          </p:nvSpPr>
          <p:spPr bwMode="auto">
            <a:xfrm>
              <a:off x="4677399" y="4789690"/>
              <a:ext cx="460133" cy="459200"/>
            </a:xfrm>
            <a:prstGeom prst="ellipse">
              <a:avLst/>
            </a:prstGeom>
            <a:noFill/>
            <a:ln w="180975" cap="rnd">
              <a:solidFill>
                <a:schemeClr val="tx2">
                  <a:lumMod val="20000"/>
                  <a:lumOff val="80000"/>
                </a:schemeClr>
              </a:solidFill>
              <a:prstDash val="solid"/>
              <a:round/>
            </a:ln>
            <a:extLst>
              <a:ext uri="{909E8E84-426E-40DD-AFC4-6F175D3DCCD1}">
                <a14:hiddenFill xmlns:a14="http://schemas.microsoft.com/office/drawing/2010/main">
                  <a:solidFill>
                    <a:srgbClr val="FFFFFF"/>
                  </a:solidFill>
                </a14:hiddenFill>
              </a:ext>
            </a:extLst>
          </p:spPr>
          <p:txBody>
            <a:bodyPr anchor="ctr"/>
            <a:lstStyle/>
            <a:p>
              <a:pPr algn="ctr"/>
              <a:endParaRPr/>
            </a:p>
          </p:txBody>
        </p:sp>
        <p:sp>
          <p:nvSpPr>
            <p:cNvPr id="26" name="ïşļïḋe">
              <a:extLst>
                <a:ext uri="{FF2B5EF4-FFF2-40B4-BE49-F238E27FC236}">
                  <a16:creationId xmlns:a16="http://schemas.microsoft.com/office/drawing/2014/main" id="{1512B009-9694-41D8-93B9-FCAB32AF5EFB}"/>
                </a:ext>
              </a:extLst>
            </p:cNvPr>
            <p:cNvSpPr/>
            <p:nvPr/>
          </p:nvSpPr>
          <p:spPr bwMode="auto">
            <a:xfrm>
              <a:off x="4706579" y="2383468"/>
              <a:ext cx="401774" cy="400958"/>
            </a:xfrm>
            <a:prstGeom prst="ellipse">
              <a:avLst/>
            </a:prstGeom>
            <a:noFill/>
            <a:ln w="180975" cap="rnd">
              <a:solidFill>
                <a:schemeClr val="tx2">
                  <a:lumMod val="20000"/>
                  <a:lumOff val="80000"/>
                </a:schemeClr>
              </a:solidFill>
              <a:prstDash val="solid"/>
              <a:round/>
            </a:ln>
            <a:extLst>
              <a:ext uri="{909E8E84-426E-40DD-AFC4-6F175D3DCCD1}">
                <a14:hiddenFill xmlns:a14="http://schemas.microsoft.com/office/drawing/2010/main">
                  <a:solidFill>
                    <a:srgbClr val="FFFFFF"/>
                  </a:solidFill>
                </a14:hiddenFill>
              </a:ext>
            </a:extLst>
          </p:spPr>
          <p:txBody>
            <a:bodyPr anchor="ctr"/>
            <a:lstStyle/>
            <a:p>
              <a:pPr algn="ctr"/>
              <a:endParaRPr/>
            </a:p>
          </p:txBody>
        </p:sp>
        <p:sp>
          <p:nvSpPr>
            <p:cNvPr id="27" name="í$liḍe">
              <a:extLst>
                <a:ext uri="{FF2B5EF4-FFF2-40B4-BE49-F238E27FC236}">
                  <a16:creationId xmlns:a16="http://schemas.microsoft.com/office/drawing/2014/main" id="{3E68E220-7892-4D49-87F3-4CFBB8EE6D8E}"/>
                </a:ext>
              </a:extLst>
            </p:cNvPr>
            <p:cNvSpPr/>
            <p:nvPr/>
          </p:nvSpPr>
          <p:spPr bwMode="auto">
            <a:xfrm>
              <a:off x="5048010" y="3073216"/>
              <a:ext cx="306328" cy="305705"/>
            </a:xfrm>
            <a:prstGeom prst="ellipse">
              <a:avLst/>
            </a:prstGeom>
            <a:noFill/>
            <a:ln w="127000" cap="rnd">
              <a:solidFill>
                <a:schemeClr val="tx2"/>
              </a:solidFill>
              <a:prstDash val="solid"/>
              <a:round/>
            </a:ln>
            <a:extLst>
              <a:ext uri="{909E8E84-426E-40DD-AFC4-6F175D3DCCD1}">
                <a14:hiddenFill xmlns:a14="http://schemas.microsoft.com/office/drawing/2010/main">
                  <a:solidFill>
                    <a:srgbClr val="FFFFFF"/>
                  </a:solidFill>
                </a14:hiddenFill>
              </a:ext>
            </a:extLst>
          </p:spPr>
          <p:txBody>
            <a:bodyPr anchor="ctr"/>
            <a:lstStyle/>
            <a:p>
              <a:pPr algn="ctr"/>
              <a:endParaRPr/>
            </a:p>
          </p:txBody>
        </p:sp>
        <p:sp>
          <p:nvSpPr>
            <p:cNvPr id="28" name="íśļïḍè">
              <a:extLst>
                <a:ext uri="{FF2B5EF4-FFF2-40B4-BE49-F238E27FC236}">
                  <a16:creationId xmlns:a16="http://schemas.microsoft.com/office/drawing/2014/main" id="{A986318A-6B6D-4D2B-8E82-AF4F038D72AC}"/>
                </a:ext>
              </a:extLst>
            </p:cNvPr>
            <p:cNvSpPr/>
            <p:nvPr/>
          </p:nvSpPr>
          <p:spPr bwMode="auto">
            <a:xfrm>
              <a:off x="5048010" y="4198062"/>
              <a:ext cx="306328" cy="305705"/>
            </a:xfrm>
            <a:prstGeom prst="ellipse">
              <a:avLst/>
            </a:prstGeom>
            <a:noFill/>
            <a:ln w="127000" cap="rnd">
              <a:solidFill>
                <a:schemeClr val="accent1"/>
              </a:solidFill>
              <a:prstDash val="solid"/>
              <a:round/>
            </a:ln>
            <a:extLst>
              <a:ext uri="{909E8E84-426E-40DD-AFC4-6F175D3DCCD1}">
                <a14:hiddenFill xmlns:a14="http://schemas.microsoft.com/office/drawing/2010/main">
                  <a:solidFill>
                    <a:srgbClr val="FFFFFF"/>
                  </a:solidFill>
                </a14:hiddenFill>
              </a:ext>
            </a:extLst>
          </p:spPr>
          <p:txBody>
            <a:bodyPr anchor="ctr"/>
            <a:lstStyle/>
            <a:p>
              <a:pPr algn="ctr"/>
              <a:endParaRPr/>
            </a:p>
          </p:txBody>
        </p:sp>
        <p:sp>
          <p:nvSpPr>
            <p:cNvPr id="20" name="íṣḻíde">
              <a:extLst>
                <a:ext uri="{FF2B5EF4-FFF2-40B4-BE49-F238E27FC236}">
                  <a16:creationId xmlns:a16="http://schemas.microsoft.com/office/drawing/2014/main" id="{10F54B13-5252-4210-A7D5-BAFCA3C0C07A}"/>
                </a:ext>
              </a:extLst>
            </p:cNvPr>
            <p:cNvSpPr txBox="1"/>
            <p:nvPr/>
          </p:nvSpPr>
          <p:spPr bwMode="auto">
            <a:xfrm>
              <a:off x="8932332" y="2756880"/>
              <a:ext cx="1498614" cy="2065757"/>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90000" tIns="46800" rIns="90000" bIns="46800" anchor="ctr">
              <a:no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eaLnBrk="1" hangingPunct="1">
                <a:lnSpc>
                  <a:spcPct val="100000"/>
                </a:lnSpc>
                <a:spcBef>
                  <a:spcPct val="0"/>
                </a:spcBef>
              </a:pPr>
              <a:r>
                <a:rPr lang="zh-CN" altLang="en-US" sz="2800" b="1" dirty="0" smtClean="0">
                  <a:latin typeface="+mn-ea"/>
                </a:rPr>
                <a:t>质量</a:t>
              </a:r>
              <a:endParaRPr lang="en-US" altLang="zh-CN" sz="2800" b="1" dirty="0" smtClean="0">
                <a:latin typeface="+mn-ea"/>
              </a:endParaRPr>
            </a:p>
            <a:p>
              <a:pPr eaLnBrk="1" hangingPunct="1">
                <a:lnSpc>
                  <a:spcPct val="100000"/>
                </a:lnSpc>
                <a:spcBef>
                  <a:spcPct val="0"/>
                </a:spcBef>
              </a:pPr>
              <a:endParaRPr lang="en-US" altLang="zh-CN" sz="2800" b="1" dirty="0" smtClean="0">
                <a:latin typeface="+mn-ea"/>
              </a:endParaRPr>
            </a:p>
            <a:p>
              <a:pPr eaLnBrk="1" hangingPunct="1">
                <a:lnSpc>
                  <a:spcPct val="100000"/>
                </a:lnSpc>
                <a:spcBef>
                  <a:spcPct val="0"/>
                </a:spcBef>
              </a:pPr>
              <a:r>
                <a:rPr lang="zh-CN" altLang="en-US" sz="2800" b="1" dirty="0">
                  <a:latin typeface="+mn-ea"/>
                </a:rPr>
                <a:t>产量</a:t>
              </a:r>
              <a:endParaRPr lang="en-US" altLang="zh-CN" sz="2800" b="1" dirty="0">
                <a:latin typeface="+mn-ea"/>
              </a:endParaRPr>
            </a:p>
          </p:txBody>
        </p:sp>
        <p:sp>
          <p:nvSpPr>
            <p:cNvPr id="9" name="íṣľîdè">
              <a:extLst>
                <a:ext uri="{FF2B5EF4-FFF2-40B4-BE49-F238E27FC236}">
                  <a16:creationId xmlns:a16="http://schemas.microsoft.com/office/drawing/2014/main" id="{5418B78D-7FA3-4212-893D-9C528CD1C715}"/>
                </a:ext>
              </a:extLst>
            </p:cNvPr>
            <p:cNvSpPr txBox="1"/>
            <p:nvPr/>
          </p:nvSpPr>
          <p:spPr bwMode="auto">
            <a:xfrm>
              <a:off x="1312393" y="1838991"/>
              <a:ext cx="3365005" cy="4128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0000" tIns="46800" rIns="90000" bIns="46800">
              <a:no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eaLnBrk="1" hangingPunct="1">
                <a:lnSpc>
                  <a:spcPct val="100000"/>
                </a:lnSpc>
                <a:spcBef>
                  <a:spcPct val="0"/>
                </a:spcBef>
                <a:buFontTx/>
                <a:buNone/>
              </a:pPr>
              <a:r>
                <a:rPr lang="zh-CN" altLang="en-US" sz="1400" b="1" dirty="0" smtClean="0"/>
                <a:t>员工权限明确</a:t>
              </a:r>
              <a:endParaRPr lang="en-US" altLang="zh-CN" sz="1400" b="1" dirty="0"/>
            </a:p>
          </p:txBody>
        </p:sp>
        <p:sp>
          <p:nvSpPr>
            <p:cNvPr id="11" name="ïsḻíḓe">
              <a:extLst>
                <a:ext uri="{FF2B5EF4-FFF2-40B4-BE49-F238E27FC236}">
                  <a16:creationId xmlns:a16="http://schemas.microsoft.com/office/drawing/2014/main" id="{3E67EE89-6570-4900-89C4-2BB7B2CD9602}"/>
                </a:ext>
              </a:extLst>
            </p:cNvPr>
            <p:cNvSpPr txBox="1"/>
            <p:nvPr/>
          </p:nvSpPr>
          <p:spPr bwMode="auto">
            <a:xfrm>
              <a:off x="1312393" y="3006417"/>
              <a:ext cx="3365005" cy="4128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0000" tIns="46800" rIns="90000" bIns="46800">
              <a:no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eaLnBrk="1" hangingPunct="1">
                <a:lnSpc>
                  <a:spcPct val="100000"/>
                </a:lnSpc>
                <a:spcBef>
                  <a:spcPct val="0"/>
                </a:spcBef>
                <a:buFontTx/>
                <a:buNone/>
              </a:pPr>
              <a:r>
                <a:rPr lang="zh-CN" altLang="en-US" sz="1400" b="1" dirty="0" smtClean="0"/>
                <a:t>流程清晰明朗</a:t>
              </a:r>
              <a:endParaRPr lang="en-US" altLang="zh-CN" sz="1400" b="1" dirty="0"/>
            </a:p>
          </p:txBody>
        </p:sp>
        <p:sp>
          <p:nvSpPr>
            <p:cNvPr id="13" name="iş1iḍê">
              <a:extLst>
                <a:ext uri="{FF2B5EF4-FFF2-40B4-BE49-F238E27FC236}">
                  <a16:creationId xmlns:a16="http://schemas.microsoft.com/office/drawing/2014/main" id="{79B003B9-4875-4123-9113-CCF125DD1703}"/>
                </a:ext>
              </a:extLst>
            </p:cNvPr>
            <p:cNvSpPr txBox="1"/>
            <p:nvPr/>
          </p:nvSpPr>
          <p:spPr bwMode="auto">
            <a:xfrm>
              <a:off x="1312393" y="4126555"/>
              <a:ext cx="3365005" cy="4128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0000" tIns="46800" rIns="90000" bIns="46800">
              <a:no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a:spcBef>
                  <a:spcPct val="0"/>
                </a:spcBef>
              </a:pPr>
              <a:r>
                <a:rPr lang="zh-CN" altLang="en-US" sz="1400" b="1" dirty="0"/>
                <a:t>产线实时</a:t>
              </a:r>
              <a:r>
                <a:rPr lang="zh-CN" altLang="en-US" sz="1400" b="1" dirty="0" smtClean="0"/>
                <a:t>监控</a:t>
              </a:r>
              <a:endParaRPr lang="en-US" altLang="zh-CN" sz="1400" b="1" dirty="0"/>
            </a:p>
          </p:txBody>
        </p:sp>
        <p:sp>
          <p:nvSpPr>
            <p:cNvPr id="15" name="ïṧlïḑè">
              <a:extLst>
                <a:ext uri="{FF2B5EF4-FFF2-40B4-BE49-F238E27FC236}">
                  <a16:creationId xmlns:a16="http://schemas.microsoft.com/office/drawing/2014/main" id="{D52DA379-E0A7-477E-A46B-45606917D879}"/>
                </a:ext>
              </a:extLst>
            </p:cNvPr>
            <p:cNvSpPr txBox="1"/>
            <p:nvPr/>
          </p:nvSpPr>
          <p:spPr bwMode="auto">
            <a:xfrm>
              <a:off x="1296627" y="5152097"/>
              <a:ext cx="3365005" cy="4128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0000" tIns="46800" rIns="90000" bIns="46800">
              <a:no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eaLnBrk="1" hangingPunct="1">
                <a:lnSpc>
                  <a:spcPct val="100000"/>
                </a:lnSpc>
                <a:spcBef>
                  <a:spcPct val="0"/>
                </a:spcBef>
                <a:buFontTx/>
                <a:buNone/>
              </a:pPr>
              <a:r>
                <a:rPr lang="zh-CN" altLang="en-US" sz="1400" b="1" dirty="0" smtClean="0"/>
                <a:t>日志记录 问题追溯</a:t>
              </a:r>
              <a:endParaRPr lang="en-US" altLang="zh-CN" sz="1400" b="1" dirty="0"/>
            </a:p>
          </p:txBody>
        </p:sp>
        <p:cxnSp>
          <p:nvCxnSpPr>
            <p:cNvPr id="16" name="直接连接符 15">
              <a:extLst>
                <a:ext uri="{FF2B5EF4-FFF2-40B4-BE49-F238E27FC236}">
                  <a16:creationId xmlns:a16="http://schemas.microsoft.com/office/drawing/2014/main" id="{936A4828-D9FA-427A-B9F6-B4516838FD8F}"/>
                </a:ext>
              </a:extLst>
            </p:cNvPr>
            <p:cNvCxnSpPr/>
            <p:nvPr/>
          </p:nvCxnSpPr>
          <p:spPr>
            <a:xfrm>
              <a:off x="1312393" y="2267262"/>
              <a:ext cx="3167921" cy="0"/>
            </a:xfrm>
            <a:prstGeom prst="line">
              <a:avLst/>
            </a:prstGeom>
            <a:ln w="3175" cap="rnd">
              <a:solidFill>
                <a:schemeClr val="bg1">
                  <a:lumMod val="75000"/>
                </a:schemeClr>
              </a:solidFill>
              <a:round/>
              <a:headEnd type="none"/>
              <a:tailEnd type="none" w="med" len="med"/>
            </a:ln>
          </p:spPr>
          <p:style>
            <a:lnRef idx="1">
              <a:schemeClr val="accent1"/>
            </a:lnRef>
            <a:fillRef idx="0">
              <a:schemeClr val="accent1"/>
            </a:fillRef>
            <a:effectRef idx="0">
              <a:schemeClr val="accent1"/>
            </a:effectRef>
            <a:fontRef idx="minor">
              <a:schemeClr val="tx1"/>
            </a:fontRef>
          </p:style>
        </p:cxnSp>
        <p:cxnSp>
          <p:nvCxnSpPr>
            <p:cNvPr id="17" name="直接连接符 16">
              <a:extLst>
                <a:ext uri="{FF2B5EF4-FFF2-40B4-BE49-F238E27FC236}">
                  <a16:creationId xmlns:a16="http://schemas.microsoft.com/office/drawing/2014/main" id="{6A17A22C-AF39-447E-8093-9D88AEC21EB7}"/>
                </a:ext>
              </a:extLst>
            </p:cNvPr>
            <p:cNvCxnSpPr/>
            <p:nvPr/>
          </p:nvCxnSpPr>
          <p:spPr>
            <a:xfrm>
              <a:off x="1312393" y="3398946"/>
              <a:ext cx="3167921" cy="0"/>
            </a:xfrm>
            <a:prstGeom prst="line">
              <a:avLst/>
            </a:prstGeom>
            <a:ln w="3175" cap="rnd">
              <a:solidFill>
                <a:schemeClr val="bg1">
                  <a:lumMod val="75000"/>
                </a:schemeClr>
              </a:solidFill>
              <a:round/>
              <a:headEnd type="none"/>
              <a:tailEnd type="none" w="med" len="med"/>
            </a:ln>
          </p:spPr>
          <p:style>
            <a:lnRef idx="1">
              <a:schemeClr val="accent1"/>
            </a:lnRef>
            <a:fillRef idx="0">
              <a:schemeClr val="accent1"/>
            </a:fillRef>
            <a:effectRef idx="0">
              <a:schemeClr val="accent1"/>
            </a:effectRef>
            <a:fontRef idx="minor">
              <a:schemeClr val="tx1"/>
            </a:fontRef>
          </p:style>
        </p:cxnSp>
        <p:cxnSp>
          <p:nvCxnSpPr>
            <p:cNvPr id="18" name="直接连接符 17">
              <a:extLst>
                <a:ext uri="{FF2B5EF4-FFF2-40B4-BE49-F238E27FC236}">
                  <a16:creationId xmlns:a16="http://schemas.microsoft.com/office/drawing/2014/main" id="{E2B56A8F-669B-466E-95B5-D793B2334CA2}"/>
                </a:ext>
              </a:extLst>
            </p:cNvPr>
            <p:cNvCxnSpPr/>
            <p:nvPr/>
          </p:nvCxnSpPr>
          <p:spPr>
            <a:xfrm>
              <a:off x="1312393" y="4530630"/>
              <a:ext cx="3167921" cy="0"/>
            </a:xfrm>
            <a:prstGeom prst="line">
              <a:avLst/>
            </a:prstGeom>
            <a:ln w="3175" cap="rnd">
              <a:solidFill>
                <a:schemeClr val="bg1">
                  <a:lumMod val="75000"/>
                </a:schemeClr>
              </a:solidFill>
              <a:round/>
              <a:headEnd type="none"/>
              <a:tailEnd type="none" w="med" len="med"/>
            </a:ln>
          </p:spPr>
          <p:style>
            <a:lnRef idx="1">
              <a:schemeClr val="accent1"/>
            </a:lnRef>
            <a:fillRef idx="0">
              <a:schemeClr val="accent1"/>
            </a:fillRef>
            <a:effectRef idx="0">
              <a:schemeClr val="accent1"/>
            </a:effectRef>
            <a:fontRef idx="minor">
              <a:schemeClr val="tx1"/>
            </a:fontRef>
          </p:style>
        </p:cxnSp>
        <p:cxnSp>
          <p:nvCxnSpPr>
            <p:cNvPr id="29" name="直接连接符 28">
              <a:extLst>
                <a:ext uri="{FF2B5EF4-FFF2-40B4-BE49-F238E27FC236}">
                  <a16:creationId xmlns:a16="http://schemas.microsoft.com/office/drawing/2014/main" id="{E2B56A8F-669B-466E-95B5-D793B2334CA2}"/>
                </a:ext>
              </a:extLst>
            </p:cNvPr>
            <p:cNvCxnSpPr/>
            <p:nvPr/>
          </p:nvCxnSpPr>
          <p:spPr>
            <a:xfrm>
              <a:off x="1277361" y="5564978"/>
              <a:ext cx="3167921" cy="0"/>
            </a:xfrm>
            <a:prstGeom prst="line">
              <a:avLst/>
            </a:prstGeom>
            <a:ln w="3175" cap="rnd">
              <a:solidFill>
                <a:schemeClr val="bg1">
                  <a:lumMod val="75000"/>
                </a:schemeClr>
              </a:solidFill>
              <a:round/>
              <a:headEnd type="none"/>
              <a:tailEnd type="none" w="med" len="med"/>
            </a:ln>
          </p:spPr>
          <p:style>
            <a:lnRef idx="1">
              <a:schemeClr val="accent1"/>
            </a:lnRef>
            <a:fillRef idx="0">
              <a:schemeClr val="accent1"/>
            </a:fillRef>
            <a:effectRef idx="0">
              <a:schemeClr val="accent1"/>
            </a:effectRef>
            <a:fontRef idx="minor">
              <a:schemeClr val="tx1"/>
            </a:fontRef>
          </p:style>
        </p:cxnSp>
        <p:sp>
          <p:nvSpPr>
            <p:cNvPr id="5" name="下箭头 4"/>
            <p:cNvSpPr/>
            <p:nvPr/>
          </p:nvSpPr>
          <p:spPr>
            <a:xfrm flipV="1">
              <a:off x="10430948" y="2624843"/>
              <a:ext cx="873211" cy="2164846"/>
            </a:xfrm>
            <a:prstGeom prst="downArrow">
              <a:avLst/>
            </a:prstGeom>
            <a:solidFill>
              <a:srgbClr val="00B0F0"/>
            </a:solidFill>
            <a:ln>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aphicFrame>
        <p:nvGraphicFramePr>
          <p:cNvPr id="30" name="内容占位符 9"/>
          <p:cNvGraphicFramePr>
            <a:graphicFrameLocks/>
          </p:cNvGraphicFramePr>
          <p:nvPr>
            <p:extLst>
              <p:ext uri="{D42A27DB-BD31-4B8C-83A1-F6EECF244321}">
                <p14:modId xmlns:p14="http://schemas.microsoft.com/office/powerpoint/2010/main" val="2578868948"/>
              </p:ext>
            </p:extLst>
          </p:nvPr>
        </p:nvGraphicFramePr>
        <p:xfrm>
          <a:off x="6516474" y="1601461"/>
          <a:ext cx="5029200" cy="4191000"/>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992214881"/>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ISLIDE TOOLS.GUIDESSETTING" val="{&quot;Id&quot;:&quot;2d4375ee-8516-45e0-8956-45702a61a9b6&quot;,&quot;Name&quot;:&quot;iSlide&quot;,&quot;HeaderHeight&quot;:15.0,&quot;FooterHeight&quot;:9.0000000000000036,&quot;SideMargin&quot;:5.4999999999999982,&quot;TopMargin&quot;:0.0,&quot;BottomMargin&quot;:0.0,&quot;IntervalMargin&quot;:1.3999999999999997}"/>
  <p:tag name="ISLIDE.THEME" val="1129a22e-a5b3-487b-af29-28f4aa8a399a"/>
</p:tagLst>
</file>

<file path=ppt/tags/tag10.xml><?xml version="1.0" encoding="utf-8"?>
<p:tagLst xmlns:a="http://schemas.openxmlformats.org/drawingml/2006/main" xmlns:r="http://schemas.openxmlformats.org/officeDocument/2006/relationships" xmlns:p="http://schemas.openxmlformats.org/presentationml/2006/main">
  <p:tag name="ISLIDE.DIAGRAM" val="eb9ba11a-87f2-480a-92a1-33ab3fd45950"/>
</p:tagLst>
</file>

<file path=ppt/tags/tag11.xml><?xml version="1.0" encoding="utf-8"?>
<p:tagLst xmlns:a="http://schemas.openxmlformats.org/drawingml/2006/main" xmlns:r="http://schemas.openxmlformats.org/officeDocument/2006/relationships" xmlns:p="http://schemas.openxmlformats.org/presentationml/2006/main">
  <p:tag name="ISLIDE.DIAGRAM" val="eb9ba11a-87f2-480a-92a1-33ab3fd45950"/>
</p:tagLst>
</file>

<file path=ppt/tags/tag2.xml><?xml version="1.0" encoding="utf-8"?>
<p:tagLst xmlns:a="http://schemas.openxmlformats.org/drawingml/2006/main" xmlns:r="http://schemas.openxmlformats.org/officeDocument/2006/relationships" xmlns:p="http://schemas.openxmlformats.org/presentationml/2006/main">
  <p:tag name="ISLIDE.DIAGRAM" val="d24af4d3-2ce9-43ee-b8d4-1a224eca20fd"/>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1Smkff3fSzGMOuItfjj3Fw"/>
</p:tagLst>
</file>

<file path=ppt/tags/tag5.xml><?xml version="1.0" encoding="utf-8"?>
<p:tagLst xmlns:a="http://schemas.openxmlformats.org/drawingml/2006/main" xmlns:r="http://schemas.openxmlformats.org/officeDocument/2006/relationships" xmlns:p="http://schemas.openxmlformats.org/presentationml/2006/main">
  <p:tag name="ISLIDE.VECTOR" val="b8d461c5-096d-4cce-8f13-312b2c5f134e"/>
</p:tagLst>
</file>

<file path=ppt/tags/tag6.xml><?xml version="1.0" encoding="utf-8"?>
<p:tagLst xmlns:a="http://schemas.openxmlformats.org/drawingml/2006/main" xmlns:r="http://schemas.openxmlformats.org/officeDocument/2006/relationships" xmlns:p="http://schemas.openxmlformats.org/presentationml/2006/main">
  <p:tag name="ISLIDE.DIAGRAM" val="b15d545d-6a15-46b3-895f-c24e208876c5"/>
</p:tagLst>
</file>

<file path=ppt/tags/tag7.xml><?xml version="1.0" encoding="utf-8"?>
<p:tagLst xmlns:a="http://schemas.openxmlformats.org/drawingml/2006/main" xmlns:r="http://schemas.openxmlformats.org/officeDocument/2006/relationships" xmlns:p="http://schemas.openxmlformats.org/presentationml/2006/main">
  <p:tag name="ISLIDE.DIAGRAM" val="eb9ba11a-87f2-480a-92a1-33ab3fd45950"/>
</p:tagLst>
</file>

<file path=ppt/tags/tag8.xml><?xml version="1.0" encoding="utf-8"?>
<p:tagLst xmlns:a="http://schemas.openxmlformats.org/drawingml/2006/main" xmlns:r="http://schemas.openxmlformats.org/officeDocument/2006/relationships" xmlns:p="http://schemas.openxmlformats.org/presentationml/2006/main">
  <p:tag name="ISLIDE.DIAGRAM" val="eb9ba11a-87f2-480a-92a1-33ab3fd45950"/>
</p:tagLst>
</file>

<file path=ppt/tags/tag9.xml><?xml version="1.0" encoding="utf-8"?>
<p:tagLst xmlns:a="http://schemas.openxmlformats.org/drawingml/2006/main" xmlns:r="http://schemas.openxmlformats.org/officeDocument/2006/relationships" xmlns:p="http://schemas.openxmlformats.org/presentationml/2006/main">
  <p:tag name="ISLIDE.DIAGRAM" val="eb9ba11a-87f2-480a-92a1-33ab3fd45950"/>
</p:tagLst>
</file>

<file path=ppt/theme/theme1.xml><?xml version="1.0" encoding="utf-8"?>
<a:theme xmlns:a="http://schemas.openxmlformats.org/drawingml/2006/main" name="主题5">
  <a:themeElements>
    <a:clrScheme name="1">
      <a:dk1>
        <a:srgbClr val="000000"/>
      </a:dk1>
      <a:lt1>
        <a:srgbClr val="FFFFFF"/>
      </a:lt1>
      <a:dk2>
        <a:srgbClr val="778495"/>
      </a:dk2>
      <a:lt2>
        <a:srgbClr val="F0F0F0"/>
      </a:lt2>
      <a:accent1>
        <a:srgbClr val="FFB535"/>
      </a:accent1>
      <a:accent2>
        <a:srgbClr val="00ADEF"/>
      </a:accent2>
      <a:accent3>
        <a:srgbClr val="4D4D4D"/>
      </a:accent3>
      <a:accent4>
        <a:srgbClr val="567BAE"/>
      </a:accent4>
      <a:accent5>
        <a:srgbClr val="FFB535"/>
      </a:accent5>
      <a:accent6>
        <a:srgbClr val="00ADEF"/>
      </a:accent6>
      <a:hlink>
        <a:srgbClr val="475F77"/>
      </a:hlink>
      <a:folHlink>
        <a:srgbClr val="BFBFBF"/>
      </a:folHlink>
    </a:clrScheme>
    <a:fontScheme name="Temp">
      <a:majorFont>
        <a:latin typeface="Arial"/>
        <a:ea typeface="微软雅黑"/>
        <a:cs typeface=""/>
      </a:majorFont>
      <a:minorFont>
        <a:latin typeface="Arial"/>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主题5" id="{B8EDB911-D765-4A7B-BBC7-40DBB672FBA6}" vid="{AECAB1C0-5DF6-436C-85E8-20094DBE11C0}"/>
    </a:ext>
  </a:extLst>
</a:theme>
</file>

<file path=ppt/theme/theme2.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1">
    <a:dk1>
      <a:srgbClr val="000000"/>
    </a:dk1>
    <a:lt1>
      <a:srgbClr val="FFFFFF"/>
    </a:lt1>
    <a:dk2>
      <a:srgbClr val="778495"/>
    </a:dk2>
    <a:lt2>
      <a:srgbClr val="F0F0F0"/>
    </a:lt2>
    <a:accent1>
      <a:srgbClr val="FFB535"/>
    </a:accent1>
    <a:accent2>
      <a:srgbClr val="00ADEF"/>
    </a:accent2>
    <a:accent3>
      <a:srgbClr val="4D4D4D"/>
    </a:accent3>
    <a:accent4>
      <a:srgbClr val="567BAE"/>
    </a:accent4>
    <a:accent5>
      <a:srgbClr val="FFB535"/>
    </a:accent5>
    <a:accent6>
      <a:srgbClr val="00ADEF"/>
    </a:accent6>
    <a:hlink>
      <a:srgbClr val="475F77"/>
    </a:hlink>
    <a:folHlink>
      <a:srgbClr val="BFBFBF"/>
    </a:folHlink>
  </a:clrScheme>
</a:themeOverride>
</file>

<file path=ppt/theme/themeOverride2.xml><?xml version="1.0" encoding="utf-8"?>
<a:themeOverride xmlns:a="http://schemas.openxmlformats.org/drawingml/2006/main">
  <a:clrScheme name="1">
    <a:dk1>
      <a:srgbClr val="000000"/>
    </a:dk1>
    <a:lt1>
      <a:srgbClr val="FFFFFF"/>
    </a:lt1>
    <a:dk2>
      <a:srgbClr val="778495"/>
    </a:dk2>
    <a:lt2>
      <a:srgbClr val="F0F0F0"/>
    </a:lt2>
    <a:accent1>
      <a:srgbClr val="FFB535"/>
    </a:accent1>
    <a:accent2>
      <a:srgbClr val="00ADEF"/>
    </a:accent2>
    <a:accent3>
      <a:srgbClr val="4D4D4D"/>
    </a:accent3>
    <a:accent4>
      <a:srgbClr val="567BAE"/>
    </a:accent4>
    <a:accent5>
      <a:srgbClr val="FFB535"/>
    </a:accent5>
    <a:accent6>
      <a:srgbClr val="00ADEF"/>
    </a:accent6>
    <a:hlink>
      <a:srgbClr val="475F77"/>
    </a:hlink>
    <a:folHlink>
      <a:srgbClr val="BFBFBF"/>
    </a:folHlink>
  </a:clrScheme>
</a:themeOverride>
</file>

<file path=docProps/app.xml><?xml version="1.0" encoding="utf-8"?>
<Properties xmlns="http://schemas.openxmlformats.org/officeDocument/2006/extended-properties" xmlns:vt="http://schemas.openxmlformats.org/officeDocument/2006/docPropsVTypes">
  <Template>iSlide</Template>
  <TotalTime>1512</TotalTime>
  <Words>2305</Words>
  <Application>Microsoft Office PowerPoint</Application>
  <PresentationFormat>宽屏</PresentationFormat>
  <Paragraphs>452</Paragraphs>
  <Slides>35</Slides>
  <Notes>20</Notes>
  <HiddenSlides>1</HiddenSlides>
  <MMClips>0</MMClips>
  <ScaleCrop>false</ScaleCrop>
  <HeadingPairs>
    <vt:vector size="8" baseType="variant">
      <vt:variant>
        <vt:lpstr>已用的字体</vt:lpstr>
      </vt:variant>
      <vt:variant>
        <vt:i4>7</vt:i4>
      </vt:variant>
      <vt:variant>
        <vt:lpstr>主题</vt:lpstr>
      </vt:variant>
      <vt:variant>
        <vt:i4>1</vt:i4>
      </vt:variant>
      <vt:variant>
        <vt:lpstr>嵌入 OLE 服务器</vt:lpstr>
      </vt:variant>
      <vt:variant>
        <vt:i4>1</vt:i4>
      </vt:variant>
      <vt:variant>
        <vt:lpstr>幻灯片标题</vt:lpstr>
      </vt:variant>
      <vt:variant>
        <vt:i4>35</vt:i4>
      </vt:variant>
    </vt:vector>
  </HeadingPairs>
  <TitlesOfParts>
    <vt:vector size="44" baseType="lpstr">
      <vt:lpstr>黑体</vt:lpstr>
      <vt:lpstr>宋体</vt:lpstr>
      <vt:lpstr>微软雅黑</vt:lpstr>
      <vt:lpstr>Arial</vt:lpstr>
      <vt:lpstr>Calibri</vt:lpstr>
      <vt:lpstr>Consolas</vt:lpstr>
      <vt:lpstr>Impact</vt:lpstr>
      <vt:lpstr>主题5</vt:lpstr>
      <vt:lpstr>think-cell Slide</vt:lpstr>
      <vt:lpstr>SMT防错料系统</vt:lpstr>
      <vt:lpstr>自动化部</vt:lpstr>
      <vt:lpstr>PowerPoint 演示文稿</vt:lpstr>
      <vt:lpstr>SMT防错料产线运行实景</vt:lpstr>
      <vt:lpstr>无人仓库运行实景</vt:lpstr>
      <vt:lpstr>SMT防错料系统</vt:lpstr>
      <vt:lpstr>SMT传统生产工艺</vt:lpstr>
      <vt:lpstr>SMT防错料系统目的</vt:lpstr>
      <vt:lpstr>SMT防错料系统优势</vt:lpstr>
      <vt:lpstr>SMT防错料系统结构</vt:lpstr>
      <vt:lpstr>硬件设备</vt:lpstr>
      <vt:lpstr>仓库料盘标签打印系统</vt:lpstr>
      <vt:lpstr>后台管理系统</vt:lpstr>
      <vt:lpstr>人员管理</vt:lpstr>
      <vt:lpstr>站位表管理</vt:lpstr>
      <vt:lpstr>报警配置管理</vt:lpstr>
      <vt:lpstr>报表生成</vt:lpstr>
      <vt:lpstr>移动APP客户端使用场景</vt:lpstr>
      <vt:lpstr>移动APP客户端功能</vt:lpstr>
      <vt:lpstr>APP用户——职责分明</vt:lpstr>
      <vt:lpstr>移动APP运行图</vt:lpstr>
      <vt:lpstr>车间产线实时监控</vt:lpstr>
      <vt:lpstr>实时监控系统——桌面端</vt:lpstr>
      <vt:lpstr>产线实时监控系统——数据大屏</vt:lpstr>
      <vt:lpstr>中央控制系统</vt:lpstr>
      <vt:lpstr>报警机制</vt:lpstr>
      <vt:lpstr>中央控制系统——报警</vt:lpstr>
      <vt:lpstr>发料流程对比</vt:lpstr>
      <vt:lpstr>上料流程对比</vt:lpstr>
      <vt:lpstr>换料流程对比</vt:lpstr>
      <vt:lpstr>核料流程对比</vt:lpstr>
      <vt:lpstr>全检(首检)流程对比</vt:lpstr>
      <vt:lpstr>使用前后耗时对比</vt:lpstr>
      <vt:lpstr>未来！一起见证 </vt:lpstr>
      <vt:lpstr>生产出错原因</vt:lpstr>
    </vt:vector>
  </TitlesOfParts>
  <Manager>iSlide</Manager>
  <Company>iSlide</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演示文稿</dc:title>
  <dc:creator>iSlide</dc:creator>
  <cp:keywords>www.51pptmoban.com</cp:keywords>
  <cp:lastModifiedBy>think</cp:lastModifiedBy>
  <cp:revision>199</cp:revision>
  <cp:lastPrinted>2017-09-28T16:00:00Z</cp:lastPrinted>
  <dcterms:created xsi:type="dcterms:W3CDTF">2017-09-28T16:00:00Z</dcterms:created>
  <dcterms:modified xsi:type="dcterms:W3CDTF">2018-07-25T03:42:1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iSlide.Theme">
    <vt:lpwstr>a9c88281-e023-4f20-a9da-4e51d6947c6f</vt:lpwstr>
  </property>
</Properties>
</file>